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theme/theme5.xml" ContentType="application/vnd.openxmlformats-officedocument.them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notesSlides/notesSlide38.xml" ContentType="application/vnd.openxmlformats-officedocument.presentationml.notesSlide+xml"/>
  <Override PartName="/ppt/charts/colors6.xml" ContentType="application/vnd.ms-office.chartcolorstyle+xml"/>
  <Override PartName="/ppt/slides/slide25.xml" ContentType="application/vnd.openxmlformats-officedocument.presentationml.slid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charts/chart13.xml" ContentType="application/vnd.openxmlformats-officedocument.drawingml.chart+xml"/>
  <Override PartName="/ppt/notesSlides/notesSlide16.xml" ContentType="application/vnd.openxmlformats-officedocument.presentationml.notesSlide+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notesSlides/notesSlide41.xml" ContentType="application/vnd.openxmlformats-officedocument.presentationml.notesSlide+xml"/>
  <Override PartName="/ppt/tags/tag63.xml" ContentType="application/vnd.openxmlformats-officedocument.presentationml.tags+xml"/>
  <Override PartName="/ppt/tags/tag74.xml" ContentType="application/vnd.openxmlformats-officedocument.presentationml.tags+xml"/>
  <Override PartName="/ppt/notesSlides/notesSlide30.xml" ContentType="application/vnd.openxmlformats-officedocument.presentationml.notesSlide+xml"/>
  <Override PartName="/ppt/tags/tag52.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notesSlides/notesSlide7.xml" ContentType="application/vnd.openxmlformats-officedocument.presentationml.notesSlide+xml"/>
  <Override PartName="/ppt/tags/tag41.xml" ContentType="application/vnd.openxmlformats-officedocument.presentationml.tags+xml"/>
  <Override PartName="/ppt/charts/style5.xml" ContentType="application/vnd.ms-office.chartstyle+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slides/slide55.xml" ContentType="application/vnd.openxmlformats-officedocument.presentationml.slide+xml"/>
  <Override PartName="/ppt/theme/theme2.xml" ContentType="application/vnd.openxmlformats-officedocument.theme+xml"/>
  <Override PartName="/ppt/slideLayouts/slideLayout18.xml" ContentType="application/vnd.openxmlformats-officedocument.presentationml.slideLayout+xml"/>
  <Override PartName="/ppt/tags/tag5.xml" ContentType="application/vnd.openxmlformats-officedocument.presentationml.tags+xml"/>
  <Override PartName="/ppt/charts/chart18.xml" ContentType="application/vnd.openxmlformats-officedocument.drawingml.chart+xml"/>
  <Override PartName="/ppt/tags/tag79.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Default Extension="emf" ContentType="image/x-emf"/>
  <Override PartName="/ppt/tags/tag68.xml" ContentType="application/vnd.openxmlformats-officedocument.presentationml.tags+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tags/tag57.xml" ContentType="application/vnd.openxmlformats-officedocument.presentationml.tags+xml"/>
  <Override PartName="/docProps/app.xml" ContentType="application/vnd.openxmlformats-officedocument.extended-properties+xml"/>
  <Override PartName="/ppt/charts/colors3.xml" ContentType="application/vnd.ms-office.chartcolorstyle+xml"/>
  <Override PartName="/ppt/slides/slide11.xml" ContentType="application/vnd.openxmlformats-officedocument.presentationml.slide+xml"/>
  <Override PartName="/ppt/slideLayouts/slideLayout21.xml" ContentType="application/vnd.openxmlformats-officedocument.presentationml.slideLayout+xml"/>
  <Override PartName="/ppt/charts/chart8.xml" ContentType="application/vnd.openxmlformats-officedocument.drawingml.chart+xml"/>
  <Override PartName="/ppt/notesSlides/notesSlide13.xml" ContentType="application/vnd.openxmlformats-officedocument.presentationml.notes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Override PartName="/ppt/charts/chart10.xml" ContentType="application/vnd.openxmlformats-officedocument.drawingml.chart+xml"/>
  <Override PartName="/ppt/tags/tag24.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slides/slide49.xml" ContentType="application/vnd.openxmlformats-officedocument.presentationml.slide+xml"/>
  <Override PartName="/ppt/notesSlides/notesSlide4.xml" ContentType="application/vnd.openxmlformats-officedocument.presentationml.notesSlide+xml"/>
  <Override PartName="/ppt/slides/slide38.xml" ContentType="application/vnd.openxmlformats-officedocument.presentationml.slide+xml"/>
  <Override PartName="/ppt/charts/style2.xml" ContentType="application/vnd.ms-office.chartstyle+xml"/>
  <Override PartName="/ppt/charts/colors8.xml" ContentType="application/vnd.ms-office.chartcolorstyle+xml"/>
  <Override PartName="/ppt/slides/slide27.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notesSlides/notesSlide18.xml" ContentType="application/vnd.openxmlformats-officedocument.presentationml.notesSlide+xml"/>
  <Default Extension="wmf" ContentType="image/x-wmf"/>
  <Override PartName="/ppt/tags/tag87.xml" ContentType="application/vnd.openxmlformats-officedocument.presentationml.tag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charts/chart15.xml" ContentType="application/vnd.openxmlformats-officedocument.drawingml.chart+xml"/>
  <Override PartName="/ppt/notesSlides/notesSlide25.xml" ContentType="application/vnd.openxmlformats-officedocument.presentationml.notesSlide+xml"/>
  <Override PartName="/ppt/tags/tag29.xml" ContentType="application/vnd.openxmlformats-officedocument.presentationml.tags+xml"/>
  <Override PartName="/ppt/notesSlides/notesSlide43.xml" ContentType="application/vnd.openxmlformats-officedocument.presentationml.notesSlide+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32.xml" ContentType="application/vnd.openxmlformats-officedocument.presentationml.notesSlide+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charts/style7.xml" ContentType="application/vnd.ms-office.chartstyle+xml"/>
  <Override PartName="/ppt/charts/colors10.xml" ContentType="application/vnd.ms-office.chartcolorstyle+xml"/>
  <Override PartName="/ppt/charts/chart5.xml" ContentType="application/vnd.openxmlformats-officedocument.drawingml.chart+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charts/style3.xml" ContentType="application/vnd.ms-office.chartstyl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charts/colors9.xml" ContentType="application/vnd.ms-office.chartcolorstyl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rawings/drawing1.xml" ContentType="application/vnd.openxmlformats-officedocument.drawingml.chartshapes+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Override PartName="/ppt/charts/chart16.xml" ContentType="application/vnd.openxmlformats-officedocument.drawingml.chart+xml"/>
  <Default Extension="jpeg" ContentType="image/jpeg"/>
  <Override PartName="/ppt/notesSlides/notesSlide37.xml" ContentType="application/vnd.openxmlformats-officedocument.presentationml.notesSlide+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charts/style10.xml" ContentType="application/vnd.ms-office.chartstyle+xml"/>
  <Override PartName="/ppt/charts/colors5.xml" ContentType="application/vnd.ms-office.chartcolorstyl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tags/tag19.xml" ContentType="application/vnd.openxmlformats-officedocument.presentationml.tags+xml"/>
  <Override PartName="/ppt/tags/tag37.xml" ContentType="application/vnd.openxmlformats-officedocument.presentationml.tags+xml"/>
  <Override PartName="/ppt/notesSlides/notesSlide44.xml" ContentType="application/vnd.openxmlformats-officedocument.presentationml.notesSlide+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charts/chart12.xml" ContentType="application/vnd.openxmlformats-officedocument.drawingml.chart+xml"/>
  <Override PartName="/ppt/notesSlides/notesSlide22.xml" ContentType="application/vnd.openxmlformats-officedocument.presentationml.notesSlide+xml"/>
  <Override PartName="/ppt/tags/tag26.xml" ContentType="application/vnd.openxmlformats-officedocument.presentationml.tags+xml"/>
  <Override PartName="/ppt/notesSlides/notesSlide33.xml" ContentType="application/vnd.openxmlformats-officedocument.presentationml.notesSlide+xml"/>
  <Override PartName="/ppt/tags/tag55.xml" ContentType="application/vnd.openxmlformats-officedocument.presentationml.tags+xml"/>
  <Override PartName="/ppt/tags/tag73.xml" ContentType="application/vnd.openxmlformats-officedocument.presentationml.tags+xml"/>
  <Override PartName="/ppt/charts/colors1.xml" ContentType="application/vnd.ms-office.chartcolorstyle+xml"/>
  <Override PartName="/ppt/charts/chart6.xml" ContentType="application/vnd.openxmlformats-officedocument.drawingml.chart+xml"/>
  <Override PartName="/ppt/notesSlides/notesSlide11.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notesSlides/notesSlide40.xml" ContentType="application/vnd.openxmlformats-officedocument.presentationml.notesSlide+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charts/style8.xml" ContentType="application/vnd.ms-office.chartstyle+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charts/chart2.xml" ContentType="application/vnd.openxmlformats-officedocument.drawingml.chart+xml"/>
  <Override PartName="/ppt/tags/tag11.xml" ContentType="application/vnd.openxmlformats-officedocument.presentationml.tags+xml"/>
  <Override PartName="/ppt/charts/style4.xml" ContentType="application/vnd.ms-office.chartstyle+xml"/>
  <Override PartName="/ppt/slides/slide29.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charts/chart17.xml" ContentType="application/vnd.openxmlformats-officedocument.drawingml.chart+xml"/>
  <Override PartName="/ppt/tags/tag78.xml" ContentType="application/vnd.openxmlformats-officedocument.presentationml.tags+xml"/>
  <Override PartName="/ppt/notesSlides/notesSlide45.xml" ContentType="application/vnd.openxmlformats-officedocument.presentationml.notesSlide+xml"/>
  <Override PartName="/ppt/slides/slide32.xml" ContentType="application/vnd.openxmlformats-officedocument.presentationml.slide+xml"/>
  <Override PartName="/ppt/notesSlides/notesSlide34.xml" ContentType="application/vnd.openxmlformats-officedocument.presentationml.notesSlide+xml"/>
  <Override PartName="/ppt/tags/tag56.xml" ContentType="application/vnd.openxmlformats-officedocument.presentationml.tags+xml"/>
  <Override PartName="/ppt/tags/tag67.xml" ContentType="application/vnd.openxmlformats-officedocument.presentationml.tags+xml"/>
  <Override PartName="/ppt/charts/colors2.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notesSlides/notesSlide23.xml" ContentType="application/vnd.openxmlformats-officedocument.presentationml.notesSlide+xml"/>
  <Override PartName="/ppt/tags/tag45.xml" ContentType="application/vnd.openxmlformats-officedocument.presentationml.tags+xml"/>
  <Override PartName="/ppt/tags/tag92.xml" ContentType="application/vnd.openxmlformats-officedocument.presentationml.tags+xml"/>
  <Override PartName="/ppt/charts/chart7.xml" ContentType="application/vnd.openxmlformats-officedocument.drawingml.chart+xml"/>
  <Override PartName="/ppt/notesSlides/notesSlide12.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charts/style9.xml" ContentType="application/vnd.ms-office.chartstyl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48.xml" ContentType="application/vnd.openxmlformats-officedocument.presentationml.slide+xml"/>
  <Default Extension="bin" ContentType="application/vnd.openxmlformats-officedocument.oleObject"/>
  <Override PartName="/ppt/notesSlides/notesSlide3.xml" ContentType="application/vnd.openxmlformats-officedocument.presentationml.notesSlide+xml"/>
  <Override PartName="/ppt/charts/style1.xml" ContentType="application/vnd.ms-office.chartstyl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notesSlides/notesSlide39.xml" ContentType="application/vnd.openxmlformats-officedocument.presentationml.notesSlide+xml"/>
  <Override PartName="/ppt/charts/colors7.xml" ContentType="application/vnd.ms-office.chartcolorstyl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tags/tag39.xml" ContentType="application/vnd.openxmlformats-officedocument.presentationml.tags+xml"/>
  <Override PartName="/ppt/tags/tag86.xml" ContentType="application/vnd.openxmlformats-officedocument.presentationml.tags+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charts/chart14.xml" ContentType="application/vnd.openxmlformats-officedocument.drawingml.chart+xml"/>
  <Override PartName="/ppt/tags/tag28.xml" ContentType="application/vnd.openxmlformats-officedocument.presentationml.tags+xml"/>
  <Override PartName="/ppt/tags/tag75.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notesSlides/notesSlide42.xml" ContentType="application/vnd.openxmlformats-officedocument.presentationml.notesSlide+xml"/>
  <Override PartName="/ppt/tags/tag64.xml" ContentType="application/vnd.openxmlformats-officedocument.presentationml.tags+xml"/>
  <Default Extension="vml" ContentType="application/vnd.openxmlformats-officedocument.vmlDrawing"/>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53.xml" ContentType="application/vnd.openxmlformats-officedocument.presentationml.tags+xml"/>
  <Override PartName="/ppt/charts/chart4.xml" ContentType="application/vnd.openxmlformats-officedocument.drawingml.chart+xml"/>
  <Override PartName="/ppt/tags/tag31.xml" ContentType="application/vnd.openxmlformats-officedocument.presentationml.tags+xml"/>
  <Override PartName="/ppt/tags/tag42.xml" ContentType="application/vnd.openxmlformats-officedocument.presentationml.tags+xml"/>
  <Override PartName="/ppt/charts/style6.xml" ContentType="application/vnd.ms-office.chartstyle+xml"/>
  <Override PartName="/ppt/handoutMasters/handoutMaster1.xml" ContentType="application/vnd.openxmlformats-officedocument.presentationml.handoutMaster+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charts/chart19.xml" ContentType="application/vnd.openxmlformats-officedocument.drawingml.chart+xml"/>
  <Override PartName="/ppt/notesSlides/notesSlide47.xml" ContentType="application/vnd.openxmlformats-officedocument.presentationml.notesSlide+xml"/>
  <Override PartName="/ppt/slides/slide34.xml" ContentType="application/vnd.openxmlformats-officedocument.presentationml.slide+xml"/>
  <Override PartName="/ppt/notesSlides/notesSlide36.xml" ContentType="application/vnd.openxmlformats-officedocument.presentationml.notesSlide+xml"/>
  <Override PartName="/ppt/tags/tag58.xml" ContentType="application/vnd.openxmlformats-officedocument.presentationml.tags+xml"/>
  <Override PartName="/ppt/tags/tag69.xml" ContentType="application/vnd.openxmlformats-officedocument.presentationml.tags+xml"/>
  <Override PartName="/ppt/charts/colors4.xml" ContentType="application/vnd.ms-office.chartcolorstyle+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tl="1" saveSubsetFonts="1" autoCompressPictures="0">
  <p:sldMasterIdLst>
    <p:sldMasterId id="2147484371" r:id="rId1"/>
    <p:sldMasterId id="2147484437" r:id="rId2"/>
    <p:sldMasterId id="2147484446" r:id="rId3"/>
  </p:sldMasterIdLst>
  <p:notesMasterIdLst>
    <p:notesMasterId r:id="rId72"/>
  </p:notesMasterIdLst>
  <p:handoutMasterIdLst>
    <p:handoutMasterId r:id="rId73"/>
  </p:handoutMasterIdLst>
  <p:sldIdLst>
    <p:sldId id="492" r:id="rId4"/>
    <p:sldId id="660" r:id="rId5"/>
    <p:sldId id="640" r:id="rId6"/>
    <p:sldId id="696" r:id="rId7"/>
    <p:sldId id="638" r:id="rId8"/>
    <p:sldId id="645" r:id="rId9"/>
    <p:sldId id="699" r:id="rId10"/>
    <p:sldId id="697" r:id="rId11"/>
    <p:sldId id="698" r:id="rId12"/>
    <p:sldId id="813" r:id="rId13"/>
    <p:sldId id="700" r:id="rId14"/>
    <p:sldId id="794" r:id="rId15"/>
    <p:sldId id="701" r:id="rId16"/>
    <p:sldId id="641" r:id="rId17"/>
    <p:sldId id="702" r:id="rId18"/>
    <p:sldId id="672" r:id="rId19"/>
    <p:sldId id="704" r:id="rId20"/>
    <p:sldId id="706" r:id="rId21"/>
    <p:sldId id="683" r:id="rId22"/>
    <p:sldId id="728" r:id="rId23"/>
    <p:sldId id="796" r:id="rId24"/>
    <p:sldId id="810" r:id="rId25"/>
    <p:sldId id="797" r:id="rId26"/>
    <p:sldId id="798" r:id="rId27"/>
    <p:sldId id="799" r:id="rId28"/>
    <p:sldId id="800" r:id="rId29"/>
    <p:sldId id="801" r:id="rId30"/>
    <p:sldId id="802" r:id="rId31"/>
    <p:sldId id="803" r:id="rId32"/>
    <p:sldId id="804" r:id="rId33"/>
    <p:sldId id="805" r:id="rId34"/>
    <p:sldId id="806" r:id="rId35"/>
    <p:sldId id="665" r:id="rId36"/>
    <p:sldId id="748" r:id="rId37"/>
    <p:sldId id="749" r:id="rId38"/>
    <p:sldId id="811" r:id="rId39"/>
    <p:sldId id="780" r:id="rId40"/>
    <p:sldId id="781" r:id="rId41"/>
    <p:sldId id="751" r:id="rId42"/>
    <p:sldId id="782" r:id="rId43"/>
    <p:sldId id="783" r:id="rId44"/>
    <p:sldId id="784" r:id="rId45"/>
    <p:sldId id="755" r:id="rId46"/>
    <p:sldId id="785" r:id="rId47"/>
    <p:sldId id="760" r:id="rId48"/>
    <p:sldId id="786" r:id="rId49"/>
    <p:sldId id="761" r:id="rId50"/>
    <p:sldId id="778" r:id="rId51"/>
    <p:sldId id="779" r:id="rId52"/>
    <p:sldId id="682" r:id="rId53"/>
    <p:sldId id="793" r:id="rId54"/>
    <p:sldId id="746" r:id="rId55"/>
    <p:sldId id="747" r:id="rId56"/>
    <p:sldId id="745" r:id="rId57"/>
    <p:sldId id="775" r:id="rId58"/>
    <p:sldId id="766" r:id="rId59"/>
    <p:sldId id="787" r:id="rId60"/>
    <p:sldId id="768" r:id="rId61"/>
    <p:sldId id="767" r:id="rId62"/>
    <p:sldId id="769" r:id="rId63"/>
    <p:sldId id="792" r:id="rId64"/>
    <p:sldId id="770" r:id="rId65"/>
    <p:sldId id="789" r:id="rId66"/>
    <p:sldId id="771" r:id="rId67"/>
    <p:sldId id="790" r:id="rId68"/>
    <p:sldId id="776" r:id="rId69"/>
    <p:sldId id="791" r:id="rId70"/>
    <p:sldId id="774" r:id="rId71"/>
  </p:sldIdLst>
  <p:sldSz cx="9144000" cy="6858000" type="screen4x3"/>
  <p:notesSz cx="9774238" cy="6724650"/>
  <p:defaultTextStyle>
    <a:defPPr>
      <a:defRPr lang="en-US"/>
    </a:defPPr>
    <a:lvl1pPr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5pPr>
    <a:lvl6pPr marL="2286000" algn="l" defTabSz="914400" rtl="0" eaLnBrk="1" latinLnBrk="0" hangingPunct="1">
      <a:defRPr kern="1200">
        <a:solidFill>
          <a:schemeClr val="tx1"/>
        </a:solidFill>
        <a:latin typeface="Arial" pitchFamily="34" charset="0"/>
        <a:ea typeface="ＭＳ Ｐゴシック" pitchFamily="34" charset="-128"/>
        <a:cs typeface="+mn-cs"/>
      </a:defRPr>
    </a:lvl6pPr>
    <a:lvl7pPr marL="2743200" algn="l" defTabSz="914400" rtl="0" eaLnBrk="1" latinLnBrk="0" hangingPunct="1">
      <a:defRPr kern="1200">
        <a:solidFill>
          <a:schemeClr val="tx1"/>
        </a:solidFill>
        <a:latin typeface="Arial" pitchFamily="34" charset="0"/>
        <a:ea typeface="ＭＳ Ｐゴシック" pitchFamily="34" charset="-128"/>
        <a:cs typeface="+mn-cs"/>
      </a:defRPr>
    </a:lvl7pPr>
    <a:lvl8pPr marL="3200400" algn="l" defTabSz="914400" rtl="0" eaLnBrk="1" latinLnBrk="0" hangingPunct="1">
      <a:defRPr kern="1200">
        <a:solidFill>
          <a:schemeClr val="tx1"/>
        </a:solidFill>
        <a:latin typeface="Arial" pitchFamily="34" charset="0"/>
        <a:ea typeface="ＭＳ Ｐゴシック" pitchFamily="34" charset="-128"/>
        <a:cs typeface="+mn-cs"/>
      </a:defRPr>
    </a:lvl8pPr>
    <a:lvl9pPr marL="3657600" algn="l" defTabSz="914400" rtl="0" eaLnBrk="1" latinLnBrk="0" hangingPunct="1">
      <a:defRPr kern="1200">
        <a:solidFill>
          <a:schemeClr val="tx1"/>
        </a:solidFill>
        <a:latin typeface="Arial" pitchFamily="34" charset="0"/>
        <a:ea typeface="ＭＳ Ｐゴシック" pitchFamily="34" charset="-128"/>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3092" userDrawn="1">
          <p15:clr>
            <a:srgbClr val="A4A3A4"/>
          </p15:clr>
        </p15:guide>
        <p15:guide id="2" pos="2108" userDrawn="1">
          <p15:clr>
            <a:srgbClr val="A4A3A4"/>
          </p15:clr>
        </p15:guide>
        <p15:guide id="3" orient="horz" pos="2118" userDrawn="1">
          <p15:clr>
            <a:srgbClr val="A4A3A4"/>
          </p15:clr>
        </p15:guide>
        <p15:guide id="4" pos="3079"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clrMode="bw" frameSlides="1"/>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CC0066"/>
    <a:srgbClr val="006E00"/>
    <a:srgbClr val="FF0000"/>
    <a:srgbClr val="000000"/>
    <a:srgbClr val="EBEEF5"/>
    <a:srgbClr val="E6EAF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37CE84F3-28C3-443E-9E96-99CF82512B78}" styleName="Style foncé 1 - Accentuation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2838BEF-8BB2-4498-84A7-C5851F593DF1}" styleName="Style moyen 4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FABFCF23-3B69-468F-B69F-88F6DE6A72F2}" styleName="Style moyen 1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D083AE6-46FA-4A59-8FB0-9F97EB10719F}" styleName="Style léger 3 - Accentuation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Style moyen 1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Style moyen 1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83917" autoAdjust="0"/>
    <p:restoredTop sz="93326" autoAdjust="0"/>
  </p:normalViewPr>
  <p:slideViewPr>
    <p:cSldViewPr snapToGrid="0" snapToObjects="1">
      <p:cViewPr varScale="1">
        <p:scale>
          <a:sx n="73" d="100"/>
          <a:sy n="73" d="100"/>
        </p:scale>
        <p:origin x="-1272" y="-10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3" d="100"/>
        <a:sy n="33" d="100"/>
      </p:scale>
      <p:origin x="0" y="0"/>
    </p:cViewPr>
  </p:sorterViewPr>
  <p:notesViewPr>
    <p:cSldViewPr snapToGrid="0" snapToObjects="1">
      <p:cViewPr>
        <p:scale>
          <a:sx n="110" d="100"/>
          <a:sy n="110" d="100"/>
        </p:scale>
        <p:origin x="2131" y="-1517"/>
      </p:cViewPr>
      <p:guideLst>
        <p:guide orient="horz" pos="3092"/>
        <p:guide orient="horz" pos="2118"/>
        <p:guide pos="2108"/>
        <p:guide pos="3079"/>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theme" Target="theme/theme1.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s>
</file>

<file path=ppt/charts/_rels/chart1.xml.rels><?xml version="1.0" encoding="UTF-8" standalone="yes"?>
<Relationships xmlns="http://schemas.openxmlformats.org/package/2006/relationships"><Relationship Id="rId1" Type="http://schemas.openxmlformats.org/officeDocument/2006/relationships/package" Target="../embeddings/Feuille_Microsoft_Office_Excel1.xlsx"/></Relationships>
</file>

<file path=ppt/charts/_rels/chart10.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package" Target="../embeddings/Feuille_Microsoft_Office_Excel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Feuille_Microsoft_Office_Excel11.xlsx"/></Relationships>
</file>

<file path=ppt/charts/_rels/chart12.xml.rels><?xml version="1.0" encoding="UTF-8" standalone="yes"?>
<Relationships xmlns="http://schemas.openxmlformats.org/package/2006/relationships"><Relationship Id="rId3" Type="http://schemas.microsoft.com/office/2011/relationships/chartStyle" Target="style6.xml"/><Relationship Id="rId2" Type="http://schemas.microsoft.com/office/2011/relationships/chartColorStyle" Target="colors6.xml"/><Relationship Id="rId1" Type="http://schemas.openxmlformats.org/officeDocument/2006/relationships/package" Target="../embeddings/Feuille_Microsoft_Office_Excel12.xlsx"/></Relationships>
</file>

<file path=ppt/charts/_rels/chart13.xml.rels><?xml version="1.0" encoding="UTF-8" standalone="yes"?>
<Relationships xmlns="http://schemas.openxmlformats.org/package/2006/relationships"><Relationship Id="rId3" Type="http://schemas.microsoft.com/office/2011/relationships/chartStyle" Target="style7.xml"/><Relationship Id="rId2" Type="http://schemas.microsoft.com/office/2011/relationships/chartColorStyle" Target="colors7.xml"/><Relationship Id="rId1" Type="http://schemas.openxmlformats.org/officeDocument/2006/relationships/package" Target="../embeddings/Feuille_Microsoft_Office_Excel13.xlsx"/></Relationships>
</file>

<file path=ppt/charts/_rels/chart14.xml.rels><?xml version="1.0" encoding="UTF-8" standalone="yes"?>
<Relationships xmlns="http://schemas.openxmlformats.org/package/2006/relationships"><Relationship Id="rId3" Type="http://schemas.microsoft.com/office/2011/relationships/chartStyle" Target="style8.xml"/><Relationship Id="rId2" Type="http://schemas.microsoft.com/office/2011/relationships/chartColorStyle" Target="colors8.xml"/><Relationship Id="rId1" Type="http://schemas.openxmlformats.org/officeDocument/2006/relationships/package" Target="../embeddings/Feuille_Microsoft_Office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Feuille_Microsoft_Office_Excel15.xlsx"/></Relationships>
</file>

<file path=ppt/charts/_rels/chart16.xml.rels><?xml version="1.0" encoding="UTF-8" standalone="yes"?>
<Relationships xmlns="http://schemas.openxmlformats.org/package/2006/relationships"><Relationship Id="rId3" Type="http://schemas.microsoft.com/office/2011/relationships/chartStyle" Target="style9.xml"/><Relationship Id="rId2" Type="http://schemas.microsoft.com/office/2011/relationships/chartColorStyle" Target="colors9.xml"/><Relationship Id="rId1" Type="http://schemas.openxmlformats.org/officeDocument/2006/relationships/package" Target="../embeddings/Feuille_Microsoft_Office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Feuille_Microsoft_Office_Excel17.xlsx"/></Relationships>
</file>

<file path=ppt/charts/_rels/chart18.xml.rels><?xml version="1.0" encoding="UTF-8" standalone="yes"?>
<Relationships xmlns="http://schemas.openxmlformats.org/package/2006/relationships"><Relationship Id="rId3" Type="http://schemas.microsoft.com/office/2011/relationships/chartStyle" Target="style10.xml"/><Relationship Id="rId2" Type="http://schemas.microsoft.com/office/2011/relationships/chartColorStyle" Target="colors10.xml"/><Relationship Id="rId1" Type="http://schemas.openxmlformats.org/officeDocument/2006/relationships/package" Target="../embeddings/Feuille_Microsoft_Office_Excel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Feuille_Microsoft_Office_Excel19.xlsx"/></Relationships>
</file>

<file path=ppt/charts/_rels/chart2.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Feuille_Microsoft_Office_Excel2.xlsx"/></Relationships>
</file>

<file path=ppt/charts/_rels/chart3.xml.rels><?xml version="1.0" encoding="UTF-8" standalone="yes"?>
<Relationships xmlns="http://schemas.openxmlformats.org/package/2006/relationships"><Relationship Id="rId1" Type="http://schemas.openxmlformats.org/officeDocument/2006/relationships/package" Target="../embeddings/Feuille_Microsoft_Office_Excel3.xlsx"/></Relationships>
</file>

<file path=ppt/charts/_rels/chart4.xml.rels><?xml version="1.0" encoding="UTF-8" standalone="yes"?>
<Relationships xmlns="http://schemas.openxmlformats.org/package/2006/relationships"><Relationship Id="rId1" Type="http://schemas.openxmlformats.org/officeDocument/2006/relationships/package" Target="../embeddings/Feuille_Microsoft_Office_Excel4.xlsx"/></Relationships>
</file>

<file path=ppt/charts/_rels/chart5.xml.rels><?xml version="1.0" encoding="UTF-8" standalone="yes"?>
<Relationships xmlns="http://schemas.openxmlformats.org/package/2006/relationships"><Relationship Id="rId3" Type="http://schemas.microsoft.com/office/2011/relationships/chartColorStyle" Target="colors2.xml"/><Relationship Id="rId2" Type="http://schemas.openxmlformats.org/officeDocument/2006/relationships/chartUserShapes" Target="../drawings/drawing1.xml"/><Relationship Id="rId1" Type="http://schemas.openxmlformats.org/officeDocument/2006/relationships/package" Target="../embeddings/Feuille_Microsoft_Office_Excel5.xlsx"/><Relationship Id="rId4" Type="http://schemas.microsoft.com/office/2011/relationships/chartStyle" Target="style2.xml"/></Relationships>
</file>

<file path=ppt/charts/_rels/chart6.xml.rels><?xml version="1.0" encoding="UTF-8" standalone="yes"?>
<Relationships xmlns="http://schemas.openxmlformats.org/package/2006/relationships"><Relationship Id="rId1" Type="http://schemas.openxmlformats.org/officeDocument/2006/relationships/package" Target="../embeddings/Feuille_Microsoft_Office_Excel6.xlsx"/></Relationships>
</file>

<file path=ppt/charts/_rels/chart7.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Feuille_Microsoft_Office_Excel7.xlsx"/></Relationships>
</file>

<file path=ppt/charts/_rels/chart8.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Feuille_Microsoft_Office_Excel8.xlsx"/></Relationships>
</file>

<file path=ppt/charts/_rels/chart9.xml.rels><?xml version="1.0" encoding="UTF-8" standalone="yes"?>
<Relationships xmlns="http://schemas.openxmlformats.org/package/2006/relationships"><Relationship Id="rId1" Type="http://schemas.openxmlformats.org/officeDocument/2006/relationships/package" Target="../embeddings/Feuille_Microsoft_Office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fr-FR"/>
  <c:chart>
    <c:title>
      <c:tx>
        <c:rich>
          <a:bodyPr/>
          <a:lstStyle/>
          <a:p>
            <a:pPr>
              <a:defRPr lang="en-US"/>
            </a:pPr>
            <a:r>
              <a:rPr lang="ar-TN" sz="1200" b="1" dirty="0" smtClean="0">
                <a:latin typeface="+mj-lt"/>
              </a:rPr>
              <a:t>الدول الصناعية</a:t>
            </a:r>
            <a:endParaRPr lang="fr-FR" sz="1200" b="1" dirty="0">
              <a:latin typeface="+mj-lt"/>
            </a:endParaRPr>
          </a:p>
        </c:rich>
      </c:tx>
      <c:layout>
        <c:manualLayout>
          <c:xMode val="edge"/>
          <c:yMode val="edge"/>
          <c:x val="0.15837356591177593"/>
          <c:y val="4.5276130922884412E-2"/>
        </c:manualLayout>
      </c:layout>
    </c:title>
    <c:plotArea>
      <c:layout>
        <c:manualLayout>
          <c:layoutTarget val="inner"/>
          <c:xMode val="edge"/>
          <c:yMode val="edge"/>
          <c:x val="4.9544910315555357E-2"/>
          <c:y val="0.19870186851697935"/>
          <c:w val="0.89163360072542619"/>
          <c:h val="0.55688674302661556"/>
        </c:manualLayout>
      </c:layout>
      <c:barChart>
        <c:barDir val="col"/>
        <c:grouping val="clustered"/>
        <c:gapWidth val="50"/>
        <c:axId val="140610176"/>
        <c:axId val="140618368"/>
      </c:barChart>
      <c:catAx>
        <c:axId val="140610176"/>
        <c:scaling>
          <c:orientation val="maxMin"/>
        </c:scaling>
        <c:axPos val="b"/>
        <c:numFmt formatCode="General" sourceLinked="1"/>
        <c:majorTickMark val="none"/>
        <c:tickLblPos val="nextTo"/>
        <c:txPr>
          <a:bodyPr/>
          <a:lstStyle/>
          <a:p>
            <a:pPr>
              <a:defRPr lang="en-US"/>
            </a:pPr>
            <a:endParaRPr lang="fr-FR"/>
          </a:p>
        </c:txPr>
        <c:crossAx val="140618368"/>
        <c:crosses val="autoZero"/>
        <c:auto val="1"/>
        <c:lblAlgn val="ctr"/>
        <c:lblOffset val="100"/>
      </c:catAx>
      <c:valAx>
        <c:axId val="140618368"/>
        <c:scaling>
          <c:orientation val="minMax"/>
        </c:scaling>
        <c:delete val="1"/>
        <c:axPos val="r"/>
        <c:numFmt formatCode="General" sourceLinked="1"/>
        <c:tickLblPos val="none"/>
        <c:crossAx val="140610176"/>
        <c:crosses val="autoZero"/>
        <c:crossBetween val="between"/>
      </c:valAx>
    </c:plotArea>
    <c:plotVisOnly val="1"/>
    <c:dispBlanksAs val="gap"/>
  </c:chart>
  <c:txPr>
    <a:bodyPr/>
    <a:lstStyle/>
    <a:p>
      <a:pPr>
        <a:defRPr sz="1000"/>
      </a:pPr>
      <a:endParaRPr lang="fr-FR"/>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fr-FR"/>
  <c:chart>
    <c:autoTitleDeleted val="1"/>
    <c:plotArea>
      <c:layout>
        <c:manualLayout>
          <c:layoutTarget val="inner"/>
          <c:xMode val="edge"/>
          <c:yMode val="edge"/>
          <c:x val="0"/>
          <c:y val="7.2956008217661919E-2"/>
          <c:w val="0.92019784043975161"/>
          <c:h val="0.70157833690897664"/>
        </c:manualLayout>
      </c:layout>
      <c:lineChart>
        <c:grouping val="standard"/>
        <c:ser>
          <c:idx val="0"/>
          <c:order val="0"/>
          <c:tx>
            <c:strRef>
              <c:f>Feuil1!$A$17</c:f>
              <c:strCache>
                <c:ptCount val="1"/>
                <c:pt idx="0">
                  <c:v>فرنسا</c:v>
                </c:pt>
              </c:strCache>
            </c:strRef>
          </c:tx>
          <c:spPr>
            <a:ln w="28575" cap="rnd">
              <a:solidFill>
                <a:srgbClr val="FF0000"/>
              </a:solidFill>
              <a:round/>
            </a:ln>
            <a:effectLst/>
          </c:spPr>
          <c:marker>
            <c:symbol val="none"/>
          </c:marker>
          <c:dLbls>
            <c:dLbl>
              <c:idx val="0"/>
              <c:layout>
                <c:manualLayout>
                  <c:x val="-3.5177884261424527E-2"/>
                  <c:y val="4.2443142280542696E-2"/>
                </c:manualLayout>
              </c:layout>
              <c:dLblPos val="r"/>
              <c:showVal val="1"/>
              <c:extLst xmlns:c16r2="http://schemas.microsoft.com/office/drawing/2015/06/chart">
                <c:ext xmlns:c16="http://schemas.microsoft.com/office/drawing/2014/chart" uri="{C3380CC4-5D6E-409C-BE32-E72D297353CC}">
                  <c16:uniqueId val="{00000000-013E-437B-8991-2AE2D4F770C9}"/>
                </c:ext>
                <c:ext xmlns:c15="http://schemas.microsoft.com/office/drawing/2012/chart" uri="{CE6537A1-D6FC-4f65-9D91-7224C49458BB}">
                  <c15:layout/>
                </c:ext>
              </c:extLst>
            </c:dLbl>
            <c:dLbl>
              <c:idx val="1"/>
              <c:layout>
                <c:manualLayout>
                  <c:x val="-1.090590368979316E-2"/>
                  <c:y val="-5.7818625090953514E-2"/>
                </c:manualLayout>
              </c:layout>
              <c:dLblPos val="r"/>
              <c:showVal val="1"/>
              <c:extLst xmlns:c16r2="http://schemas.microsoft.com/office/drawing/2015/06/chart">
                <c:ext xmlns:c16="http://schemas.microsoft.com/office/drawing/2014/chart" uri="{C3380CC4-5D6E-409C-BE32-E72D297353CC}">
                  <c16:uniqueId val="{00000007-013E-437B-8991-2AE2D4F770C9}"/>
                </c:ext>
                <c:ext xmlns:c15="http://schemas.microsoft.com/office/drawing/2012/chart" uri="{CE6537A1-D6FC-4f65-9D91-7224C49458BB}">
                  <c15:layout/>
                </c:ext>
              </c:extLst>
            </c:dLbl>
            <c:dLbl>
              <c:idx val="2"/>
              <c:layout>
                <c:manualLayout>
                  <c:x val="-3.065987600104942E-2"/>
                  <c:y val="6.1947144234119476E-2"/>
                </c:manualLayout>
              </c:layout>
              <c:dLblPos val="r"/>
              <c:showVal val="1"/>
              <c:extLst xmlns:c16r2="http://schemas.microsoft.com/office/drawing/2015/06/chart">
                <c:ext xmlns:c16="http://schemas.microsoft.com/office/drawing/2014/chart" uri="{C3380CC4-5D6E-409C-BE32-E72D297353CC}">
                  <c16:uniqueId val="{0000000A-013E-437B-8991-2AE2D4F770C9}"/>
                </c:ext>
                <c:ext xmlns:c15="http://schemas.microsoft.com/office/drawing/2012/chart" uri="{CE6537A1-D6FC-4f65-9D91-7224C49458BB}">
                  <c15:layout/>
                </c:ext>
              </c:extLst>
            </c:dLbl>
            <c:dLbl>
              <c:idx val="3"/>
              <c:layout>
                <c:manualLayout>
                  <c:x val="-3.1949457828639241E-2"/>
                  <c:y val="6.2843526245727824E-2"/>
                </c:manualLayout>
              </c:layout>
              <c:dLblPos val="r"/>
              <c:showVal val="1"/>
              <c:extLst xmlns:c16r2="http://schemas.microsoft.com/office/drawing/2015/06/chart">
                <c:ext xmlns:c16="http://schemas.microsoft.com/office/drawing/2014/chart" uri="{C3380CC4-5D6E-409C-BE32-E72D297353CC}">
                  <c16:uniqueId val="{00000001-013E-437B-8991-2AE2D4F770C9}"/>
                </c:ext>
                <c:ext xmlns:c15="http://schemas.microsoft.com/office/drawing/2012/chart" uri="{CE6537A1-D6FC-4f65-9D91-7224C49458BB}">
                  <c15:layout/>
                </c:ext>
              </c:extLst>
            </c:dLbl>
            <c:dLbl>
              <c:idx val="4"/>
              <c:layout>
                <c:manualLayout>
                  <c:x val="-5.3239936621376036E-2"/>
                  <c:y val="-3.8356563491740506E-2"/>
                </c:manualLayout>
              </c:layout>
              <c:spPr>
                <a:noFill/>
                <a:ln>
                  <a:solidFill>
                    <a:prstClr val="black"/>
                  </a:solidFill>
                </a:ln>
                <a:effectLst/>
              </c:spPr>
              <c:txPr>
                <a:bodyPr rot="0" spcFirstLastPara="1" vertOverflow="ellipsis" vert="horz" wrap="square" lIns="38100" tIns="19050" rIns="38100" bIns="19050" anchor="ctr" anchorCtr="1">
                  <a:noAutofit/>
                </a:bodyPr>
                <a:lstStyle/>
                <a:p>
                  <a:pPr>
                    <a:defRPr sz="900" b="1" i="0" u="none" strike="noStrike" kern="1200" baseline="0">
                      <a:solidFill>
                        <a:srgbClr val="C00000"/>
                      </a:solidFill>
                      <a:latin typeface="Times New Roman" panose="02020603050405020304" pitchFamily="18" charset="0"/>
                      <a:ea typeface="+mn-ea"/>
                      <a:cs typeface="Times New Roman" panose="02020603050405020304" pitchFamily="18" charset="0"/>
                    </a:defRPr>
                  </a:pPr>
                  <a:endParaRPr lang="fr-FR"/>
                </a:p>
              </c:txPr>
              <c:dLblPos val="r"/>
              <c:showVal val="1"/>
              <c:extLst xmlns:c16r2="http://schemas.microsoft.com/office/drawing/2015/06/chart">
                <c:ext xmlns:c16="http://schemas.microsoft.com/office/drawing/2014/chart" uri="{C3380CC4-5D6E-409C-BE32-E72D297353CC}">
                  <c16:uniqueId val="{00000002-013E-437B-8991-2AE2D4F770C9}"/>
                </c:ext>
                <c:ext xmlns:c15="http://schemas.microsoft.com/office/drawing/2012/chart" uri="{CE6537A1-D6FC-4f65-9D91-7224C49458BB}">
                  <c15:layout>
                    <c:manualLayout>
                      <c:w val="4.3211814430873019E-2"/>
                      <c:h val="0.12194071172533184"/>
                    </c:manualLayout>
                  </c15:layout>
                </c:ext>
              </c:extLst>
            </c:dLbl>
            <c:dLbl>
              <c:idx val="5"/>
              <c:layout>
                <c:manualLayout>
                  <c:x val="-3.5196099181718087E-2"/>
                  <c:y val="6.9836859700858914E-2"/>
                </c:manualLayout>
              </c:layout>
              <c:dLblPos val="r"/>
              <c:showVal val="1"/>
              <c:extLst xmlns:c16r2="http://schemas.microsoft.com/office/drawing/2015/06/chart">
                <c:ext xmlns:c16="http://schemas.microsoft.com/office/drawing/2014/chart" uri="{C3380CC4-5D6E-409C-BE32-E72D297353CC}">
                  <c16:uniqueId val="{00000003-013E-437B-8991-2AE2D4F770C9}"/>
                </c:ext>
                <c:ext xmlns:c15="http://schemas.microsoft.com/office/drawing/2012/chart" uri="{CE6537A1-D6FC-4f65-9D91-7224C49458BB}">
                  <c15:layout/>
                </c:ext>
              </c:extLst>
            </c:dLbl>
            <c:spPr>
              <a:noFill/>
              <a:ln>
                <a:solidFill>
                  <a:prstClr val="black"/>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C00000"/>
                    </a:solidFill>
                    <a:latin typeface="Times New Roman" panose="02020603050405020304" pitchFamily="18" charset="0"/>
                    <a:ea typeface="+mn-ea"/>
                    <a:cs typeface="Times New Roman" panose="02020603050405020304" pitchFamily="18" charset="0"/>
                  </a:defRPr>
                </a:pPr>
                <a:endParaRPr lang="fr-FR"/>
              </a:p>
            </c:txPr>
            <c:dLblPos val="t"/>
            <c:showVal val="1"/>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B$16:$L$16</c:f>
              <c:strCache>
                <c:ptCount val="11"/>
                <c:pt idx="0">
                  <c:v>ث1-2017</c:v>
                </c:pt>
                <c:pt idx="1">
                  <c:v>ث2-2017</c:v>
                </c:pt>
                <c:pt idx="2">
                  <c:v>ث3-2017</c:v>
                </c:pt>
                <c:pt idx="3">
                  <c:v>ث4-2017</c:v>
                </c:pt>
                <c:pt idx="4">
                  <c:v>ث1-2018</c:v>
                </c:pt>
                <c:pt idx="5">
                  <c:v>ث2-2018</c:v>
                </c:pt>
                <c:pt idx="6">
                  <c:v>ث3-2018</c:v>
                </c:pt>
                <c:pt idx="7">
                  <c:v>ث4-2018</c:v>
                </c:pt>
                <c:pt idx="8">
                  <c:v>ث1-2019</c:v>
                </c:pt>
                <c:pt idx="9">
                  <c:v>ث2-2019</c:v>
                </c:pt>
                <c:pt idx="10">
                  <c:v>ث3-2019</c:v>
                </c:pt>
              </c:strCache>
            </c:strRef>
          </c:cat>
          <c:val>
            <c:numRef>
              <c:f>Feuil1!$B$17:$L$17</c:f>
              <c:numCache>
                <c:formatCode>0.0%</c:formatCode>
                <c:ptCount val="11"/>
                <c:pt idx="0">
                  <c:v>1.7999999999999999E-2</c:v>
                </c:pt>
                <c:pt idx="1">
                  <c:v>3.0000000000000002E-2</c:v>
                </c:pt>
                <c:pt idx="2">
                  <c:v>2.4E-2</c:v>
                </c:pt>
                <c:pt idx="3">
                  <c:v>2.8000000000000001E-2</c:v>
                </c:pt>
                <c:pt idx="4">
                  <c:v>2.4E-2</c:v>
                </c:pt>
                <c:pt idx="5">
                  <c:v>1.9000000000000013E-2</c:v>
                </c:pt>
                <c:pt idx="6">
                  <c:v>1.4999999999999998E-2</c:v>
                </c:pt>
                <c:pt idx="7">
                  <c:v>1.2E-2</c:v>
                </c:pt>
                <c:pt idx="8">
                  <c:v>1.2999999999999998E-2</c:v>
                </c:pt>
                <c:pt idx="9">
                  <c:v>1.4E-2</c:v>
                </c:pt>
                <c:pt idx="10">
                  <c:v>1.2999999999999998E-2</c:v>
                </c:pt>
              </c:numCache>
            </c:numRef>
          </c:val>
          <c:smooth val="1"/>
          <c:extLst xmlns:c16r2="http://schemas.microsoft.com/office/drawing/2015/06/chart">
            <c:ext xmlns:c16="http://schemas.microsoft.com/office/drawing/2014/chart" uri="{C3380CC4-5D6E-409C-BE32-E72D297353CC}">
              <c16:uniqueId val="{00000004-013E-437B-8991-2AE2D4F770C9}"/>
            </c:ext>
          </c:extLst>
        </c:ser>
        <c:ser>
          <c:idx val="1"/>
          <c:order val="1"/>
          <c:tx>
            <c:strRef>
              <c:f>Feuil1!$A$18</c:f>
              <c:strCache>
                <c:ptCount val="1"/>
                <c:pt idx="0">
                  <c:v>ألمانيا</c:v>
                </c:pt>
              </c:strCache>
            </c:strRef>
          </c:tx>
          <c:spPr>
            <a:ln w="28575" cap="rnd">
              <a:solidFill>
                <a:srgbClr val="7030A0"/>
              </a:solidFill>
              <a:round/>
            </a:ln>
            <a:effectLst/>
          </c:spPr>
          <c:marker>
            <c:symbol val="none"/>
          </c:marker>
          <c:dLbls>
            <c:dLbl>
              <c:idx val="0"/>
              <c:layout>
                <c:manualLayout>
                  <c:x val="-2.0782889845421159E-2"/>
                  <c:y val="-6.8250605777544396E-2"/>
                </c:manualLayout>
              </c:layout>
              <c:dLblPos val="r"/>
              <c:showVal val="1"/>
              <c:extLst xmlns:c16r2="http://schemas.microsoft.com/office/drawing/2015/06/chart">
                <c:ext xmlns:c16="http://schemas.microsoft.com/office/drawing/2014/chart" uri="{C3380CC4-5D6E-409C-BE32-E72D297353CC}">
                  <c16:uniqueId val="{00000009-013E-437B-8991-2AE2D4F770C9}"/>
                </c:ext>
                <c:ext xmlns:c15="http://schemas.microsoft.com/office/drawing/2012/chart" uri="{CE6537A1-D6FC-4f65-9D91-7224C49458BB}">
                  <c15:layout/>
                </c:ext>
              </c:extLst>
            </c:dLbl>
            <c:dLbl>
              <c:idx val="1"/>
              <c:layout>
                <c:manualLayout>
                  <c:x val="-3.5598369078863608E-2"/>
                  <c:y val="5.7818625090953479E-2"/>
                </c:manualLayout>
              </c:layout>
              <c:dLblPos val="r"/>
              <c:showVal val="1"/>
              <c:extLst xmlns:c16r2="http://schemas.microsoft.com/office/drawing/2015/06/chart">
                <c:ext xmlns:c16="http://schemas.microsoft.com/office/drawing/2014/chart" uri="{C3380CC4-5D6E-409C-BE32-E72D297353CC}">
                  <c16:uniqueId val="{00000008-013E-437B-8991-2AE2D4F770C9}"/>
                </c:ext>
                <c:ext xmlns:c15="http://schemas.microsoft.com/office/drawing/2012/chart" uri="{CE6537A1-D6FC-4f65-9D91-7224C49458BB}">
                  <c15:layout/>
                </c:ext>
              </c:extLst>
            </c:dLbl>
            <c:dLbl>
              <c:idx val="2"/>
              <c:layout>
                <c:manualLayout>
                  <c:x val="-3.3952204719592101E-2"/>
                  <c:y val="-8.0857528864394276E-2"/>
                </c:manualLayout>
              </c:layout>
              <c:dLblPos val="r"/>
              <c:showVal val="1"/>
              <c:extLst xmlns:c16r2="http://schemas.microsoft.com/office/drawing/2015/06/chart">
                <c:ext xmlns:c16="http://schemas.microsoft.com/office/drawing/2014/chart" uri="{C3380CC4-5D6E-409C-BE32-E72D297353CC}">
                  <c16:uniqueId val="{0000000D-013E-437B-8991-2AE2D4F770C9}"/>
                </c:ext>
                <c:ext xmlns:c15="http://schemas.microsoft.com/office/drawing/2012/chart" uri="{CE6537A1-D6FC-4f65-9D91-7224C49458BB}">
                  <c15:layout/>
                </c:ext>
              </c:extLst>
            </c:dLbl>
            <c:dLbl>
              <c:idx val="3"/>
              <c:layout>
                <c:manualLayout>
                  <c:x val="-3.065987600104942E-2"/>
                  <c:y val="-6.194714423411949E-2"/>
                </c:manualLayout>
              </c:layout>
              <c:dLblPos val="r"/>
              <c:showVal val="1"/>
              <c:extLst xmlns:c16r2="http://schemas.microsoft.com/office/drawing/2015/06/chart">
                <c:ext xmlns:c16="http://schemas.microsoft.com/office/drawing/2014/chart" uri="{C3380CC4-5D6E-409C-BE32-E72D297353CC}">
                  <c16:uniqueId val="{0000000B-013E-437B-8991-2AE2D4F770C9}"/>
                </c:ext>
                <c:ext xmlns:c15="http://schemas.microsoft.com/office/drawing/2012/chart" uri="{CE6537A1-D6FC-4f65-9D91-7224C49458BB}">
                  <c15:layout/>
                </c:ext>
              </c:extLst>
            </c:dLbl>
            <c:dLbl>
              <c:idx val="5"/>
              <c:layout>
                <c:manualLayout>
                  <c:x val="-3.065987600104942E-2"/>
                  <c:y val="-6.8250853945321724E-2"/>
                </c:manualLayout>
              </c:layout>
              <c:dLblPos val="r"/>
              <c:showVal val="1"/>
              <c:extLst xmlns:c16r2="http://schemas.microsoft.com/office/drawing/2015/06/chart">
                <c:ext xmlns:c16="http://schemas.microsoft.com/office/drawing/2014/chart" uri="{C3380CC4-5D6E-409C-BE32-E72D297353CC}">
                  <c16:uniqueId val="{0000000C-013E-437B-8991-2AE2D4F770C9}"/>
                </c:ext>
                <c:ext xmlns:c15="http://schemas.microsoft.com/office/drawing/2012/chart" uri="{CE6537A1-D6FC-4f65-9D91-7224C49458BB}">
                  <c15:layout>
                    <c:manualLayout>
                      <c:w val="4.3211814430873019E-2"/>
                      <c:h val="8.4119942464782493E-2"/>
                    </c:manualLayout>
                  </c15:layout>
                </c:ext>
              </c:extLst>
            </c:dLbl>
            <c:dLbl>
              <c:idx val="9"/>
              <c:layout>
                <c:manualLayout>
                  <c:x val="-4.2183026515948907E-2"/>
                  <c:y val="-8.0857528864394249E-2"/>
                </c:manualLayout>
              </c:layout>
              <c:dLblPos val="r"/>
              <c:showVal val="1"/>
              <c:extLst>
                <c:ext xmlns:c15="http://schemas.microsoft.com/office/drawing/2012/chart" uri="{CE6537A1-D6FC-4f65-9D91-7224C49458BB}">
                  <c15:layout/>
                </c:ext>
              </c:extLst>
            </c:dLbl>
            <c:spPr>
              <a:solidFill>
                <a:prstClr val="white"/>
              </a:solidFill>
              <a:ln>
                <a:solidFill>
                  <a:prstClr val="black"/>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7030A0"/>
                    </a:solidFill>
                    <a:latin typeface="Times New Roman" panose="02020603050405020304" pitchFamily="18" charset="0"/>
                    <a:ea typeface="+mn-ea"/>
                    <a:cs typeface="Times New Roman" panose="02020603050405020304" pitchFamily="18" charset="0"/>
                  </a:defRPr>
                </a:pPr>
                <a:endParaRPr lang="fr-FR"/>
              </a:p>
            </c:txPr>
            <c:dLblPos val="b"/>
            <c:showVal val="1"/>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B$16:$L$16</c:f>
              <c:strCache>
                <c:ptCount val="11"/>
                <c:pt idx="0">
                  <c:v>ث1-2017</c:v>
                </c:pt>
                <c:pt idx="1">
                  <c:v>ث2-2017</c:v>
                </c:pt>
                <c:pt idx="2">
                  <c:v>ث3-2017</c:v>
                </c:pt>
                <c:pt idx="3">
                  <c:v>ث4-2017</c:v>
                </c:pt>
                <c:pt idx="4">
                  <c:v>ث1-2018</c:v>
                </c:pt>
                <c:pt idx="5">
                  <c:v>ث2-2018</c:v>
                </c:pt>
                <c:pt idx="6">
                  <c:v>ث3-2018</c:v>
                </c:pt>
                <c:pt idx="7">
                  <c:v>ث4-2018</c:v>
                </c:pt>
                <c:pt idx="8">
                  <c:v>ث1-2019</c:v>
                </c:pt>
                <c:pt idx="9">
                  <c:v>ث2-2019</c:v>
                </c:pt>
                <c:pt idx="10">
                  <c:v>ث3-2019</c:v>
                </c:pt>
              </c:strCache>
            </c:strRef>
          </c:cat>
          <c:val>
            <c:numRef>
              <c:f>Feuil1!$B$18:$L$18</c:f>
              <c:numCache>
                <c:formatCode>0.0%</c:formatCode>
                <c:ptCount val="11"/>
                <c:pt idx="0">
                  <c:v>2.1000000000000012E-2</c:v>
                </c:pt>
                <c:pt idx="1">
                  <c:v>2.4E-2</c:v>
                </c:pt>
                <c:pt idx="2">
                  <c:v>2.9000000000000001E-2</c:v>
                </c:pt>
                <c:pt idx="3">
                  <c:v>3.0000000000000002E-2</c:v>
                </c:pt>
                <c:pt idx="4">
                  <c:v>2.3E-2</c:v>
                </c:pt>
                <c:pt idx="5">
                  <c:v>2.1000000000000012E-2</c:v>
                </c:pt>
                <c:pt idx="6">
                  <c:v>1.0999999999999998E-2</c:v>
                </c:pt>
                <c:pt idx="7">
                  <c:v>6.0000000000000036E-3</c:v>
                </c:pt>
                <c:pt idx="8">
                  <c:v>1.0000000000000005E-2</c:v>
                </c:pt>
                <c:pt idx="9">
                  <c:v>3.0000000000000018E-3</c:v>
                </c:pt>
                <c:pt idx="10">
                  <c:v>5.0000000000000036E-3</c:v>
                </c:pt>
              </c:numCache>
            </c:numRef>
          </c:val>
          <c:smooth val="1"/>
          <c:extLst xmlns:c16r2="http://schemas.microsoft.com/office/drawing/2015/06/chart">
            <c:ext xmlns:c16="http://schemas.microsoft.com/office/drawing/2014/chart" uri="{C3380CC4-5D6E-409C-BE32-E72D297353CC}">
              <c16:uniqueId val="{00000006-013E-437B-8991-2AE2D4F770C9}"/>
            </c:ext>
          </c:extLst>
        </c:ser>
        <c:marker val="1"/>
        <c:axId val="182038528"/>
        <c:axId val="182040064"/>
      </c:lineChart>
      <c:catAx>
        <c:axId val="182038528"/>
        <c:scaling>
          <c:orientation val="maxMin"/>
        </c:scaling>
        <c:axPos val="b"/>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fr-FR"/>
          </a:p>
        </c:txPr>
        <c:crossAx val="182040064"/>
        <c:crosses val="autoZero"/>
        <c:auto val="1"/>
        <c:lblAlgn val="ctr"/>
        <c:lblOffset val="100"/>
      </c:catAx>
      <c:valAx>
        <c:axId val="182040064"/>
        <c:scaling>
          <c:orientation val="minMax"/>
          <c:min val="0"/>
        </c:scaling>
        <c:axPos val="r"/>
        <c:numFmt formatCode="0.0%" sourceLinked="0"/>
        <c:majorTickMark val="none"/>
        <c:tickLblPos val="nextTo"/>
        <c:spPr>
          <a:solidFill>
            <a:schemeClr val="bg1"/>
          </a:solidFill>
          <a:ln>
            <a:solidFill>
              <a:schemeClr val="tx1"/>
            </a:solidFill>
          </a:ln>
          <a:effectLst/>
        </c:spPr>
        <c:txPr>
          <a:bodyPr rot="-60000000" spcFirstLastPara="1" vertOverflow="ellipsis" vert="horz" wrap="square" anchor="ctr" anchorCtr="1"/>
          <a:lstStyle/>
          <a:p>
            <a:pPr>
              <a:defRPr sz="9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fr-FR"/>
          </a:p>
        </c:txPr>
        <c:crossAx val="182038528"/>
        <c:crosses val="autoZero"/>
        <c:crossBetween val="between"/>
        <c:majorUnit val="1.0000000000000005E-2"/>
      </c:valAx>
      <c:spPr>
        <a:noFill/>
        <a:ln>
          <a:solidFill>
            <a:schemeClr val="bg1"/>
          </a:solidFill>
        </a:ln>
        <a:effectLst/>
      </c:spPr>
    </c:plotArea>
    <c:legend>
      <c:legendPos val="b"/>
      <c:layout>
        <c:manualLayout>
          <c:xMode val="edge"/>
          <c:yMode val="edge"/>
          <c:x val="0.23591019751433695"/>
          <c:y val="0.89003972018215538"/>
          <c:w val="0.56289115941318058"/>
          <c:h val="0.10731131691065976"/>
        </c:manualLayout>
      </c:layout>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Simplified Arabic" panose="02020603050405020304" pitchFamily="18" charset="-78"/>
              <a:ea typeface="+mn-ea"/>
              <a:cs typeface="Simplified Arabic" panose="02020603050405020304" pitchFamily="18" charset="-78"/>
            </a:defRPr>
          </a:pPr>
          <a:endParaRPr lang="fr-FR"/>
        </a:p>
      </c:txPr>
    </c:legend>
    <c:plotVisOnly val="1"/>
    <c:dispBlanksAs val="gap"/>
  </c:chart>
  <c:spPr>
    <a:noFill/>
    <a:ln w="12700">
      <a:solidFill>
        <a:srgbClr val="C00000"/>
      </a:solidFill>
    </a:ln>
    <a:effectLst/>
  </c:spPr>
  <c:txPr>
    <a:bodyPr/>
    <a:lstStyle/>
    <a:p>
      <a:pPr>
        <a:defRPr/>
      </a:pPr>
      <a:endParaRPr lang="fr-FR"/>
    </a:p>
  </c:txPr>
  <c:externalData r:id="rId1"/>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fr-FR"/>
  <c:chart>
    <c:autoTitleDeleted val="1"/>
    <c:plotArea>
      <c:layout>
        <c:manualLayout>
          <c:layoutTarget val="inner"/>
          <c:xMode val="edge"/>
          <c:yMode val="edge"/>
          <c:x val="5.837707363346277E-2"/>
          <c:y val="6.8848359639780657E-2"/>
          <c:w val="0.87999488404833681"/>
          <c:h val="0.66080478163439271"/>
        </c:manualLayout>
      </c:layout>
      <c:barChart>
        <c:barDir val="col"/>
        <c:grouping val="clustered"/>
        <c:ser>
          <c:idx val="1"/>
          <c:order val="1"/>
          <c:tx>
            <c:strRef>
              <c:f>Feuil1!$A$13</c:f>
              <c:strCache>
                <c:ptCount val="1"/>
                <c:pt idx="0">
                  <c:v>إنتاج النفط (kt) (المحور الأيمن)</c:v>
                </c:pt>
              </c:strCache>
            </c:strRef>
          </c:tx>
          <c:spPr>
            <a:solidFill>
              <a:srgbClr val="002060"/>
            </a:solidFill>
            <a:ln>
              <a:noFill/>
            </a:ln>
            <a:effectLst/>
          </c:spPr>
          <c:cat>
            <c:strRef>
              <c:f>Feuil1!$F$11:$P$11</c:f>
              <c:strCache>
                <c:ptCount val="11"/>
                <c:pt idx="0">
                  <c:v>ث1-2017</c:v>
                </c:pt>
                <c:pt idx="1">
                  <c:v>ث2-2017</c:v>
                </c:pt>
                <c:pt idx="2">
                  <c:v>ث3-2017</c:v>
                </c:pt>
                <c:pt idx="3">
                  <c:v>ث4-2017</c:v>
                </c:pt>
                <c:pt idx="4">
                  <c:v>ث1-2018</c:v>
                </c:pt>
                <c:pt idx="5">
                  <c:v>ث2-2018</c:v>
                </c:pt>
                <c:pt idx="6">
                  <c:v>ث3-2018</c:v>
                </c:pt>
                <c:pt idx="7">
                  <c:v>ث4-2018</c:v>
                </c:pt>
                <c:pt idx="8">
                  <c:v>ث1-2019</c:v>
                </c:pt>
                <c:pt idx="9">
                  <c:v>ث2-2019</c:v>
                </c:pt>
                <c:pt idx="10">
                  <c:v>ث3-2019</c:v>
                </c:pt>
              </c:strCache>
            </c:strRef>
          </c:cat>
          <c:val>
            <c:numRef>
              <c:f>Feuil1!$F$13:$P$13</c:f>
              <c:numCache>
                <c:formatCode>General</c:formatCode>
                <c:ptCount val="11"/>
                <c:pt idx="0">
                  <c:v>519</c:v>
                </c:pt>
                <c:pt idx="1">
                  <c:v>451</c:v>
                </c:pt>
                <c:pt idx="2">
                  <c:v>357</c:v>
                </c:pt>
                <c:pt idx="3">
                  <c:v>504</c:v>
                </c:pt>
                <c:pt idx="4">
                  <c:v>467.7</c:v>
                </c:pt>
                <c:pt idx="5">
                  <c:v>461.3</c:v>
                </c:pt>
                <c:pt idx="6">
                  <c:v>444.00000000000006</c:v>
                </c:pt>
                <c:pt idx="7">
                  <c:v>451.00000000000006</c:v>
                </c:pt>
                <c:pt idx="8">
                  <c:v>440.7</c:v>
                </c:pt>
                <c:pt idx="9">
                  <c:v>444.3</c:v>
                </c:pt>
                <c:pt idx="10">
                  <c:v>405</c:v>
                </c:pt>
              </c:numCache>
            </c:numRef>
          </c:val>
          <c:extLst xmlns:c16r2="http://schemas.microsoft.com/office/drawing/2015/06/chart">
            <c:ext xmlns:c16="http://schemas.microsoft.com/office/drawing/2014/chart" uri="{C3380CC4-5D6E-409C-BE32-E72D297353CC}">
              <c16:uniqueId val="{00000000-8162-4460-ADFE-6CDD0D675DBC}"/>
            </c:ext>
          </c:extLst>
        </c:ser>
        <c:ser>
          <c:idx val="2"/>
          <c:order val="2"/>
          <c:tx>
            <c:strRef>
              <c:f>Feuil1!$A$14</c:f>
              <c:strCache>
                <c:ptCount val="1"/>
                <c:pt idx="0">
                  <c:v>إنتاج الغاز الطبيعي (kt-pci) (المحور الأيمن)</c:v>
                </c:pt>
              </c:strCache>
            </c:strRef>
          </c:tx>
          <c:spPr>
            <a:solidFill>
              <a:schemeClr val="accent2"/>
            </a:solidFill>
            <a:ln>
              <a:noFill/>
            </a:ln>
            <a:effectLst/>
          </c:spPr>
          <c:cat>
            <c:strRef>
              <c:f>Feuil1!$F$11:$P$11</c:f>
              <c:strCache>
                <c:ptCount val="11"/>
                <c:pt idx="0">
                  <c:v>ث1-2017</c:v>
                </c:pt>
                <c:pt idx="1">
                  <c:v>ث2-2017</c:v>
                </c:pt>
                <c:pt idx="2">
                  <c:v>ث3-2017</c:v>
                </c:pt>
                <c:pt idx="3">
                  <c:v>ث4-2017</c:v>
                </c:pt>
                <c:pt idx="4">
                  <c:v>ث1-2018</c:v>
                </c:pt>
                <c:pt idx="5">
                  <c:v>ث2-2018</c:v>
                </c:pt>
                <c:pt idx="6">
                  <c:v>ث3-2018</c:v>
                </c:pt>
                <c:pt idx="7">
                  <c:v>ث4-2018</c:v>
                </c:pt>
                <c:pt idx="8">
                  <c:v>ث1-2019</c:v>
                </c:pt>
                <c:pt idx="9">
                  <c:v>ث2-2019</c:v>
                </c:pt>
                <c:pt idx="10">
                  <c:v>ث3-2019</c:v>
                </c:pt>
              </c:strCache>
            </c:strRef>
          </c:cat>
          <c:val>
            <c:numRef>
              <c:f>Feuil1!$F$14:$P$14</c:f>
              <c:numCache>
                <c:formatCode>General</c:formatCode>
                <c:ptCount val="11"/>
                <c:pt idx="0">
                  <c:v>462</c:v>
                </c:pt>
                <c:pt idx="1">
                  <c:v>452</c:v>
                </c:pt>
                <c:pt idx="2">
                  <c:v>455</c:v>
                </c:pt>
                <c:pt idx="3">
                  <c:v>481</c:v>
                </c:pt>
                <c:pt idx="4">
                  <c:v>489</c:v>
                </c:pt>
                <c:pt idx="5">
                  <c:v>432</c:v>
                </c:pt>
                <c:pt idx="6">
                  <c:v>437</c:v>
                </c:pt>
                <c:pt idx="7">
                  <c:v>405</c:v>
                </c:pt>
                <c:pt idx="8">
                  <c:v>406</c:v>
                </c:pt>
                <c:pt idx="9">
                  <c:v>398</c:v>
                </c:pt>
                <c:pt idx="10">
                  <c:v>397</c:v>
                </c:pt>
              </c:numCache>
            </c:numRef>
          </c:val>
          <c:extLst xmlns:c16r2="http://schemas.microsoft.com/office/drawing/2015/06/chart">
            <c:ext xmlns:c16="http://schemas.microsoft.com/office/drawing/2014/chart" uri="{C3380CC4-5D6E-409C-BE32-E72D297353CC}">
              <c16:uniqueId val="{00000001-8162-4460-ADFE-6CDD0D675DBC}"/>
            </c:ext>
          </c:extLst>
        </c:ser>
        <c:axId val="182223232"/>
        <c:axId val="182224768"/>
      </c:barChart>
      <c:lineChart>
        <c:grouping val="standard"/>
        <c:ser>
          <c:idx val="0"/>
          <c:order val="0"/>
          <c:tx>
            <c:strRef>
              <c:f>Feuil1!$A$12</c:f>
              <c:strCache>
                <c:ptCount val="1"/>
                <c:pt idx="0">
                  <c:v>القيمة المضافة للنفط والغاز الطبيعي (المحور الأيسر)</c:v>
                </c:pt>
              </c:strCache>
            </c:strRef>
          </c:tx>
          <c:spPr>
            <a:ln w="28575" cap="rnd">
              <a:solidFill>
                <a:srgbClr val="0070C0"/>
              </a:solidFill>
              <a:round/>
            </a:ln>
            <a:effectLst/>
          </c:spPr>
          <c:marker>
            <c:symbol val="none"/>
          </c:marker>
          <c:dLbls>
            <c:dLbl>
              <c:idx val="0"/>
              <c:layout>
                <c:manualLayout>
                  <c:x val="-3.8044809063595031E-2"/>
                  <c:y val="-0.11374074280332587"/>
                </c:manualLayout>
              </c:layout>
              <c:dLblPos val="r"/>
              <c:showVal val="1"/>
              <c:extLst xmlns:c16r2="http://schemas.microsoft.com/office/drawing/2015/06/chart">
                <c:ext xmlns:c16="http://schemas.microsoft.com/office/drawing/2014/chart" uri="{C3380CC4-5D6E-409C-BE32-E72D297353CC}">
                  <c16:uniqueId val="{00000003-344C-4EA5-9F7C-75748192FEE0}"/>
                </c:ext>
                <c:ext xmlns:c15="http://schemas.microsoft.com/office/drawing/2012/chart" uri="{CE6537A1-D6FC-4f65-9D91-7224C49458BB}">
                  <c15:layout/>
                </c:ext>
              </c:extLst>
            </c:dLbl>
            <c:dLbl>
              <c:idx val="1"/>
              <c:layout>
                <c:manualLayout>
                  <c:x val="-4.5959385709965772E-2"/>
                  <c:y val="-0.15755333530136831"/>
                </c:manualLayout>
              </c:layout>
              <c:dLblPos val="r"/>
              <c:showVal val="1"/>
              <c:extLst xmlns:c16r2="http://schemas.microsoft.com/office/drawing/2015/06/chart">
                <c:ext xmlns:c16="http://schemas.microsoft.com/office/drawing/2014/chart" uri="{C3380CC4-5D6E-409C-BE32-E72D297353CC}">
                  <c16:uniqueId val="{00000000-344C-4EA5-9F7C-75748192FEE0}"/>
                </c:ext>
                <c:ext xmlns:c15="http://schemas.microsoft.com/office/drawing/2012/chart" uri="{CE6537A1-D6FC-4f65-9D91-7224C49458BB}">
                  <c15:layout/>
                </c:ext>
              </c:extLst>
            </c:dLbl>
            <c:dLbl>
              <c:idx val="2"/>
              <c:layout>
                <c:manualLayout>
                  <c:x val="-2.404209653540007E-2"/>
                  <c:y val="-7.6187092090718181E-2"/>
                </c:manualLayout>
              </c:layout>
              <c:dLblPos val="r"/>
              <c:showVal val="1"/>
              <c:extLst xmlns:c16r2="http://schemas.microsoft.com/office/drawing/2015/06/chart">
                <c:ext xmlns:c16="http://schemas.microsoft.com/office/drawing/2014/chart" uri="{C3380CC4-5D6E-409C-BE32-E72D297353CC}">
                  <c16:uniqueId val="{00000004-344C-4EA5-9F7C-75748192FEE0}"/>
                </c:ext>
                <c:ext xmlns:c15="http://schemas.microsoft.com/office/drawing/2012/chart" uri="{CE6537A1-D6FC-4f65-9D91-7224C49458BB}">
                  <c15:layout/>
                </c:ext>
              </c:extLst>
            </c:dLbl>
            <c:dLbl>
              <c:idx val="3"/>
              <c:layout>
                <c:manualLayout>
                  <c:x val="-5.7526843885431188E-2"/>
                  <c:y val="-0.10122285923245666"/>
                </c:manualLayout>
              </c:layout>
              <c:dLblPos val="r"/>
              <c:showVal val="1"/>
              <c:extLst xmlns:c16r2="http://schemas.microsoft.com/office/drawing/2015/06/chart">
                <c:ext xmlns:c16="http://schemas.microsoft.com/office/drawing/2014/chart" uri="{C3380CC4-5D6E-409C-BE32-E72D297353CC}">
                  <c16:uniqueId val="{00000002-344C-4EA5-9F7C-75748192FEE0}"/>
                </c:ext>
                <c:ext xmlns:c15="http://schemas.microsoft.com/office/drawing/2012/chart" uri="{CE6537A1-D6FC-4f65-9D91-7224C49458BB}">
                  <c15:layout/>
                </c:ext>
              </c:extLst>
            </c:dLbl>
            <c:dLbl>
              <c:idx val="7"/>
              <c:layout>
                <c:manualLayout>
                  <c:x val="-4.5959385709965772E-2"/>
                  <c:y val="-0.10748180101789118"/>
                </c:manualLayout>
              </c:layout>
              <c:dLblPos val="r"/>
              <c:showVal val="1"/>
              <c:extLst xmlns:c16r2="http://schemas.microsoft.com/office/drawing/2015/06/chart">
                <c:ext xmlns:c16="http://schemas.microsoft.com/office/drawing/2014/chart" uri="{C3380CC4-5D6E-409C-BE32-E72D297353CC}">
                  <c16:uniqueId val="{00000001-344C-4EA5-9F7C-75748192FEE0}"/>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dLblPos val="t"/>
            <c:showVal val="1"/>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F$11:$P$11</c:f>
              <c:strCache>
                <c:ptCount val="11"/>
                <c:pt idx="0">
                  <c:v>ث1-2017</c:v>
                </c:pt>
                <c:pt idx="1">
                  <c:v>ث2-2017</c:v>
                </c:pt>
                <c:pt idx="2">
                  <c:v>ث3-2017</c:v>
                </c:pt>
                <c:pt idx="3">
                  <c:v>ث4-2017</c:v>
                </c:pt>
                <c:pt idx="4">
                  <c:v>ث1-2018</c:v>
                </c:pt>
                <c:pt idx="5">
                  <c:v>ث2-2018</c:v>
                </c:pt>
                <c:pt idx="6">
                  <c:v>ث3-2018</c:v>
                </c:pt>
                <c:pt idx="7">
                  <c:v>ث4-2018</c:v>
                </c:pt>
                <c:pt idx="8">
                  <c:v>ث1-2019</c:v>
                </c:pt>
                <c:pt idx="9">
                  <c:v>ث2-2019</c:v>
                </c:pt>
                <c:pt idx="10">
                  <c:v>ث3-2019</c:v>
                </c:pt>
              </c:strCache>
            </c:strRef>
          </c:cat>
          <c:val>
            <c:numRef>
              <c:f>Feuil1!$F$12:$P$12</c:f>
              <c:numCache>
                <c:formatCode>0.0</c:formatCode>
                <c:ptCount val="11"/>
                <c:pt idx="0">
                  <c:v>-4.2908578033676008</c:v>
                </c:pt>
                <c:pt idx="1">
                  <c:v>-15.103983528388419</c:v>
                </c:pt>
                <c:pt idx="2">
                  <c:v>-22.635972634223702</c:v>
                </c:pt>
                <c:pt idx="3">
                  <c:v>-7.080228611398212</c:v>
                </c:pt>
                <c:pt idx="4" formatCode="General">
                  <c:v>-2.4</c:v>
                </c:pt>
                <c:pt idx="5" formatCode="General">
                  <c:v>-1.4</c:v>
                </c:pt>
                <c:pt idx="6" formatCode="General">
                  <c:v>8.5</c:v>
                </c:pt>
                <c:pt idx="7" formatCode="General">
                  <c:v>-14.2</c:v>
                </c:pt>
                <c:pt idx="8" formatCode="General">
                  <c:v>-10.8</c:v>
                </c:pt>
                <c:pt idx="9" formatCode="General">
                  <c:v>-6.5</c:v>
                </c:pt>
                <c:pt idx="10" formatCode="General">
                  <c:v>-6.8</c:v>
                </c:pt>
              </c:numCache>
            </c:numRef>
          </c:val>
          <c:smooth val="1"/>
          <c:extLst xmlns:c16r2="http://schemas.microsoft.com/office/drawing/2015/06/chart">
            <c:ext xmlns:c16="http://schemas.microsoft.com/office/drawing/2014/chart" uri="{C3380CC4-5D6E-409C-BE32-E72D297353CC}">
              <c16:uniqueId val="{00000005-8162-4460-ADFE-6CDD0D675DBC}"/>
            </c:ext>
          </c:extLst>
        </c:ser>
        <c:marker val="1"/>
        <c:axId val="182236288"/>
        <c:axId val="182226304"/>
      </c:lineChart>
      <c:catAx>
        <c:axId val="182223232"/>
        <c:scaling>
          <c:orientation val="maxMin"/>
        </c:scaling>
        <c:axPos val="b"/>
        <c:numFmt formatCode="General" sourceLinked="1"/>
        <c:maj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rtl="1">
              <a:defRPr sz="900" b="1" i="0" u="none" strike="noStrike" kern="1200" baseline="0">
                <a:solidFill>
                  <a:schemeClr val="tx1"/>
                </a:solidFill>
                <a:latin typeface="Simplified Arabic" panose="02020603050405020304" pitchFamily="18" charset="-78"/>
                <a:ea typeface="+mn-ea"/>
                <a:cs typeface="Simplified Arabic" panose="02020603050405020304" pitchFamily="18" charset="-78"/>
              </a:defRPr>
            </a:pPr>
            <a:endParaRPr lang="fr-FR"/>
          </a:p>
        </c:txPr>
        <c:crossAx val="182224768"/>
        <c:crosses val="autoZero"/>
        <c:auto val="1"/>
        <c:lblAlgn val="ctr"/>
        <c:lblOffset val="100"/>
      </c:catAx>
      <c:valAx>
        <c:axId val="182224768"/>
        <c:scaling>
          <c:orientation val="minMax"/>
          <c:max val="600"/>
          <c:min val="350"/>
        </c:scaling>
        <c:axPos val="r"/>
        <c:numFmt formatCode="General" sourceLinked="1"/>
        <c:majorTickMark val="none"/>
        <c:tickLblPos val="nextTo"/>
        <c:spPr>
          <a:noFill/>
          <a:ln>
            <a:solidFill>
              <a:schemeClr val="tx1"/>
            </a:solidFill>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82223232"/>
        <c:crosses val="autoZero"/>
        <c:crossBetween val="between"/>
        <c:majorUnit val="100"/>
      </c:valAx>
      <c:valAx>
        <c:axId val="182226304"/>
        <c:scaling>
          <c:orientation val="minMax"/>
          <c:max val="10"/>
          <c:min val="-25"/>
        </c:scaling>
        <c:axPos val="l"/>
        <c:numFmt formatCode="0" sourceLinked="0"/>
        <c:tickLblPos val="nextTo"/>
        <c:spPr>
          <a:noFill/>
          <a:ln>
            <a:solidFill>
              <a:schemeClr val="tx1"/>
            </a:solidFill>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82236288"/>
        <c:crosses val="max"/>
        <c:crossBetween val="between"/>
        <c:majorUnit val="10"/>
      </c:valAx>
      <c:catAx>
        <c:axId val="182236288"/>
        <c:scaling>
          <c:orientation val="maxMin"/>
        </c:scaling>
        <c:axPos val="b"/>
        <c:numFmt formatCode="General" sourceLinked="1"/>
        <c:maj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82226304"/>
        <c:crossesAt val="0"/>
        <c:auto val="1"/>
        <c:lblAlgn val="ctr"/>
        <c:lblOffset val="100"/>
      </c:catAx>
      <c:spPr>
        <a:noFill/>
        <a:ln>
          <a:noFill/>
        </a:ln>
        <a:effectLst/>
      </c:spPr>
    </c:plotArea>
    <c:legend>
      <c:legendPos val="b"/>
      <c:layout>
        <c:manualLayout>
          <c:xMode val="edge"/>
          <c:yMode val="edge"/>
          <c:x val="3.873884620588694E-2"/>
          <c:y val="0.86625084951581954"/>
          <c:w val="0.93858200075113796"/>
          <c:h val="0.1322627750176556"/>
        </c:manualLayout>
      </c:layout>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Simplified Arabic" panose="02020603050405020304" pitchFamily="18" charset="-78"/>
              <a:ea typeface="+mn-ea"/>
              <a:cs typeface="Simplified Arabic" panose="02020603050405020304" pitchFamily="18" charset="-78"/>
            </a:defRPr>
          </a:pPr>
          <a:endParaRPr lang="fr-FR"/>
        </a:p>
      </c:txPr>
    </c:legend>
    <c:plotVisOnly val="1"/>
    <c:dispBlanksAs val="gap"/>
  </c:chart>
  <c:spPr>
    <a:noFill/>
    <a:ln>
      <a:solidFill>
        <a:schemeClr val="accent1"/>
      </a:solidFill>
    </a:ln>
    <a:effectLst/>
  </c:spPr>
  <c:txPr>
    <a:bodyPr/>
    <a:lstStyle/>
    <a:p>
      <a:pPr>
        <a:defRPr/>
      </a:pPr>
      <a:endParaRPr lang="fr-FR"/>
    </a:p>
  </c:txPr>
  <c:externalData r:id="rId1"/>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fr-FR"/>
  <c:chart>
    <c:autoTitleDeleted val="1"/>
    <c:plotArea>
      <c:layout>
        <c:manualLayout>
          <c:layoutTarget val="inner"/>
          <c:xMode val="edge"/>
          <c:yMode val="edge"/>
          <c:x val="5.2407417079906198E-2"/>
          <c:y val="5.2717720529115775E-2"/>
          <c:w val="0.93326713484154189"/>
          <c:h val="0.75085606819909079"/>
        </c:manualLayout>
      </c:layout>
      <c:lineChart>
        <c:grouping val="standard"/>
        <c:ser>
          <c:idx val="0"/>
          <c:order val="0"/>
          <c:tx>
            <c:strRef>
              <c:f>Feuil1!$A$70</c:f>
              <c:strCache>
                <c:ptCount val="1"/>
                <c:pt idx="0">
                  <c:v>إنتاج الفسفاط (الف طن) </c:v>
                </c:pt>
              </c:strCache>
            </c:strRef>
          </c:tx>
          <c:spPr>
            <a:ln w="28575" cap="rnd">
              <a:solidFill>
                <a:schemeClr val="accent1"/>
              </a:solidFill>
              <a:round/>
            </a:ln>
            <a:effectLst/>
          </c:spPr>
          <c:marker>
            <c:symbol val="none"/>
          </c:marker>
          <c:dLbls>
            <c:dLbl>
              <c:idx val="10"/>
              <c:layout>
                <c:manualLayout>
                  <c:x val="-8.1666096962534157E-2"/>
                  <c:y val="-1.1111111111111122E-2"/>
                </c:manualLayout>
              </c:layout>
              <c:dLblPos val="r"/>
              <c:showVal val="1"/>
              <c:extLst xmlns:c16r2="http://schemas.microsoft.com/office/drawing/2015/06/chart">
                <c:ext xmlns:c16="http://schemas.microsoft.com/office/drawing/2014/chart" uri="{C3380CC4-5D6E-409C-BE32-E72D297353CC}">
                  <c16:uniqueId val="{00000002-8B7A-4E3F-91FB-398E2A623CA3}"/>
                </c:ext>
                <c:ext xmlns:c15="http://schemas.microsoft.com/office/drawing/2012/chart" uri="{CE6537A1-D6FC-4f65-9D91-7224C49458BB}">
                  <c15:layout/>
                </c:ext>
              </c:extLst>
            </c:dLbl>
            <c:dLbl>
              <c:idx val="12"/>
              <c:layout>
                <c:manualLayout>
                  <c:x val="-3.069080944418906E-2"/>
                  <c:y val="-8.3333333333333679E-3"/>
                </c:manualLayout>
              </c:layout>
              <c:dLblPos val="r"/>
              <c:showVal val="1"/>
              <c:extLst xmlns:c16r2="http://schemas.microsoft.com/office/drawing/2015/06/chart">
                <c:ext xmlns:c16="http://schemas.microsoft.com/office/drawing/2014/chart" uri="{C3380CC4-5D6E-409C-BE32-E72D297353CC}">
                  <c16:uniqueId val="{00000003-8B7A-4E3F-91FB-398E2A623CA3}"/>
                </c:ext>
                <c:ext xmlns:c15="http://schemas.microsoft.com/office/drawing/2012/chart" uri="{CE6537A1-D6FC-4f65-9D91-7224C49458BB}"/>
              </c:extLst>
            </c:dLbl>
            <c:dLbl>
              <c:idx val="13"/>
              <c:layout>
                <c:manualLayout>
                  <c:x val="-4.0753733622194782E-2"/>
                  <c:y val="0"/>
                </c:manualLayout>
              </c:layout>
              <c:dLblPos val="r"/>
              <c:showVal val="1"/>
              <c:extLst xmlns:c16r2="http://schemas.microsoft.com/office/drawing/2015/06/chart">
                <c:ext xmlns:c16="http://schemas.microsoft.com/office/drawing/2014/chart" uri="{C3380CC4-5D6E-409C-BE32-E72D297353CC}">
                  <c16:uniqueId val="{00000004-8B7A-4E3F-91FB-398E2A623CA3}"/>
                </c:ext>
                <c:ext xmlns:c15="http://schemas.microsoft.com/office/drawing/2012/chart" uri="{CE6537A1-D6FC-4f65-9D91-7224C49458BB}"/>
              </c:extLst>
            </c:dLbl>
            <c:dLbl>
              <c:idx val="14"/>
              <c:layout>
                <c:manualLayout>
                  <c:x val="-4.0753733622194782E-2"/>
                  <c:y val="-1.3888888888888904E-2"/>
                </c:manualLayout>
              </c:layout>
              <c:dLblPos val="r"/>
              <c:showVal val="1"/>
              <c:extLst xmlns:c16r2="http://schemas.microsoft.com/office/drawing/2015/06/chart">
                <c:ext xmlns:c16="http://schemas.microsoft.com/office/drawing/2014/chart" uri="{C3380CC4-5D6E-409C-BE32-E72D297353CC}">
                  <c16:uniqueId val="{00000005-8B7A-4E3F-91FB-398E2A623CA3}"/>
                </c:ext>
                <c:ext xmlns:c15="http://schemas.microsoft.com/office/drawing/2012/chart" uri="{CE6537A1-D6FC-4f65-9D91-7224C49458BB}"/>
              </c:extLst>
            </c:dLbl>
            <c:numFmt formatCode="#,##0" sourceLinked="0"/>
            <c:spPr>
              <a:solidFill>
                <a:schemeClr val="bg1"/>
              </a:solidFill>
              <a:ln>
                <a:solidFill>
                  <a:schemeClr val="accent1">
                    <a:lumMod val="75000"/>
                  </a:schemeClr>
                </a:solidFill>
              </a:ln>
              <a:effectLst/>
            </c:spPr>
            <c:txPr>
              <a:bodyPr rot="0" spcFirstLastPara="1" vertOverflow="clip" horzOverflow="clip" vert="horz" wrap="square" lIns="36576" tIns="18288" rIns="36576" bIns="18288" anchor="ctr" anchorCtr="1">
                <a:spAutoFit/>
              </a:bodyPr>
              <a:lstStyle/>
              <a:p>
                <a:pPr>
                  <a:defRPr sz="900" b="1" i="0" u="none" strike="noStrike" kern="1200" baseline="0">
                    <a:solidFill>
                      <a:schemeClr val="dk1">
                        <a:lumMod val="65000"/>
                        <a:lumOff val="35000"/>
                      </a:schemeClr>
                    </a:solidFill>
                    <a:latin typeface="+mn-lt"/>
                    <a:ea typeface="+mn-ea"/>
                    <a:cs typeface="+mn-cs"/>
                  </a:defRPr>
                </a:pPr>
                <a:endParaRPr lang="fr-FR"/>
              </a:p>
            </c:txPr>
            <c:dLblPos val="ctr"/>
            <c:showVal val="1"/>
            <c:extLst xmlns:c16r2="http://schemas.microsoft.com/office/drawing/2015/06/chart">
              <c:ext xmlns:c15="http://schemas.microsoft.com/office/drawing/2012/chart" uri="{CE6537A1-D6FC-4f65-9D91-7224C49458BB}">
                <c15:spPr xmlns:c15="http://schemas.microsoft.com/office/drawing/2012/chart">
                  <a:prstGeom prst="ellipse">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B$69:$L$69</c:f>
              <c:strCache>
                <c:ptCount val="11"/>
                <c:pt idx="0">
                  <c:v>2017-ث1</c:v>
                </c:pt>
                <c:pt idx="1">
                  <c:v>2017-ث2</c:v>
                </c:pt>
                <c:pt idx="2">
                  <c:v>2017-ث3</c:v>
                </c:pt>
                <c:pt idx="3">
                  <c:v>2017-ث4</c:v>
                </c:pt>
                <c:pt idx="4">
                  <c:v>2018-ث1</c:v>
                </c:pt>
                <c:pt idx="5">
                  <c:v>2018-ث2</c:v>
                </c:pt>
                <c:pt idx="6">
                  <c:v>2018-ث3</c:v>
                </c:pt>
                <c:pt idx="7">
                  <c:v>2018-ث4</c:v>
                </c:pt>
                <c:pt idx="8">
                  <c:v>2019-ث1</c:v>
                </c:pt>
                <c:pt idx="9">
                  <c:v>ث2-2019</c:v>
                </c:pt>
                <c:pt idx="10">
                  <c:v>ث3-2019</c:v>
                </c:pt>
              </c:strCache>
            </c:strRef>
          </c:cat>
          <c:val>
            <c:numRef>
              <c:f>Feuil1!$B$70:$L$70</c:f>
              <c:numCache>
                <c:formatCode>General</c:formatCode>
                <c:ptCount val="11"/>
                <c:pt idx="0">
                  <c:v>1087.8</c:v>
                </c:pt>
                <c:pt idx="1">
                  <c:v>954.8</c:v>
                </c:pt>
                <c:pt idx="2">
                  <c:v>1114.8</c:v>
                </c:pt>
                <c:pt idx="3">
                  <c:v>971.8</c:v>
                </c:pt>
                <c:pt idx="4">
                  <c:v>468.1</c:v>
                </c:pt>
                <c:pt idx="5">
                  <c:v>1059.2</c:v>
                </c:pt>
                <c:pt idx="6">
                  <c:v>1081.5</c:v>
                </c:pt>
                <c:pt idx="7">
                  <c:v>724.7</c:v>
                </c:pt>
                <c:pt idx="8">
                  <c:v>933.7</c:v>
                </c:pt>
                <c:pt idx="9">
                  <c:v>980.3</c:v>
                </c:pt>
                <c:pt idx="10">
                  <c:v>974.5</c:v>
                </c:pt>
              </c:numCache>
            </c:numRef>
          </c:val>
          <c:smooth val="1"/>
          <c:extLst xmlns:c16r2="http://schemas.microsoft.com/office/drawing/2015/06/chart">
            <c:ext xmlns:c16="http://schemas.microsoft.com/office/drawing/2014/chart" uri="{C3380CC4-5D6E-409C-BE32-E72D297353CC}">
              <c16:uniqueId val="{00000006-8B7A-4E3F-91FB-398E2A623CA3}"/>
            </c:ext>
          </c:extLst>
        </c:ser>
        <c:marker val="1"/>
        <c:axId val="182708480"/>
        <c:axId val="182067200"/>
      </c:lineChart>
      <c:catAx>
        <c:axId val="182708480"/>
        <c:scaling>
          <c:orientation val="maxMin"/>
        </c:scaling>
        <c:axPos val="b"/>
        <c:numFmt formatCode="General" sourceLinked="1"/>
        <c:maj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fr-FR"/>
          </a:p>
        </c:txPr>
        <c:crossAx val="182067200"/>
        <c:crosses val="autoZero"/>
        <c:auto val="1"/>
        <c:lblAlgn val="ctr"/>
        <c:lblOffset val="100"/>
      </c:catAx>
      <c:valAx>
        <c:axId val="182067200"/>
        <c:scaling>
          <c:orientation val="minMax"/>
          <c:min val="100"/>
        </c:scaling>
        <c:axPos val="r"/>
        <c:majorGridlines>
          <c:spPr>
            <a:ln w="9525" cap="flat" cmpd="sng" algn="ctr">
              <a:solidFill>
                <a:schemeClr val="tx1">
                  <a:lumMod val="15000"/>
                  <a:lumOff val="85000"/>
                </a:schemeClr>
              </a:solidFill>
              <a:round/>
            </a:ln>
            <a:effectLst/>
          </c:spPr>
        </c:majorGridlines>
        <c:numFmt formatCode="General" sourceLinked="1"/>
        <c:tickLblPos val="nextTo"/>
        <c:spPr>
          <a:noFill/>
          <a:ln>
            <a:solidFill>
              <a:schemeClr val="tx1"/>
            </a:solid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fr-FR"/>
          </a:p>
        </c:txPr>
        <c:crossAx val="182708480"/>
        <c:crosses val="autoZero"/>
        <c:crossBetween val="between"/>
      </c:valAx>
      <c:spPr>
        <a:noFill/>
        <a:ln>
          <a:noFill/>
        </a:ln>
        <a:effectLst/>
      </c:spPr>
    </c:plotArea>
    <c:legend>
      <c:legendPos val="b"/>
      <c:layout>
        <c:manualLayout>
          <c:xMode val="edge"/>
          <c:yMode val="edge"/>
          <c:x val="0.12682986218597611"/>
          <c:y val="0.93584203038741465"/>
          <c:w val="0.77197627812610936"/>
          <c:h val="6.4157969612585852E-2"/>
        </c:manualLayout>
      </c:layout>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fr-FR"/>
        </a:p>
      </c:txPr>
    </c:legend>
    <c:plotVisOnly val="1"/>
    <c:dispBlanksAs val="gap"/>
  </c:chart>
  <c:spPr>
    <a:noFill/>
    <a:ln>
      <a:solidFill>
        <a:schemeClr val="accent1">
          <a:shade val="50000"/>
        </a:schemeClr>
      </a:solidFill>
    </a:ln>
    <a:effectLst/>
  </c:spPr>
  <c:txPr>
    <a:bodyPr/>
    <a:lstStyle/>
    <a:p>
      <a:pPr>
        <a:defRPr/>
      </a:pPr>
      <a:endParaRPr lang="fr-FR"/>
    </a:p>
  </c:txPr>
  <c:externalData r:id="rId1"/>
</c:chartSpace>
</file>

<file path=ppt/charts/chart13.xml><?xml version="1.0" encoding="utf-8"?>
<c:chartSpace xmlns:c="http://schemas.openxmlformats.org/drawingml/2006/chart" xmlns:a="http://schemas.openxmlformats.org/drawingml/2006/main" xmlns:r="http://schemas.openxmlformats.org/officeDocument/2006/relationships">
  <c:date1904 val="1"/>
  <c:lang val="fr-FR"/>
  <c:style val="5"/>
  <c:chart>
    <c:autoTitleDeleted val="1"/>
    <c:plotArea>
      <c:layout>
        <c:manualLayout>
          <c:layoutTarget val="inner"/>
          <c:xMode val="edge"/>
          <c:yMode val="edge"/>
          <c:x val="5.1285274196254685E-2"/>
          <c:y val="4.644492658642127E-2"/>
          <c:w val="0.89350681918220709"/>
          <c:h val="0.77527914256522201"/>
        </c:manualLayout>
      </c:layout>
      <c:barChart>
        <c:barDir val="col"/>
        <c:grouping val="clustered"/>
        <c:ser>
          <c:idx val="0"/>
          <c:order val="0"/>
          <c:tx>
            <c:strRef>
              <c:f>Feuil1!$A$92</c:f>
              <c:strCache>
                <c:ptCount val="1"/>
                <c:pt idx="0">
                  <c:v>الاستثمار الأجنبي المباشر (م د)</c:v>
                </c:pt>
              </c:strCache>
            </c:strRef>
          </c:tx>
          <c:spPr>
            <a:pattFill prst="narHorz">
              <a:fgClr>
                <a:schemeClr val="accent3">
                  <a:tint val="77000"/>
                </a:schemeClr>
              </a:fgClr>
              <a:bgClr>
                <a:schemeClr val="accent3">
                  <a:tint val="77000"/>
                  <a:lumMod val="20000"/>
                  <a:lumOff val="80000"/>
                </a:schemeClr>
              </a:bgClr>
            </a:pattFill>
            <a:ln>
              <a:noFill/>
            </a:ln>
            <a:effectLst>
              <a:innerShdw blurRad="114300">
                <a:schemeClr val="accent3">
                  <a:tint val="77000"/>
                </a:schemeClr>
              </a:innerShdw>
            </a:effectLst>
          </c:spPr>
          <c:dLbls>
            <c:numFmt formatCode="#,##0" sourceLinked="0"/>
            <c:spPr>
              <a:noFill/>
              <a:ln>
                <a:solidFill>
                  <a:prstClr val="black"/>
                </a:solidFill>
              </a:ln>
              <a:effectLst/>
            </c:spPr>
            <c:txPr>
              <a:bodyPr rot="0" spcFirstLastPara="1" vertOverflow="ellipsis" vert="horz" wrap="square" anchor="ctr" anchorCtr="1"/>
              <a:lstStyle/>
              <a:p>
                <a:pPr>
                  <a:defRPr sz="10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showVal val="1"/>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Feuil1!$F$91:$P$91</c:f>
              <c:strCache>
                <c:ptCount val="11"/>
                <c:pt idx="0">
                  <c:v>ث1-2017</c:v>
                </c:pt>
                <c:pt idx="1">
                  <c:v>ث2-2017</c:v>
                </c:pt>
                <c:pt idx="2">
                  <c:v>ث3-2017</c:v>
                </c:pt>
                <c:pt idx="3">
                  <c:v>ث4-2017</c:v>
                </c:pt>
                <c:pt idx="4">
                  <c:v>ث1-2018</c:v>
                </c:pt>
                <c:pt idx="5">
                  <c:v>ث2-2018</c:v>
                </c:pt>
                <c:pt idx="6">
                  <c:v>ث3-2018</c:v>
                </c:pt>
                <c:pt idx="7">
                  <c:v>ث4-2018</c:v>
                </c:pt>
                <c:pt idx="8">
                  <c:v>ث1-2019</c:v>
                </c:pt>
                <c:pt idx="9">
                  <c:v>ث2-2019</c:v>
                </c:pt>
                <c:pt idx="10">
                  <c:v>ث3-2019</c:v>
                </c:pt>
              </c:strCache>
            </c:strRef>
          </c:cat>
          <c:val>
            <c:numRef>
              <c:f>Feuil1!$F$92:$P$92</c:f>
              <c:numCache>
                <c:formatCode>General</c:formatCode>
                <c:ptCount val="11"/>
                <c:pt idx="0">
                  <c:v>440.4</c:v>
                </c:pt>
                <c:pt idx="1">
                  <c:v>477.9</c:v>
                </c:pt>
                <c:pt idx="2">
                  <c:v>1054.5</c:v>
                </c:pt>
                <c:pt idx="3">
                  <c:v>599.1</c:v>
                </c:pt>
                <c:pt idx="4">
                  <c:v>559.4</c:v>
                </c:pt>
                <c:pt idx="5">
                  <c:v>513.4</c:v>
                </c:pt>
                <c:pt idx="6">
                  <c:v>1225.3000000000002</c:v>
                </c:pt>
                <c:pt idx="7">
                  <c:v>1003.3</c:v>
                </c:pt>
                <c:pt idx="8">
                  <c:v>616.29999999999995</c:v>
                </c:pt>
                <c:pt idx="9">
                  <c:v>634.70000000000005</c:v>
                </c:pt>
                <c:pt idx="10">
                  <c:v>650.70000000000005</c:v>
                </c:pt>
              </c:numCache>
            </c:numRef>
          </c:val>
          <c:extLst xmlns:c16r2="http://schemas.microsoft.com/office/drawing/2015/06/chart">
            <c:ext xmlns:c16="http://schemas.microsoft.com/office/drawing/2014/chart" uri="{C3380CC4-5D6E-409C-BE32-E72D297353CC}">
              <c16:uniqueId val="{00000000-5040-4A62-96AA-585AA09E2F89}"/>
            </c:ext>
          </c:extLst>
        </c:ser>
        <c:ser>
          <c:idx val="1"/>
          <c:order val="1"/>
          <c:tx>
            <c:strRef>
              <c:f>Feuil1!$A$93</c:f>
              <c:strCache>
                <c:ptCount val="1"/>
                <c:pt idx="0">
                  <c:v>منها الصناعة</c:v>
                </c:pt>
              </c:strCache>
            </c:strRef>
          </c:tx>
          <c:spPr>
            <a:pattFill prst="narHorz">
              <a:fgClr>
                <a:schemeClr val="accent3">
                  <a:shade val="76000"/>
                </a:schemeClr>
              </a:fgClr>
              <a:bgClr>
                <a:schemeClr val="accent3">
                  <a:shade val="76000"/>
                  <a:lumMod val="20000"/>
                  <a:lumOff val="80000"/>
                </a:schemeClr>
              </a:bgClr>
            </a:pattFill>
            <a:ln>
              <a:noFill/>
            </a:ln>
            <a:effectLst>
              <a:innerShdw blurRad="114300">
                <a:schemeClr val="accent3">
                  <a:shade val="76000"/>
                </a:schemeClr>
              </a:innerShdw>
            </a:effectLst>
          </c:spPr>
          <c:dLbls>
            <c:dLbl>
              <c:idx val="0"/>
              <c:layout>
                <c:manualLayout>
                  <c:x val="1.5909755701833875E-16"/>
                  <c:y val="8.1307209047239232E-2"/>
                </c:manualLayout>
              </c:layout>
              <c:dLblPos val="outEnd"/>
              <c:showVal val="1"/>
              <c:extLst>
                <c:ext xmlns:c15="http://schemas.microsoft.com/office/drawing/2012/chart" uri="{CE6537A1-D6FC-4f65-9D91-7224C49458BB}">
                  <c15:layout/>
                </c:ext>
              </c:extLst>
            </c:dLbl>
            <c:dLbl>
              <c:idx val="1"/>
              <c:layout>
                <c:manualLayout>
                  <c:x val="0"/>
                  <c:y val="0.13041326103566941"/>
                </c:manualLayout>
              </c:layout>
              <c:dLblPos val="outEnd"/>
              <c:showVal val="1"/>
              <c:extLst>
                <c:ext xmlns:c15="http://schemas.microsoft.com/office/drawing/2012/chart" uri="{CE6537A1-D6FC-4f65-9D91-7224C49458BB}">
                  <c15:layout/>
                </c:ext>
              </c:extLst>
            </c:dLbl>
            <c:dLbl>
              <c:idx val="2"/>
              <c:layout>
                <c:manualLayout>
                  <c:x val="1.7082970106681465E-7"/>
                  <c:y val="0.25816502694816179"/>
                </c:manualLayout>
              </c:layout>
              <c:dLblPos val="outEnd"/>
              <c:showVal val="1"/>
              <c:extLst>
                <c:ext xmlns:c15="http://schemas.microsoft.com/office/drawing/2012/chart" uri="{CE6537A1-D6FC-4f65-9D91-7224C49458BB}">
                  <c15:layout/>
                </c:ext>
              </c:extLst>
            </c:dLbl>
            <c:dLbl>
              <c:idx val="3"/>
              <c:layout>
                <c:manualLayout>
                  <c:x val="7.9548778509169311E-17"/>
                  <c:y val="0.18896615374556214"/>
                </c:manualLayout>
              </c:layout>
              <c:dLblPos val="outEnd"/>
              <c:showVal val="1"/>
              <c:extLst>
                <c:ext xmlns:c15="http://schemas.microsoft.com/office/drawing/2012/chart" uri="{CE6537A1-D6FC-4f65-9D91-7224C49458BB}">
                  <c15:layout/>
                </c:ext>
              </c:extLst>
            </c:dLbl>
            <c:dLbl>
              <c:idx val="4"/>
              <c:layout>
                <c:manualLayout>
                  <c:x val="2.1697080332496082E-3"/>
                  <c:y val="0.11331514575143653"/>
                </c:manualLayout>
              </c:layout>
              <c:dLblPos val="outEnd"/>
              <c:showVal val="1"/>
              <c:extLst>
                <c:ext xmlns:c15="http://schemas.microsoft.com/office/drawing/2012/chart" uri="{CE6537A1-D6FC-4f65-9D91-7224C49458BB}">
                  <c15:layout/>
                </c:ext>
              </c:extLst>
            </c:dLbl>
            <c:dLbl>
              <c:idx val="5"/>
              <c:layout>
                <c:manualLayout>
                  <c:x val="2.1697080332496893E-3"/>
                  <c:y val="0.13041326103566958"/>
                </c:manualLayout>
              </c:layout>
              <c:dLblPos val="outEnd"/>
              <c:showVal val="1"/>
              <c:extLst>
                <c:ext xmlns:c15="http://schemas.microsoft.com/office/drawing/2012/chart" uri="{CE6537A1-D6FC-4f65-9D91-7224C49458BB}">
                  <c15:layout/>
                </c:ext>
              </c:extLst>
            </c:dLbl>
            <c:dLbl>
              <c:idx val="6"/>
              <c:layout>
                <c:manualLayout>
                  <c:x val="0"/>
                  <c:y val="0.27945698793357787"/>
                </c:manualLayout>
              </c:layout>
              <c:dLblPos val="outEnd"/>
              <c:showVal val="1"/>
              <c:extLst>
                <c:ext xmlns:c15="http://schemas.microsoft.com/office/drawing/2012/chart" uri="{CE6537A1-D6FC-4f65-9D91-7224C49458BB}">
                  <c15:layout/>
                </c:ext>
              </c:extLst>
            </c:dLbl>
            <c:dLbl>
              <c:idx val="7"/>
              <c:layout>
                <c:manualLayout>
                  <c:x val="0"/>
                  <c:y val="0.23687306596274663"/>
                </c:manualLayout>
              </c:layout>
              <c:dLblPos val="outEnd"/>
              <c:showVal val="1"/>
              <c:extLst>
                <c:ext xmlns:c15="http://schemas.microsoft.com/office/drawing/2012/chart" uri="{CE6537A1-D6FC-4f65-9D91-7224C49458BB}">
                  <c15:layout/>
                </c:ext>
              </c:extLst>
            </c:dLbl>
            <c:dLbl>
              <c:idx val="8"/>
              <c:layout>
                <c:manualLayout>
                  <c:x val="0"/>
                  <c:y val="0.16235120251379254"/>
                </c:manualLayout>
              </c:layout>
              <c:dLblPos val="outEnd"/>
              <c:showVal val="1"/>
              <c:extLst>
                <c:ext xmlns:c15="http://schemas.microsoft.com/office/drawing/2012/chart" uri="{CE6537A1-D6FC-4f65-9D91-7224C49458BB}">
                  <c15:layout/>
                </c:ext>
              </c:extLst>
            </c:dLbl>
            <c:dLbl>
              <c:idx val="9"/>
              <c:layout>
                <c:manualLayout>
                  <c:x val="2.1695372035485465E-3"/>
                  <c:y val="0.22090409522368487"/>
                </c:manualLayout>
              </c:layout>
              <c:dLblPos val="outEnd"/>
              <c:showVal val="1"/>
              <c:extLst>
                <c:ext xmlns:c15="http://schemas.microsoft.com/office/drawing/2012/chart" uri="{CE6537A1-D6FC-4f65-9D91-7224C49458BB}">
                  <c15:layout/>
                </c:ext>
              </c:extLst>
            </c:dLbl>
            <c:dLbl>
              <c:idx val="10"/>
              <c:layout>
                <c:manualLayout>
                  <c:x val="9.9435973136461809E-18"/>
                  <c:y val="0.1783201732528541"/>
                </c:manualLayout>
              </c:layout>
              <c:dLblPos val="outEnd"/>
              <c:showVal val="1"/>
              <c:extLst>
                <c:ext xmlns:c15="http://schemas.microsoft.com/office/drawing/2012/chart" uri="{CE6537A1-D6FC-4f65-9D91-7224C49458BB}">
                  <c15:layout/>
                </c:ext>
              </c:extLst>
            </c:dLbl>
            <c:numFmt formatCode="#,##0" sourceLinked="0"/>
            <c:spPr>
              <a:solidFill>
                <a:prstClr val="white"/>
              </a:solidFill>
              <a:ln>
                <a:solidFill>
                  <a:prstClr val="black"/>
                </a:solidFill>
              </a:ln>
              <a:effectLst/>
            </c:spPr>
            <c:txPr>
              <a:bodyPr rot="0" spcFirstLastPara="1" vertOverflow="ellipsis" vert="horz" wrap="square" anchor="ctr" anchorCtr="1"/>
              <a:lstStyle/>
              <a:p>
                <a:pPr>
                  <a:defRPr sz="10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dLblPos val="inEnd"/>
            <c:showVal val="1"/>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F$91:$P$91</c:f>
              <c:strCache>
                <c:ptCount val="11"/>
                <c:pt idx="0">
                  <c:v>ث1-2017</c:v>
                </c:pt>
                <c:pt idx="1">
                  <c:v>ث2-2017</c:v>
                </c:pt>
                <c:pt idx="2">
                  <c:v>ث3-2017</c:v>
                </c:pt>
                <c:pt idx="3">
                  <c:v>ث4-2017</c:v>
                </c:pt>
                <c:pt idx="4">
                  <c:v>ث1-2018</c:v>
                </c:pt>
                <c:pt idx="5">
                  <c:v>ث2-2018</c:v>
                </c:pt>
                <c:pt idx="6">
                  <c:v>ث3-2018</c:v>
                </c:pt>
                <c:pt idx="7">
                  <c:v>ث4-2018</c:v>
                </c:pt>
                <c:pt idx="8">
                  <c:v>ث1-2019</c:v>
                </c:pt>
                <c:pt idx="9">
                  <c:v>ث2-2019</c:v>
                </c:pt>
                <c:pt idx="10">
                  <c:v>ث3-2019</c:v>
                </c:pt>
              </c:strCache>
            </c:strRef>
          </c:cat>
          <c:val>
            <c:numRef>
              <c:f>Feuil1!$F$93:$P$93</c:f>
              <c:numCache>
                <c:formatCode>General</c:formatCode>
                <c:ptCount val="11"/>
                <c:pt idx="0">
                  <c:v>127.6</c:v>
                </c:pt>
                <c:pt idx="1">
                  <c:v>203.8</c:v>
                </c:pt>
                <c:pt idx="2">
                  <c:v>441.49999999999966</c:v>
                </c:pt>
                <c:pt idx="3">
                  <c:v>329.3</c:v>
                </c:pt>
                <c:pt idx="4">
                  <c:v>185.4</c:v>
                </c:pt>
                <c:pt idx="5">
                  <c:v>217.6</c:v>
                </c:pt>
                <c:pt idx="6">
                  <c:v>493.29999999999967</c:v>
                </c:pt>
                <c:pt idx="7">
                  <c:v>418.5</c:v>
                </c:pt>
                <c:pt idx="8">
                  <c:v>270.5</c:v>
                </c:pt>
                <c:pt idx="9">
                  <c:v>394.2</c:v>
                </c:pt>
                <c:pt idx="10">
                  <c:v>308.39999999999975</c:v>
                </c:pt>
              </c:numCache>
            </c:numRef>
          </c:val>
          <c:extLst xmlns:c16r2="http://schemas.microsoft.com/office/drawing/2015/06/chart">
            <c:ext xmlns:c16="http://schemas.microsoft.com/office/drawing/2014/chart" uri="{C3380CC4-5D6E-409C-BE32-E72D297353CC}">
              <c16:uniqueId val="{00000001-5040-4A62-96AA-585AA09E2F89}"/>
            </c:ext>
          </c:extLst>
        </c:ser>
        <c:gapWidth val="75"/>
        <c:overlap val="100"/>
        <c:axId val="182824320"/>
        <c:axId val="183452800"/>
      </c:barChart>
      <c:catAx>
        <c:axId val="182824320"/>
        <c:scaling>
          <c:orientation val="maxMin"/>
        </c:scaling>
        <c:axPos val="b"/>
        <c:numFmt formatCode="General" sourceLinked="1"/>
        <c:maj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rtl="0">
              <a:defRPr sz="900" b="1" i="0" u="none" strike="noStrike" kern="1200" baseline="0">
                <a:solidFill>
                  <a:schemeClr val="tx1"/>
                </a:solidFill>
                <a:latin typeface="Simplified Arabic" panose="02020603050405020304" pitchFamily="18" charset="-78"/>
                <a:ea typeface="+mn-ea"/>
                <a:cs typeface="Simplified Arabic" panose="02020603050405020304" pitchFamily="18" charset="-78"/>
              </a:defRPr>
            </a:pPr>
            <a:endParaRPr lang="fr-FR"/>
          </a:p>
        </c:txPr>
        <c:crossAx val="183452800"/>
        <c:crosses val="autoZero"/>
        <c:auto val="1"/>
        <c:lblAlgn val="ctr"/>
        <c:lblOffset val="100"/>
      </c:catAx>
      <c:valAx>
        <c:axId val="183452800"/>
        <c:scaling>
          <c:orientation val="minMax"/>
        </c:scaling>
        <c:delete val="1"/>
        <c:axPos val="r"/>
        <c:numFmt formatCode="#,##0" sourceLinked="0"/>
        <c:majorTickMark val="none"/>
        <c:tickLblPos val="none"/>
        <c:crossAx val="182824320"/>
        <c:crosses val="autoZero"/>
        <c:crossBetween val="between"/>
      </c:valAx>
      <c:spPr>
        <a:noFill/>
        <a:ln>
          <a:noFill/>
        </a:ln>
        <a:effectLst/>
      </c:spPr>
    </c:plotArea>
    <c:legend>
      <c:legendPos val="r"/>
      <c:layout>
        <c:manualLayout>
          <c:xMode val="edge"/>
          <c:yMode val="edge"/>
          <c:x val="0.7957320932463674"/>
          <c:y val="6.3375030020800902E-2"/>
          <c:w val="0.19376393009443652"/>
          <c:h val="0.32162596814504729"/>
        </c:manualLayout>
      </c:layout>
      <c:spPr>
        <a:noFill/>
        <a:ln>
          <a:noFill/>
        </a:ln>
        <a:effectLst/>
      </c:spPr>
      <c:txPr>
        <a:bodyPr rot="0" spcFirstLastPara="1" vertOverflow="ellipsis" vert="horz" wrap="square" anchor="ctr" anchorCtr="1"/>
        <a:lstStyle/>
        <a:p>
          <a:pPr rtl="1">
            <a:defRPr sz="900" b="1" i="0" u="none" strike="noStrike" kern="1200" baseline="0">
              <a:solidFill>
                <a:schemeClr val="tx1">
                  <a:lumMod val="65000"/>
                  <a:lumOff val="35000"/>
                </a:schemeClr>
              </a:solidFill>
              <a:latin typeface="Simplified Arabic" panose="02020603050405020304" pitchFamily="18" charset="-78"/>
              <a:ea typeface="+mn-ea"/>
              <a:cs typeface="Simplified Arabic" panose="02020603050405020304" pitchFamily="18" charset="-78"/>
            </a:defRPr>
          </a:pPr>
          <a:endParaRPr lang="fr-FR"/>
        </a:p>
      </c:txPr>
    </c:legend>
    <c:plotVisOnly val="1"/>
    <c:dispBlanksAs val="gap"/>
  </c:chart>
  <c:spPr>
    <a:noFill/>
    <a:ln>
      <a:solidFill>
        <a:srgbClr val="C00000"/>
      </a:solidFill>
    </a:ln>
    <a:effectLst/>
  </c:spPr>
  <c:txPr>
    <a:bodyPr/>
    <a:lstStyle/>
    <a:p>
      <a:pPr>
        <a:defRPr sz="1000"/>
      </a:pPr>
      <a:endParaRPr lang="fr-FR"/>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date1904 val="1"/>
  <c:lang val="fr-FR"/>
  <c:chart>
    <c:autoTitleDeleted val="1"/>
    <c:plotArea>
      <c:layout>
        <c:manualLayout>
          <c:layoutTarget val="inner"/>
          <c:xMode val="edge"/>
          <c:yMode val="edge"/>
          <c:x val="0"/>
          <c:y val="0"/>
          <c:w val="0.99264738717556134"/>
          <c:h val="0.76295837634823138"/>
        </c:manualLayout>
      </c:layout>
      <c:barChart>
        <c:barDir val="col"/>
        <c:grouping val="stacked"/>
        <c:ser>
          <c:idx val="1"/>
          <c:order val="1"/>
          <c:tx>
            <c:strRef>
              <c:f>Feuil1!$A$98</c:f>
              <c:strCache>
                <c:ptCount val="1"/>
                <c:pt idx="0">
                  <c:v>منها الصناعات الغذائية </c:v>
                </c:pt>
              </c:strCache>
            </c:strRef>
          </c:tx>
          <c:spPr>
            <a:pattFill prst="pct75">
              <a:fgClr>
                <a:srgbClr val="00B0F0"/>
              </a:fgClr>
              <a:bgClr>
                <a:schemeClr val="bg1"/>
              </a:bgClr>
            </a:pattFill>
            <a:ln>
              <a:solidFill>
                <a:prstClr val="black"/>
              </a:solidFill>
            </a:ln>
            <a:effectLst>
              <a:innerShdw blurRad="114300">
                <a:schemeClr val="accent2"/>
              </a:innerShdw>
            </a:effectLst>
          </c:spPr>
          <c:dLbls>
            <c:dLbl>
              <c:idx val="1"/>
              <c:layout>
                <c:manualLayout>
                  <c:x val="0"/>
                  <c:y val="1.8756710693245086E-2"/>
                </c:manualLayout>
              </c:layout>
              <c:numFmt formatCode="#,##0" sourceLinked="0"/>
              <c:spPr>
                <a:solidFill>
                  <a:srgbClr val="00B0F0"/>
                </a:solidFill>
                <a:ln>
                  <a:solidFill>
                    <a:prstClr val="black"/>
                  </a:solid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showVal val="1"/>
              <c:extLst xmlns:c16r2="http://schemas.microsoft.com/office/drawing/2015/06/chart">
                <c:ext xmlns:c16="http://schemas.microsoft.com/office/drawing/2014/chart" uri="{C3380CC4-5D6E-409C-BE32-E72D297353CC}">
                  <c16:uniqueId val="{00000007-190D-443D-B59B-2AC91665AC54}"/>
                </c:ext>
                <c:ext xmlns:c15="http://schemas.microsoft.com/office/drawing/2012/chart" uri="{CE6537A1-D6FC-4f65-9D91-7224C49458BB}">
                  <c15:layout>
                    <c:manualLayout>
                      <c:w val="4.7697368421052634E-2"/>
                      <c:h val="7.5355085210112083E-2"/>
                    </c:manualLayout>
                  </c15:layout>
                </c:ext>
              </c:extLst>
            </c:dLbl>
            <c:numFmt formatCode="#,##0" sourceLinked="0"/>
            <c:spPr>
              <a:solidFill>
                <a:srgbClr val="00B0F0"/>
              </a:solidFill>
              <a:ln>
                <a:solidFill>
                  <a:prstClr val="black"/>
                </a:solid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showVal val="1"/>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Feuil1!$F$96:$P$96</c:f>
              <c:strCache>
                <c:ptCount val="11"/>
                <c:pt idx="0">
                  <c:v>ث1-2017</c:v>
                </c:pt>
                <c:pt idx="1">
                  <c:v>ث2-2017</c:v>
                </c:pt>
                <c:pt idx="2">
                  <c:v>ث3-2017</c:v>
                </c:pt>
                <c:pt idx="3">
                  <c:v>ث4-2017</c:v>
                </c:pt>
                <c:pt idx="4">
                  <c:v>ث1-2018</c:v>
                </c:pt>
                <c:pt idx="5">
                  <c:v>ث2-2018</c:v>
                </c:pt>
                <c:pt idx="6">
                  <c:v>ث3-2018</c:v>
                </c:pt>
                <c:pt idx="7">
                  <c:v>ث4-2018</c:v>
                </c:pt>
                <c:pt idx="8">
                  <c:v>ث1-2019</c:v>
                </c:pt>
                <c:pt idx="9">
                  <c:v>ث2-2019</c:v>
                </c:pt>
                <c:pt idx="10">
                  <c:v>ث3-2019</c:v>
                </c:pt>
              </c:strCache>
            </c:strRef>
          </c:cat>
          <c:val>
            <c:numRef>
              <c:f>Feuil1!$F$98:$P$98</c:f>
              <c:numCache>
                <c:formatCode>General</c:formatCode>
                <c:ptCount val="11"/>
                <c:pt idx="0">
                  <c:v>419.6</c:v>
                </c:pt>
                <c:pt idx="1">
                  <c:v>283.89999999999975</c:v>
                </c:pt>
                <c:pt idx="2">
                  <c:v>252.3</c:v>
                </c:pt>
                <c:pt idx="3">
                  <c:v>232.5</c:v>
                </c:pt>
                <c:pt idx="4">
                  <c:v>296.3</c:v>
                </c:pt>
                <c:pt idx="5">
                  <c:v>238</c:v>
                </c:pt>
                <c:pt idx="6">
                  <c:v>219.6</c:v>
                </c:pt>
                <c:pt idx="7">
                  <c:v>280.2</c:v>
                </c:pt>
                <c:pt idx="8">
                  <c:v>213.7</c:v>
                </c:pt>
                <c:pt idx="9">
                  <c:v>201.10000000000002</c:v>
                </c:pt>
                <c:pt idx="10">
                  <c:v>102.4</c:v>
                </c:pt>
              </c:numCache>
            </c:numRef>
          </c:val>
          <c:extLst xmlns:c16r2="http://schemas.microsoft.com/office/drawing/2015/06/chart">
            <c:ext xmlns:c16="http://schemas.microsoft.com/office/drawing/2014/chart" uri="{C3380CC4-5D6E-409C-BE32-E72D297353CC}">
              <c16:uniqueId val="{00000002-190D-443D-B59B-2AC91665AC54}"/>
            </c:ext>
          </c:extLst>
        </c:ser>
        <c:ser>
          <c:idx val="2"/>
          <c:order val="2"/>
          <c:tx>
            <c:strRef>
              <c:f>Feuil1!$A$99</c:f>
              <c:strCache>
                <c:ptCount val="1"/>
                <c:pt idx="0">
                  <c:v>منها صناعة مواد البناء والخزف والبلور</c:v>
                </c:pt>
              </c:strCache>
            </c:strRef>
          </c:tx>
          <c:spPr>
            <a:pattFill prst="pct90">
              <a:fgClr>
                <a:srgbClr val="00B050"/>
              </a:fgClr>
              <a:bgClr>
                <a:schemeClr val="bg1"/>
              </a:bgClr>
            </a:pattFill>
            <a:ln>
              <a:solidFill>
                <a:prstClr val="black"/>
              </a:solidFill>
            </a:ln>
            <a:effectLst>
              <a:innerShdw blurRad="114300">
                <a:schemeClr val="accent3"/>
              </a:innerShdw>
            </a:effectLst>
          </c:spPr>
          <c:dLbls>
            <c:spPr>
              <a:solidFill>
                <a:srgbClr val="00B050"/>
              </a:solidFill>
              <a:ln>
                <a:solidFill>
                  <a:schemeClr val="bg1"/>
                </a:solid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showVal val="1"/>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Feuil1!$F$96:$P$96</c:f>
              <c:strCache>
                <c:ptCount val="11"/>
                <c:pt idx="0">
                  <c:v>ث1-2017</c:v>
                </c:pt>
                <c:pt idx="1">
                  <c:v>ث2-2017</c:v>
                </c:pt>
                <c:pt idx="2">
                  <c:v>ث3-2017</c:v>
                </c:pt>
                <c:pt idx="3">
                  <c:v>ث4-2017</c:v>
                </c:pt>
                <c:pt idx="4">
                  <c:v>ث1-2018</c:v>
                </c:pt>
                <c:pt idx="5">
                  <c:v>ث2-2018</c:v>
                </c:pt>
                <c:pt idx="6">
                  <c:v>ث3-2018</c:v>
                </c:pt>
                <c:pt idx="7">
                  <c:v>ث4-2018</c:v>
                </c:pt>
                <c:pt idx="8">
                  <c:v>ث1-2019</c:v>
                </c:pt>
                <c:pt idx="9">
                  <c:v>ث2-2019</c:v>
                </c:pt>
                <c:pt idx="10">
                  <c:v>ث3-2019</c:v>
                </c:pt>
              </c:strCache>
            </c:strRef>
          </c:cat>
          <c:val>
            <c:numRef>
              <c:f>Feuil1!$F$99:$P$99</c:f>
              <c:numCache>
                <c:formatCode>General</c:formatCode>
                <c:ptCount val="11"/>
                <c:pt idx="0">
                  <c:v>198</c:v>
                </c:pt>
                <c:pt idx="1">
                  <c:v>44.800000000000004</c:v>
                </c:pt>
                <c:pt idx="2">
                  <c:v>181.4</c:v>
                </c:pt>
                <c:pt idx="3">
                  <c:v>197.3</c:v>
                </c:pt>
                <c:pt idx="4">
                  <c:v>169.1</c:v>
                </c:pt>
                <c:pt idx="5">
                  <c:v>197</c:v>
                </c:pt>
                <c:pt idx="6">
                  <c:v>79.2</c:v>
                </c:pt>
                <c:pt idx="7">
                  <c:v>102.9</c:v>
                </c:pt>
                <c:pt idx="8">
                  <c:v>146.19999999999999</c:v>
                </c:pt>
                <c:pt idx="9">
                  <c:v>59.100000000000023</c:v>
                </c:pt>
                <c:pt idx="10">
                  <c:v>155.6</c:v>
                </c:pt>
              </c:numCache>
            </c:numRef>
          </c:val>
          <c:extLst xmlns:c16r2="http://schemas.microsoft.com/office/drawing/2015/06/chart">
            <c:ext xmlns:c16="http://schemas.microsoft.com/office/drawing/2014/chart" uri="{C3380CC4-5D6E-409C-BE32-E72D297353CC}">
              <c16:uniqueId val="{00000003-190D-443D-B59B-2AC91665AC54}"/>
            </c:ext>
          </c:extLst>
        </c:ser>
        <c:ser>
          <c:idx val="3"/>
          <c:order val="3"/>
          <c:tx>
            <c:strRef>
              <c:f>Feuil1!$A$100</c:f>
              <c:strCache>
                <c:ptCount val="1"/>
                <c:pt idx="0">
                  <c:v>منها الصناعات الميكانيكية والكهربائية</c:v>
                </c:pt>
              </c:strCache>
            </c:strRef>
          </c:tx>
          <c:spPr>
            <a:pattFill prst="pct5">
              <a:fgClr>
                <a:srgbClr val="FF8989"/>
              </a:fgClr>
              <a:bgClr>
                <a:schemeClr val="bg1"/>
              </a:bgClr>
            </a:pattFill>
            <a:ln>
              <a:solidFill>
                <a:prstClr val="black"/>
              </a:solidFill>
            </a:ln>
            <a:effectLst>
              <a:innerShdw blurRad="114300">
                <a:schemeClr val="accent4"/>
              </a:innerShdw>
            </a:effectLst>
          </c:spPr>
          <c:dLbls>
            <c:dLbl>
              <c:idx val="1"/>
              <c:layout>
                <c:manualLayout>
                  <c:x val="1.6081685568025319E-16"/>
                  <c:y val="-4.2202599059801477E-2"/>
                </c:manualLayout>
              </c:layout>
              <c:dLblPos val="ctr"/>
              <c:showVal val="1"/>
              <c:extLst xmlns:c16r2="http://schemas.microsoft.com/office/drawing/2015/06/chart">
                <c:ext xmlns:c16="http://schemas.microsoft.com/office/drawing/2014/chart" uri="{C3380CC4-5D6E-409C-BE32-E72D297353CC}">
                  <c16:uniqueId val="{00000008-190D-443D-B59B-2AC91665AC54}"/>
                </c:ext>
                <c:ext xmlns:c15="http://schemas.microsoft.com/office/drawing/2012/chart" uri="{CE6537A1-D6FC-4f65-9D91-7224C49458BB}">
                  <c15:layout/>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fr-FR"/>
              </a:p>
            </c:txPr>
            <c:dLblPos val="ctr"/>
            <c:showVal val="1"/>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Feuil1!$F$96:$P$96</c:f>
              <c:strCache>
                <c:ptCount val="11"/>
                <c:pt idx="0">
                  <c:v>ث1-2017</c:v>
                </c:pt>
                <c:pt idx="1">
                  <c:v>ث2-2017</c:v>
                </c:pt>
                <c:pt idx="2">
                  <c:v>ث3-2017</c:v>
                </c:pt>
                <c:pt idx="3">
                  <c:v>ث4-2017</c:v>
                </c:pt>
                <c:pt idx="4">
                  <c:v>ث1-2018</c:v>
                </c:pt>
                <c:pt idx="5">
                  <c:v>ث2-2018</c:v>
                </c:pt>
                <c:pt idx="6">
                  <c:v>ث3-2018</c:v>
                </c:pt>
                <c:pt idx="7">
                  <c:v>ث4-2018</c:v>
                </c:pt>
                <c:pt idx="8">
                  <c:v>ث1-2019</c:v>
                </c:pt>
                <c:pt idx="9">
                  <c:v>ث2-2019</c:v>
                </c:pt>
                <c:pt idx="10">
                  <c:v>ث3-2019</c:v>
                </c:pt>
              </c:strCache>
            </c:strRef>
          </c:cat>
          <c:val>
            <c:numRef>
              <c:f>Feuil1!$F$100:$P$100</c:f>
              <c:numCache>
                <c:formatCode>General</c:formatCode>
                <c:ptCount val="11"/>
                <c:pt idx="0">
                  <c:v>365.7</c:v>
                </c:pt>
                <c:pt idx="1">
                  <c:v>97.8</c:v>
                </c:pt>
                <c:pt idx="2">
                  <c:v>118.1</c:v>
                </c:pt>
                <c:pt idx="3">
                  <c:v>110.6</c:v>
                </c:pt>
                <c:pt idx="4">
                  <c:v>111.9</c:v>
                </c:pt>
                <c:pt idx="5">
                  <c:v>209.7</c:v>
                </c:pt>
                <c:pt idx="6">
                  <c:v>282.39999999999975</c:v>
                </c:pt>
                <c:pt idx="7">
                  <c:v>215.7</c:v>
                </c:pt>
                <c:pt idx="8">
                  <c:v>154.69999999999999</c:v>
                </c:pt>
                <c:pt idx="9">
                  <c:v>296.3</c:v>
                </c:pt>
                <c:pt idx="10">
                  <c:v>153.19999999999999</c:v>
                </c:pt>
              </c:numCache>
            </c:numRef>
          </c:val>
          <c:extLst xmlns:c16r2="http://schemas.microsoft.com/office/drawing/2015/06/chart">
            <c:ext xmlns:c16="http://schemas.microsoft.com/office/drawing/2014/chart" uri="{C3380CC4-5D6E-409C-BE32-E72D297353CC}">
              <c16:uniqueId val="{00000004-190D-443D-B59B-2AC91665AC54}"/>
            </c:ext>
          </c:extLst>
        </c:ser>
        <c:gapWidth val="75"/>
        <c:overlap val="100"/>
        <c:axId val="183631232"/>
        <c:axId val="183629696"/>
      </c:barChart>
      <c:lineChart>
        <c:grouping val="stacked"/>
        <c:ser>
          <c:idx val="0"/>
          <c:order val="0"/>
          <c:tx>
            <c:strRef>
              <c:f>Feuil1!$A$97</c:f>
              <c:strCache>
                <c:ptCount val="1"/>
                <c:pt idx="0">
                  <c:v>نوايا الاستثمار</c:v>
                </c:pt>
              </c:strCache>
            </c:strRef>
          </c:tx>
          <c:spPr>
            <a:ln w="28575" cap="rnd">
              <a:solidFill>
                <a:schemeClr val="accent1"/>
              </a:solidFill>
              <a:round/>
            </a:ln>
            <a:effectLst/>
          </c:spPr>
          <c:marker>
            <c:symbol val="circle"/>
            <c:size val="6"/>
            <c:spPr>
              <a:solidFill>
                <a:schemeClr val="accent1"/>
              </a:solidFill>
              <a:ln>
                <a:noFill/>
              </a:ln>
              <a:effectLst/>
            </c:spPr>
          </c:marker>
          <c:dLbls>
            <c:numFmt formatCode="#,##0" sourceLinked="0"/>
            <c:spPr>
              <a:noFill/>
              <a:ln>
                <a:solidFill>
                  <a:prstClr val="black"/>
                </a:solid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dLblPos val="t"/>
            <c:showVal val="1"/>
            <c:extLst xmlns:c16r2="http://schemas.microsoft.com/office/drawing/2015/06/chart">
              <c:ext xmlns:c15="http://schemas.microsoft.com/office/drawing/2012/chart" uri="{CE6537A1-D6FC-4f65-9D91-7224C49458BB}">
                <c15:layout/>
                <c15:showLeaderLines val="0"/>
              </c:ext>
            </c:extLst>
          </c:dLbls>
          <c:cat>
            <c:strRef>
              <c:f>Feuil1!$F$96:$P$96</c:f>
              <c:strCache>
                <c:ptCount val="11"/>
                <c:pt idx="0">
                  <c:v>ث1-2017</c:v>
                </c:pt>
                <c:pt idx="1">
                  <c:v>ث2-2017</c:v>
                </c:pt>
                <c:pt idx="2">
                  <c:v>ث3-2017</c:v>
                </c:pt>
                <c:pt idx="3">
                  <c:v>ث4-2017</c:v>
                </c:pt>
                <c:pt idx="4">
                  <c:v>ث1-2018</c:v>
                </c:pt>
                <c:pt idx="5">
                  <c:v>ث2-2018</c:v>
                </c:pt>
                <c:pt idx="6">
                  <c:v>ث3-2018</c:v>
                </c:pt>
                <c:pt idx="7">
                  <c:v>ث4-2018</c:v>
                </c:pt>
                <c:pt idx="8">
                  <c:v>ث1-2019</c:v>
                </c:pt>
                <c:pt idx="9">
                  <c:v>ث2-2019</c:v>
                </c:pt>
                <c:pt idx="10">
                  <c:v>ث3-2019</c:v>
                </c:pt>
              </c:strCache>
            </c:strRef>
          </c:cat>
          <c:val>
            <c:numRef>
              <c:f>Feuil1!$F$97:$P$97</c:f>
              <c:numCache>
                <c:formatCode>General</c:formatCode>
                <c:ptCount val="11"/>
                <c:pt idx="0">
                  <c:v>1428.8</c:v>
                </c:pt>
                <c:pt idx="1">
                  <c:v>567.10000000000014</c:v>
                </c:pt>
                <c:pt idx="2">
                  <c:v>666.7</c:v>
                </c:pt>
                <c:pt idx="3">
                  <c:v>864.3</c:v>
                </c:pt>
                <c:pt idx="4">
                  <c:v>926.9</c:v>
                </c:pt>
                <c:pt idx="5">
                  <c:v>1035</c:v>
                </c:pt>
                <c:pt idx="6">
                  <c:v>770.3</c:v>
                </c:pt>
                <c:pt idx="7">
                  <c:v>804.5</c:v>
                </c:pt>
                <c:pt idx="8">
                  <c:v>826.2</c:v>
                </c:pt>
                <c:pt idx="9">
                  <c:v>683.2</c:v>
                </c:pt>
                <c:pt idx="10">
                  <c:v>652</c:v>
                </c:pt>
              </c:numCache>
            </c:numRef>
          </c:val>
          <c:extLst xmlns:c16r2="http://schemas.microsoft.com/office/drawing/2015/06/chart">
            <c:ext xmlns:c16="http://schemas.microsoft.com/office/drawing/2014/chart" uri="{C3380CC4-5D6E-409C-BE32-E72D297353CC}">
              <c16:uniqueId val="{00000001-190D-443D-B59B-2AC91665AC54}"/>
            </c:ext>
          </c:extLst>
        </c:ser>
        <c:marker val="1"/>
        <c:axId val="183593600"/>
        <c:axId val="183628160"/>
      </c:lineChart>
      <c:catAx>
        <c:axId val="183593600"/>
        <c:scaling>
          <c:orientation val="maxMin"/>
        </c:scaling>
        <c:axPos val="b"/>
        <c:numFmt formatCode="General" sourceLinked="1"/>
        <c:maj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fr-FR"/>
          </a:p>
        </c:txPr>
        <c:crossAx val="183628160"/>
        <c:crosses val="autoZero"/>
        <c:auto val="1"/>
        <c:lblAlgn val="ctr"/>
        <c:lblOffset val="100"/>
      </c:catAx>
      <c:valAx>
        <c:axId val="183628160"/>
        <c:scaling>
          <c:orientation val="minMax"/>
        </c:scaling>
        <c:delete val="1"/>
        <c:axPos val="r"/>
        <c:majorGridlines>
          <c:spPr>
            <a:ln>
              <a:solidFill>
                <a:schemeClr val="tx1">
                  <a:lumMod val="15000"/>
                  <a:lumOff val="85000"/>
                </a:schemeClr>
              </a:solidFill>
            </a:ln>
            <a:effectLst/>
          </c:spPr>
        </c:majorGridlines>
        <c:numFmt formatCode="#,##0" sourceLinked="0"/>
        <c:majorTickMark val="none"/>
        <c:tickLblPos val="none"/>
        <c:crossAx val="183593600"/>
        <c:crosses val="autoZero"/>
        <c:crossBetween val="between"/>
      </c:valAx>
      <c:valAx>
        <c:axId val="183629696"/>
        <c:scaling>
          <c:orientation val="minMax"/>
          <c:max val="1600"/>
        </c:scaling>
        <c:axPos val="l"/>
        <c:numFmt formatCode="General" sourceLinked="1"/>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83631232"/>
        <c:crosses val="max"/>
        <c:crossBetween val="between"/>
      </c:valAx>
      <c:catAx>
        <c:axId val="183631232"/>
        <c:scaling>
          <c:orientation val="maxMin"/>
        </c:scaling>
        <c:delete val="1"/>
        <c:axPos val="t"/>
        <c:numFmt formatCode="General" sourceLinked="1"/>
        <c:tickLblPos val="none"/>
        <c:crossAx val="183629696"/>
        <c:crosses val="max"/>
        <c:auto val="1"/>
        <c:lblAlgn val="ctr"/>
        <c:lblOffset val="100"/>
      </c:catAx>
      <c:spPr>
        <a:noFill/>
        <a:ln>
          <a:noFill/>
        </a:ln>
        <a:effectLst/>
      </c:spPr>
    </c:plotArea>
    <c:legend>
      <c:legendPos val="b"/>
      <c:legendEntry>
        <c:idx val="3"/>
        <c:delete val="1"/>
      </c:legendEntry>
      <c:layout>
        <c:manualLayout>
          <c:xMode val="edge"/>
          <c:yMode val="edge"/>
          <c:x val="0"/>
          <c:y val="0.84828752070351654"/>
          <c:w val="0.99928753971542961"/>
          <c:h val="0.15171247929648368"/>
        </c:manualLayout>
      </c:layout>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Simplified Arabic" panose="02020603050405020304" pitchFamily="18" charset="-78"/>
              <a:ea typeface="+mn-ea"/>
              <a:cs typeface="Simplified Arabic" panose="02020603050405020304" pitchFamily="18" charset="-78"/>
            </a:defRPr>
          </a:pPr>
          <a:endParaRPr lang="fr-FR"/>
        </a:p>
      </c:txPr>
    </c:legend>
    <c:plotVisOnly val="1"/>
    <c:dispBlanksAs val="zero"/>
  </c:chart>
  <c:spPr>
    <a:noFill/>
    <a:ln>
      <a:solidFill>
        <a:schemeClr val="accent1">
          <a:shade val="50000"/>
        </a:schemeClr>
      </a:solidFill>
    </a:ln>
    <a:effectLst/>
  </c:spPr>
  <c:txPr>
    <a:bodyPr/>
    <a:lstStyle/>
    <a:p>
      <a:pPr>
        <a:defRPr/>
      </a:pPr>
      <a:endParaRPr lang="fr-FR"/>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date1904 val="1"/>
  <c:lang val="fr-FR"/>
  <c:chart>
    <c:plotArea>
      <c:layout>
        <c:manualLayout>
          <c:layoutTarget val="inner"/>
          <c:xMode val="edge"/>
          <c:yMode val="edge"/>
          <c:x val="0.10337162695768995"/>
          <c:y val="9.4584608946697526E-2"/>
          <c:w val="0.82856770331466956"/>
          <c:h val="0.67600372864167135"/>
        </c:manualLayout>
      </c:layout>
      <c:lineChart>
        <c:grouping val="standard"/>
        <c:ser>
          <c:idx val="0"/>
          <c:order val="0"/>
          <c:tx>
            <c:strRef>
              <c:f>Feuil1!$A$29</c:f>
              <c:strCache>
                <c:ptCount val="1"/>
                <c:pt idx="0">
                  <c:v>معدل البطالة</c:v>
                </c:pt>
              </c:strCache>
            </c:strRef>
          </c:tx>
          <c:spPr>
            <a:ln w="28575" cap="rnd">
              <a:solidFill>
                <a:schemeClr val="accent1"/>
              </a:solidFill>
              <a:round/>
            </a:ln>
            <a:effectLst/>
          </c:spPr>
          <c:marker>
            <c:symbol val="none"/>
          </c:marker>
          <c:dLbls>
            <c:dLbl>
              <c:idx val="0"/>
              <c:delete val="1"/>
              <c:extLst xmlns:c16r2="http://schemas.microsoft.com/office/drawing/2015/06/chart">
                <c:ext xmlns:c16="http://schemas.microsoft.com/office/drawing/2014/chart" uri="{C3380CC4-5D6E-409C-BE32-E72D297353CC}">
                  <c16:uniqueId val="{00000000-2D94-4601-A715-6A872535A133}"/>
                </c:ext>
                <c:ext xmlns:c15="http://schemas.microsoft.com/office/drawing/2012/chart" uri="{CE6537A1-D6FC-4f65-9D91-7224C49458BB}"/>
              </c:extLst>
            </c:dLbl>
            <c:dLbl>
              <c:idx val="2"/>
              <c:delete val="1"/>
              <c:extLst xmlns:c16r2="http://schemas.microsoft.com/office/drawing/2015/06/chart">
                <c:ext xmlns:c16="http://schemas.microsoft.com/office/drawing/2014/chart" uri="{C3380CC4-5D6E-409C-BE32-E72D297353CC}">
                  <c16:uniqueId val="{00000001-2D94-4601-A715-6A872535A133}"/>
                </c:ext>
                <c:ext xmlns:c15="http://schemas.microsoft.com/office/drawing/2012/chart" uri="{CE6537A1-D6FC-4f65-9D91-7224C49458BB}"/>
              </c:extLst>
            </c:dLbl>
            <c:dLbl>
              <c:idx val="3"/>
              <c:delete val="1"/>
              <c:extLst xmlns:c16r2="http://schemas.microsoft.com/office/drawing/2015/06/chart">
                <c:ext xmlns:c16="http://schemas.microsoft.com/office/drawing/2014/chart" uri="{C3380CC4-5D6E-409C-BE32-E72D297353CC}">
                  <c16:uniqueId val="{00000002-2D94-4601-A715-6A872535A133}"/>
                </c:ext>
                <c:ext xmlns:c15="http://schemas.microsoft.com/office/drawing/2012/chart" uri="{CE6537A1-D6FC-4f65-9D91-7224C49458BB}"/>
              </c:extLst>
            </c:dLbl>
            <c:dLbl>
              <c:idx val="4"/>
              <c:delete val="1"/>
              <c:extLst xmlns:c16r2="http://schemas.microsoft.com/office/drawing/2015/06/chart">
                <c:ext xmlns:c16="http://schemas.microsoft.com/office/drawing/2014/chart" uri="{C3380CC4-5D6E-409C-BE32-E72D297353CC}">
                  <c16:uniqueId val="{00000003-2D94-4601-A715-6A872535A133}"/>
                </c:ext>
                <c:ext xmlns:c15="http://schemas.microsoft.com/office/drawing/2012/chart" uri="{CE6537A1-D6FC-4f65-9D91-7224C49458BB}"/>
              </c:extLst>
            </c:dLbl>
            <c:dLbl>
              <c:idx val="6"/>
              <c:delete val="1"/>
              <c:extLst xmlns:c16r2="http://schemas.microsoft.com/office/drawing/2015/06/chart">
                <c:ext xmlns:c16="http://schemas.microsoft.com/office/drawing/2014/chart" uri="{C3380CC4-5D6E-409C-BE32-E72D297353CC}">
                  <c16:uniqueId val="{00000004-2D94-4601-A715-6A872535A133}"/>
                </c:ext>
                <c:ext xmlns:c15="http://schemas.microsoft.com/office/drawing/2012/chart" uri="{CE6537A1-D6FC-4f65-9D91-7224C49458BB}"/>
              </c:extLst>
            </c:dLbl>
            <c:dLbl>
              <c:idx val="7"/>
              <c:delete val="1"/>
              <c:extLst xmlns:c16r2="http://schemas.microsoft.com/office/drawing/2015/06/chart">
                <c:ext xmlns:c16="http://schemas.microsoft.com/office/drawing/2014/chart" uri="{C3380CC4-5D6E-409C-BE32-E72D297353CC}">
                  <c16:uniqueId val="{00000005-2D94-4601-A715-6A872535A133}"/>
                </c:ext>
                <c:ext xmlns:c15="http://schemas.microsoft.com/office/drawing/2012/chart" uri="{CE6537A1-D6FC-4f65-9D91-7224C49458BB}"/>
              </c:extLst>
            </c:dLbl>
            <c:dLbl>
              <c:idx val="8"/>
              <c:delete val="1"/>
              <c:extLst xmlns:c16r2="http://schemas.microsoft.com/office/drawing/2015/06/chart">
                <c:ext xmlns:c16="http://schemas.microsoft.com/office/drawing/2014/chart" uri="{C3380CC4-5D6E-409C-BE32-E72D297353CC}">
                  <c16:uniqueId val="{00000006-2D94-4601-A715-6A872535A133}"/>
                </c:ext>
                <c:ext xmlns:c15="http://schemas.microsoft.com/office/drawing/2012/chart" uri="{CE6537A1-D6FC-4f65-9D91-7224C49458BB}"/>
              </c:extLst>
            </c:dLbl>
            <c:dLbl>
              <c:idx val="9"/>
              <c:layout>
                <c:manualLayout>
                  <c:x val="-4.8731909799547633E-2"/>
                  <c:y val="4.6688154874101849E-2"/>
                </c:manualLayout>
              </c:layout>
              <c:dLblPos val="r"/>
              <c:showVal val="1"/>
              <c:extLst xmlns:c16r2="http://schemas.microsoft.com/office/drawing/2015/06/chart">
                <c:ext xmlns:c16="http://schemas.microsoft.com/office/drawing/2014/chart" uri="{C3380CC4-5D6E-409C-BE32-E72D297353CC}">
                  <c16:uniqueId val="{00000000-00CE-4F7C-AAFF-E6D7055F4CA8}"/>
                </c:ext>
                <c:ext xmlns:c15="http://schemas.microsoft.com/office/drawing/2012/chart" uri="{CE6537A1-D6FC-4f65-9D91-7224C49458BB}">
                  <c15:layout/>
                </c:ext>
              </c:extLst>
            </c:dLbl>
            <c:dLbl>
              <c:idx val="10"/>
              <c:delete val="1"/>
              <c:extLst xmlns:c16r2="http://schemas.microsoft.com/office/drawing/2015/06/chart">
                <c:ext xmlns:c16="http://schemas.microsoft.com/office/drawing/2014/chart" uri="{C3380CC4-5D6E-409C-BE32-E72D297353CC}">
                  <c16:uniqueId val="{00000007-2D94-4601-A715-6A872535A133}"/>
                </c:ext>
                <c:ext xmlns:c15="http://schemas.microsoft.com/office/drawing/2012/chart" uri="{CE6537A1-D6FC-4f65-9D91-7224C49458BB}"/>
              </c:extLst>
            </c:dLbl>
            <c:dLbl>
              <c:idx val="11"/>
              <c:delete val="1"/>
              <c:extLst xmlns:c16r2="http://schemas.microsoft.com/office/drawing/2015/06/chart">
                <c:ext xmlns:c16="http://schemas.microsoft.com/office/drawing/2014/chart" uri="{C3380CC4-5D6E-409C-BE32-E72D297353CC}">
                  <c16:uniqueId val="{00000008-2D94-4601-A715-6A872535A133}"/>
                </c:ext>
                <c:ext xmlns:c15="http://schemas.microsoft.com/office/drawing/2012/chart" uri="{CE6537A1-D6FC-4f65-9D91-7224C49458BB}"/>
              </c:extLst>
            </c:dLbl>
            <c:dLbl>
              <c:idx val="12"/>
              <c:layout>
                <c:manualLayout>
                  <c:x val="7.2251523258463918E-3"/>
                  <c:y val="-5.4067988447952017E-3"/>
                </c:manualLayout>
              </c:layout>
              <c:spPr>
                <a:solidFill>
                  <a:schemeClr val="bg1"/>
                </a:solidFill>
                <a:ln>
                  <a:solidFill>
                    <a:prstClr val="black"/>
                  </a:solidFill>
                </a:ln>
                <a:effectLst/>
              </c:spPr>
              <c:txPr>
                <a:bodyPr rot="0" spcFirstLastPara="1" vertOverflow="ellipsis" vert="horz" wrap="square" lIns="38100" tIns="19050" rIns="38100" bIns="19050" anchor="ctr" anchorCtr="1">
                  <a:noAutofit/>
                </a:bodyPr>
                <a:lstStyle/>
                <a:p>
                  <a:pPr>
                    <a:defRPr sz="1100" b="1" i="0" u="none" strike="noStrike" kern="1200" baseline="0">
                      <a:solidFill>
                        <a:schemeClr val="accent1"/>
                      </a:solidFill>
                      <a:latin typeface="Times New Roman" panose="02020603050405020304" pitchFamily="18" charset="0"/>
                      <a:ea typeface="+mn-ea"/>
                      <a:cs typeface="Times New Roman" panose="02020603050405020304" pitchFamily="18" charset="0"/>
                    </a:defRPr>
                  </a:pPr>
                  <a:endParaRPr lang="fr-FR"/>
                </a:p>
              </c:txPr>
              <c:dLblPos val="r"/>
              <c:showVal val="1"/>
              <c:extLst xmlns:c16r2="http://schemas.microsoft.com/office/drawing/2015/06/chart">
                <c:ext xmlns:c16="http://schemas.microsoft.com/office/drawing/2014/chart" uri="{C3380CC4-5D6E-409C-BE32-E72D297353CC}">
                  <c16:uniqueId val="{00000002-5FCC-4AFE-9DBF-75904318E9DD}"/>
                </c:ext>
                <c:ext xmlns:c15="http://schemas.microsoft.com/office/drawing/2012/chart" uri="{CE6537A1-D6FC-4f65-9D91-7224C49458BB}">
                  <c15:layout>
                    <c:manualLayout>
                      <c:w val="8.2991711619469763E-2"/>
                      <c:h val="5.9126149241253506E-2"/>
                    </c:manualLayout>
                  </c15:layout>
                </c:ext>
              </c:extLst>
            </c:dLbl>
            <c:dLbl>
              <c:idx val="13"/>
              <c:layout>
                <c:manualLayout>
                  <c:x val="-2.3180228632217997E-2"/>
                  <c:y val="7.6137820459732802E-2"/>
                </c:manualLayout>
              </c:layout>
              <c:dLblPos val="r"/>
              <c:showVal val="1"/>
              <c:extLst xmlns:c16r2="http://schemas.microsoft.com/office/drawing/2015/06/chart">
                <c:ext xmlns:c16="http://schemas.microsoft.com/office/drawing/2014/chart" uri="{C3380CC4-5D6E-409C-BE32-E72D297353CC}">
                  <c16:uniqueId val="{00000000-9B28-4C1C-931C-51536E55DCF8}"/>
                </c:ext>
                <c:ext xmlns:c15="http://schemas.microsoft.com/office/drawing/2012/chart" uri="{CE6537A1-D6FC-4f65-9D91-7224C49458BB}">
                  <c15:layout/>
                </c:ext>
              </c:extLst>
            </c:dLbl>
            <c:dLbl>
              <c:idx val="14"/>
              <c:layout>
                <c:manualLayout>
                  <c:x val="-7.210427902637033E-3"/>
                  <c:y val="2.1445584372132388E-2"/>
                </c:manualLayout>
              </c:layout>
              <c:dLblPos val="r"/>
              <c:showVal val="1"/>
              <c:extLst xmlns:c16r2="http://schemas.microsoft.com/office/drawing/2015/06/chart">
                <c:ext xmlns:c16="http://schemas.microsoft.com/office/drawing/2014/chart" uri="{C3380CC4-5D6E-409C-BE32-E72D297353CC}">
                  <c16:uniqueId val="{00000001-9B28-4C1C-931C-51536E55DCF8}"/>
                </c:ext>
                <c:ext xmlns:c15="http://schemas.microsoft.com/office/drawing/2012/chart" uri="{CE6537A1-D6FC-4f65-9D91-7224C49458BB}">
                  <c15:layout/>
                </c:ext>
              </c:extLst>
            </c:dLbl>
            <c:spPr>
              <a:solidFill>
                <a:schemeClr val="bg1"/>
              </a:solidFill>
              <a:ln>
                <a:solidFill>
                  <a:prstClr val="black"/>
                </a:solid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solidFill>
                    <a:latin typeface="Times New Roman" panose="02020603050405020304" pitchFamily="18" charset="0"/>
                    <a:ea typeface="+mn-ea"/>
                    <a:cs typeface="Times New Roman" panose="02020603050405020304" pitchFamily="18" charset="0"/>
                  </a:defRPr>
                </a:pPr>
                <a:endParaRPr lang="fr-FR"/>
              </a:p>
            </c:txPr>
            <c:dLblPos val="t"/>
            <c:showVal val="1"/>
            <c:extLst xmlns:c16r2="http://schemas.microsoft.com/office/drawing/2015/06/chart">
              <c:ext xmlns:c15="http://schemas.microsoft.com/office/drawing/2012/chart" uri="{CE6537A1-D6FC-4f65-9D91-7224C49458BB}">
                <c15:layout/>
                <c15:showLeaderLines val="0"/>
              </c:ext>
            </c:extLst>
          </c:dLbls>
          <c:cat>
            <c:strRef>
              <c:f>Feuil1!$B$28:$P$28</c:f>
              <c:strCache>
                <c:ptCount val="15"/>
                <c:pt idx="0">
                  <c:v>2016-ث1</c:v>
                </c:pt>
                <c:pt idx="1">
                  <c:v>2016-ث2</c:v>
                </c:pt>
                <c:pt idx="2">
                  <c:v>2016-ث3</c:v>
                </c:pt>
                <c:pt idx="3">
                  <c:v>2016-ث4</c:v>
                </c:pt>
                <c:pt idx="4">
                  <c:v>2017-ث1</c:v>
                </c:pt>
                <c:pt idx="5">
                  <c:v>2017-ث2</c:v>
                </c:pt>
                <c:pt idx="6">
                  <c:v>2017-ث3</c:v>
                </c:pt>
                <c:pt idx="7">
                  <c:v>2017-ث4</c:v>
                </c:pt>
                <c:pt idx="8">
                  <c:v>2018-ث1</c:v>
                </c:pt>
                <c:pt idx="9">
                  <c:v>2018-ث2</c:v>
                </c:pt>
                <c:pt idx="10">
                  <c:v>2018-ث3</c:v>
                </c:pt>
                <c:pt idx="11">
                  <c:v>2018-ث4</c:v>
                </c:pt>
                <c:pt idx="12">
                  <c:v>2019-ث1</c:v>
                </c:pt>
                <c:pt idx="13">
                  <c:v>ث2-2019</c:v>
                </c:pt>
                <c:pt idx="14">
                  <c:v>ث3-2019</c:v>
                </c:pt>
              </c:strCache>
            </c:strRef>
          </c:cat>
          <c:val>
            <c:numRef>
              <c:f>Feuil1!$B$29:$P$29</c:f>
              <c:numCache>
                <c:formatCode>0.0%</c:formatCode>
                <c:ptCount val="15"/>
                <c:pt idx="0">
                  <c:v>0.15400000000000011</c:v>
                </c:pt>
                <c:pt idx="1">
                  <c:v>0.15600000000000011</c:v>
                </c:pt>
                <c:pt idx="2">
                  <c:v>0.15500000000000011</c:v>
                </c:pt>
                <c:pt idx="3">
                  <c:v>0.15500000000000011</c:v>
                </c:pt>
                <c:pt idx="4">
                  <c:v>0.15300000000000011</c:v>
                </c:pt>
                <c:pt idx="5">
                  <c:v>0.15300000000000011</c:v>
                </c:pt>
                <c:pt idx="6">
                  <c:v>0.15300000000000011</c:v>
                </c:pt>
                <c:pt idx="7">
                  <c:v>0.15500000000000011</c:v>
                </c:pt>
                <c:pt idx="8">
                  <c:v>0.15400000000000011</c:v>
                </c:pt>
                <c:pt idx="9">
                  <c:v>0.15400000000000011</c:v>
                </c:pt>
                <c:pt idx="10">
                  <c:v>0.15500000000000011</c:v>
                </c:pt>
                <c:pt idx="11">
                  <c:v>0.15500000000000011</c:v>
                </c:pt>
                <c:pt idx="12">
                  <c:v>0.15300000000000011</c:v>
                </c:pt>
                <c:pt idx="13">
                  <c:v>0.15300000000000011</c:v>
                </c:pt>
                <c:pt idx="14">
                  <c:v>0.15100000000000011</c:v>
                </c:pt>
              </c:numCache>
            </c:numRef>
          </c:val>
          <c:smooth val="1"/>
          <c:extLst xmlns:c16r2="http://schemas.microsoft.com/office/drawing/2015/06/chart">
            <c:ext xmlns:c16="http://schemas.microsoft.com/office/drawing/2014/chart" uri="{C3380CC4-5D6E-409C-BE32-E72D297353CC}">
              <c16:uniqueId val="{00000009-2D94-4601-A715-6A872535A133}"/>
            </c:ext>
          </c:extLst>
        </c:ser>
        <c:marker val="1"/>
        <c:axId val="183847936"/>
        <c:axId val="183886592"/>
      </c:lineChart>
      <c:lineChart>
        <c:grouping val="standard"/>
        <c:ser>
          <c:idx val="1"/>
          <c:order val="1"/>
          <c:tx>
            <c:strRef>
              <c:f>Feuil1!$A$30</c:f>
              <c:strCache>
                <c:ptCount val="1"/>
                <c:pt idx="0">
                  <c:v>البطالة لدى حاملي الشهائد العليا</c:v>
                </c:pt>
              </c:strCache>
            </c:strRef>
          </c:tx>
          <c:spPr>
            <a:ln w="28575" cap="rnd">
              <a:solidFill>
                <a:srgbClr val="002060"/>
              </a:solidFill>
              <a:round/>
            </a:ln>
            <a:effectLst/>
          </c:spPr>
          <c:marker>
            <c:symbol val="none"/>
          </c:marker>
          <c:dLbls>
            <c:dLbl>
              <c:idx val="0"/>
              <c:delete val="1"/>
              <c:extLst xmlns:c16r2="http://schemas.microsoft.com/office/drawing/2015/06/chart">
                <c:ext xmlns:c16="http://schemas.microsoft.com/office/drawing/2014/chart" uri="{C3380CC4-5D6E-409C-BE32-E72D297353CC}">
                  <c16:uniqueId val="{0000000A-2D94-4601-A715-6A872535A133}"/>
                </c:ext>
                <c:ext xmlns:c15="http://schemas.microsoft.com/office/drawing/2012/chart" uri="{CE6537A1-D6FC-4f65-9D91-7224C49458BB}"/>
              </c:extLst>
            </c:dLbl>
            <c:dLbl>
              <c:idx val="1"/>
              <c:layout>
                <c:manualLayout>
                  <c:x val="-5.1925869945463762E-2"/>
                  <c:y val="6.3516535208748198E-2"/>
                </c:manualLayout>
              </c:layout>
              <c:spPr>
                <a:solidFill>
                  <a:schemeClr val="bg1"/>
                </a:solidFill>
                <a:ln>
                  <a:solidFill>
                    <a:prstClr val="black"/>
                  </a:solidFill>
                </a:ln>
                <a:effectLst/>
              </c:spPr>
              <c:txPr>
                <a:bodyPr rot="0" spcFirstLastPara="1" vertOverflow="ellipsis" vert="horz" wrap="square" lIns="38100" tIns="19050" rIns="38100" bIns="19050" anchor="ctr" anchorCtr="1">
                  <a:noAutofit/>
                </a:bodyPr>
                <a:lstStyle/>
                <a:p>
                  <a:pPr>
                    <a:defRPr sz="11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fr-FR"/>
                </a:p>
              </c:txPr>
              <c:dLblPos val="r"/>
              <c:showVal val="1"/>
              <c:extLst xmlns:c16r2="http://schemas.microsoft.com/office/drawing/2015/06/chart">
                <c:ext xmlns:c16="http://schemas.microsoft.com/office/drawing/2014/chart" uri="{C3380CC4-5D6E-409C-BE32-E72D297353CC}">
                  <c16:uniqueId val="{00000003-5FCC-4AFE-9DBF-75904318E9DD}"/>
                </c:ext>
                <c:ext xmlns:c15="http://schemas.microsoft.com/office/drawing/2012/chart" uri="{CE6537A1-D6FC-4f65-9D91-7224C49458BB}">
                  <c15:spPr xmlns:c15="http://schemas.microsoft.com/office/drawing/2012/chart">
                    <a:prstGeom prst="rect">
                      <a:avLst/>
                    </a:prstGeom>
                  </c15:spPr>
                  <c15:layout/>
                </c:ext>
              </c:extLst>
            </c:dLbl>
            <c:dLbl>
              <c:idx val="2"/>
              <c:delete val="1"/>
              <c:extLst xmlns:c16r2="http://schemas.microsoft.com/office/drawing/2015/06/chart">
                <c:ext xmlns:c16="http://schemas.microsoft.com/office/drawing/2014/chart" uri="{C3380CC4-5D6E-409C-BE32-E72D297353CC}">
                  <c16:uniqueId val="{0000000B-2D94-4601-A715-6A872535A133}"/>
                </c:ext>
                <c:ext xmlns:c15="http://schemas.microsoft.com/office/drawing/2012/chart" uri="{CE6537A1-D6FC-4f65-9D91-7224C49458BB}"/>
              </c:extLst>
            </c:dLbl>
            <c:dLbl>
              <c:idx val="3"/>
              <c:delete val="1"/>
              <c:extLst xmlns:c16r2="http://schemas.microsoft.com/office/drawing/2015/06/chart">
                <c:ext xmlns:c16="http://schemas.microsoft.com/office/drawing/2014/chart" uri="{C3380CC4-5D6E-409C-BE32-E72D297353CC}">
                  <c16:uniqueId val="{0000000C-2D94-4601-A715-6A872535A133}"/>
                </c:ext>
                <c:ext xmlns:c15="http://schemas.microsoft.com/office/drawing/2012/chart" uri="{CE6537A1-D6FC-4f65-9D91-7224C49458BB}"/>
              </c:extLst>
            </c:dLbl>
            <c:dLbl>
              <c:idx val="4"/>
              <c:delete val="1"/>
              <c:extLst xmlns:c16r2="http://schemas.microsoft.com/office/drawing/2015/06/chart">
                <c:ext xmlns:c16="http://schemas.microsoft.com/office/drawing/2014/chart" uri="{C3380CC4-5D6E-409C-BE32-E72D297353CC}">
                  <c16:uniqueId val="{0000000D-2D94-4601-A715-6A872535A133}"/>
                </c:ext>
                <c:ext xmlns:c15="http://schemas.microsoft.com/office/drawing/2012/chart" uri="{CE6537A1-D6FC-4f65-9D91-7224C49458BB}"/>
              </c:extLst>
            </c:dLbl>
            <c:dLbl>
              <c:idx val="6"/>
              <c:delete val="1"/>
              <c:extLst xmlns:c16r2="http://schemas.microsoft.com/office/drawing/2015/06/chart">
                <c:ext xmlns:c16="http://schemas.microsoft.com/office/drawing/2014/chart" uri="{C3380CC4-5D6E-409C-BE32-E72D297353CC}">
                  <c16:uniqueId val="{0000000E-2D94-4601-A715-6A872535A133}"/>
                </c:ext>
                <c:ext xmlns:c15="http://schemas.microsoft.com/office/drawing/2012/chart" uri="{CE6537A1-D6FC-4f65-9D91-7224C49458BB}"/>
              </c:extLst>
            </c:dLbl>
            <c:dLbl>
              <c:idx val="7"/>
              <c:delete val="1"/>
              <c:extLst xmlns:c16r2="http://schemas.microsoft.com/office/drawing/2015/06/chart">
                <c:ext xmlns:c16="http://schemas.microsoft.com/office/drawing/2014/chart" uri="{C3380CC4-5D6E-409C-BE32-E72D297353CC}">
                  <c16:uniqueId val="{0000000F-2D94-4601-A715-6A872535A133}"/>
                </c:ext>
                <c:ext xmlns:c15="http://schemas.microsoft.com/office/drawing/2012/chart" uri="{CE6537A1-D6FC-4f65-9D91-7224C49458BB}"/>
              </c:extLst>
            </c:dLbl>
            <c:dLbl>
              <c:idx val="8"/>
              <c:delete val="1"/>
              <c:extLst xmlns:c16r2="http://schemas.microsoft.com/office/drawing/2015/06/chart">
                <c:ext xmlns:c16="http://schemas.microsoft.com/office/drawing/2014/chart" uri="{C3380CC4-5D6E-409C-BE32-E72D297353CC}">
                  <c16:uniqueId val="{00000010-2D94-4601-A715-6A872535A133}"/>
                </c:ext>
                <c:ext xmlns:c15="http://schemas.microsoft.com/office/drawing/2012/chart" uri="{CE6537A1-D6FC-4f65-9D91-7224C49458BB}"/>
              </c:extLst>
            </c:dLbl>
            <c:dLbl>
              <c:idx val="10"/>
              <c:delete val="1"/>
              <c:extLst xmlns:c16r2="http://schemas.microsoft.com/office/drawing/2015/06/chart">
                <c:ext xmlns:c16="http://schemas.microsoft.com/office/drawing/2014/chart" uri="{C3380CC4-5D6E-409C-BE32-E72D297353CC}">
                  <c16:uniqueId val="{00000011-2D94-4601-A715-6A872535A133}"/>
                </c:ext>
                <c:ext xmlns:c15="http://schemas.microsoft.com/office/drawing/2012/chart" uri="{CE6537A1-D6FC-4f65-9D91-7224C49458BB}"/>
              </c:extLst>
            </c:dLbl>
            <c:dLbl>
              <c:idx val="11"/>
              <c:delete val="1"/>
              <c:extLst xmlns:c16r2="http://schemas.microsoft.com/office/drawing/2015/06/chart">
                <c:ext xmlns:c16="http://schemas.microsoft.com/office/drawing/2014/chart" uri="{C3380CC4-5D6E-409C-BE32-E72D297353CC}">
                  <c16:uniqueId val="{00000012-2D94-4601-A715-6A872535A133}"/>
                </c:ext>
                <c:ext xmlns:c15="http://schemas.microsoft.com/office/drawing/2012/chart" uri="{CE6537A1-D6FC-4f65-9D91-7224C49458BB}"/>
              </c:extLst>
            </c:dLbl>
            <c:dLbl>
              <c:idx val="12"/>
              <c:layout>
                <c:manualLayout>
                  <c:x val="-5.4971983536858907E-2"/>
                  <c:y val="-4.2351691207831839E-2"/>
                </c:manualLayout>
              </c:layout>
              <c:dLblPos val="r"/>
              <c:showVal val="1"/>
              <c:extLst xmlns:c16r2="http://schemas.microsoft.com/office/drawing/2015/06/chart">
                <c:ext xmlns:c16="http://schemas.microsoft.com/office/drawing/2014/chart" uri="{C3380CC4-5D6E-409C-BE32-E72D297353CC}">
                  <c16:uniqueId val="{00000000-5FCC-4AFE-9DBF-75904318E9DD}"/>
                </c:ext>
                <c:ext xmlns:c15="http://schemas.microsoft.com/office/drawing/2012/chart" uri="{CE6537A1-D6FC-4f65-9D91-7224C49458BB}">
                  <c15:layout/>
                </c:ext>
              </c:extLst>
            </c:dLbl>
            <c:dLbl>
              <c:idx val="13"/>
              <c:layout>
                <c:manualLayout>
                  <c:x val="-5.1946240872378674E-2"/>
                  <c:y val="4.5524412745841729E-2"/>
                </c:manualLayout>
              </c:layout>
              <c:dLblPos val="r"/>
              <c:showVal val="1"/>
              <c:extLst xmlns:c16r2="http://schemas.microsoft.com/office/drawing/2015/06/chart">
                <c:ext xmlns:c16="http://schemas.microsoft.com/office/drawing/2014/chart" uri="{C3380CC4-5D6E-409C-BE32-E72D297353CC}">
                  <c16:uniqueId val="{00000001-5FCC-4AFE-9DBF-75904318E9DD}"/>
                </c:ext>
                <c:ext xmlns:c15="http://schemas.microsoft.com/office/drawing/2012/chart" uri="{CE6537A1-D6FC-4f65-9D91-7224C49458BB}">
                  <c15:layout/>
                </c:ext>
              </c:extLst>
            </c:dLbl>
            <c:spPr>
              <a:solidFill>
                <a:schemeClr val="bg1"/>
              </a:solidFill>
              <a:ln>
                <a:solidFill>
                  <a:prstClr val="black"/>
                </a:solid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fr-FR"/>
              </a:p>
            </c:txPr>
            <c:dLblPos val="t"/>
            <c:showVal val="1"/>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B$28:$P$28</c:f>
              <c:strCache>
                <c:ptCount val="15"/>
                <c:pt idx="0">
                  <c:v>2016-ث1</c:v>
                </c:pt>
                <c:pt idx="1">
                  <c:v>2016-ث2</c:v>
                </c:pt>
                <c:pt idx="2">
                  <c:v>2016-ث3</c:v>
                </c:pt>
                <c:pt idx="3">
                  <c:v>2016-ث4</c:v>
                </c:pt>
                <c:pt idx="4">
                  <c:v>2017-ث1</c:v>
                </c:pt>
                <c:pt idx="5">
                  <c:v>2017-ث2</c:v>
                </c:pt>
                <c:pt idx="6">
                  <c:v>2017-ث3</c:v>
                </c:pt>
                <c:pt idx="7">
                  <c:v>2017-ث4</c:v>
                </c:pt>
                <c:pt idx="8">
                  <c:v>2018-ث1</c:v>
                </c:pt>
                <c:pt idx="9">
                  <c:v>2018-ث2</c:v>
                </c:pt>
                <c:pt idx="10">
                  <c:v>2018-ث3</c:v>
                </c:pt>
                <c:pt idx="11">
                  <c:v>2018-ث4</c:v>
                </c:pt>
                <c:pt idx="12">
                  <c:v>2019-ث1</c:v>
                </c:pt>
                <c:pt idx="13">
                  <c:v>ث2-2019</c:v>
                </c:pt>
                <c:pt idx="14">
                  <c:v>ث3-2019</c:v>
                </c:pt>
              </c:strCache>
            </c:strRef>
          </c:cat>
          <c:val>
            <c:numRef>
              <c:f>Feuil1!$B$30:$P$30</c:f>
              <c:numCache>
                <c:formatCode>0.0%</c:formatCode>
                <c:ptCount val="15"/>
                <c:pt idx="0">
                  <c:v>0.31000000000000022</c:v>
                </c:pt>
                <c:pt idx="1">
                  <c:v>0.30500000000000027</c:v>
                </c:pt>
                <c:pt idx="2">
                  <c:v>0.31900000000000023</c:v>
                </c:pt>
                <c:pt idx="3">
                  <c:v>0.31600000000000023</c:v>
                </c:pt>
                <c:pt idx="4">
                  <c:v>0.30200000000000027</c:v>
                </c:pt>
                <c:pt idx="5">
                  <c:v>0.30300000000000027</c:v>
                </c:pt>
                <c:pt idx="6">
                  <c:v>0.30600000000000027</c:v>
                </c:pt>
                <c:pt idx="7">
                  <c:v>0.29900000000000027</c:v>
                </c:pt>
                <c:pt idx="8">
                  <c:v>0.2930000000000002</c:v>
                </c:pt>
                <c:pt idx="9">
                  <c:v>0.2920000000000002</c:v>
                </c:pt>
                <c:pt idx="10">
                  <c:v>0.29700000000000026</c:v>
                </c:pt>
                <c:pt idx="11">
                  <c:v>0.28800000000000026</c:v>
                </c:pt>
                <c:pt idx="12">
                  <c:v>0.28200000000000008</c:v>
                </c:pt>
                <c:pt idx="13">
                  <c:v>0.28000000000000008</c:v>
                </c:pt>
                <c:pt idx="14">
                  <c:v>0.28600000000000025</c:v>
                </c:pt>
              </c:numCache>
            </c:numRef>
          </c:val>
          <c:smooth val="1"/>
          <c:extLst xmlns:c16r2="http://schemas.microsoft.com/office/drawing/2015/06/chart">
            <c:ext xmlns:c16="http://schemas.microsoft.com/office/drawing/2014/chart" uri="{C3380CC4-5D6E-409C-BE32-E72D297353CC}">
              <c16:uniqueId val="{00000013-2D94-4601-A715-6A872535A133}"/>
            </c:ext>
          </c:extLst>
        </c:ser>
        <c:marker val="1"/>
        <c:axId val="183762944"/>
        <c:axId val="183888128"/>
      </c:lineChart>
      <c:catAx>
        <c:axId val="183847936"/>
        <c:scaling>
          <c:orientation val="maxMin"/>
        </c:scaling>
        <c:axPos val="b"/>
        <c:numFmt formatCode="General" sourceLinked="1"/>
        <c:maj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Simplified Arabic" panose="02020603050405020304" pitchFamily="18" charset="-78"/>
                <a:ea typeface="+mn-ea"/>
                <a:cs typeface="Simplified Arabic" panose="02020603050405020304" pitchFamily="18" charset="-78"/>
              </a:defRPr>
            </a:pPr>
            <a:endParaRPr lang="fr-FR"/>
          </a:p>
        </c:txPr>
        <c:crossAx val="183886592"/>
        <c:crosses val="autoZero"/>
        <c:auto val="1"/>
        <c:lblAlgn val="ctr"/>
        <c:lblOffset val="100"/>
      </c:catAx>
      <c:valAx>
        <c:axId val="183886592"/>
        <c:scaling>
          <c:orientation val="minMax"/>
          <c:max val="0.15700000000000014"/>
          <c:min val="0.15000000000000013"/>
        </c:scaling>
        <c:axPos val="r"/>
        <c:numFmt formatCode="0.0%" sourceLinked="0"/>
        <c:majorTickMark val="none"/>
        <c:tickLblPos val="nextTo"/>
        <c:spPr>
          <a:noFill/>
          <a:ln>
            <a:solidFill>
              <a:schemeClr val="tx1"/>
            </a:solidFill>
          </a:ln>
          <a:effectLst/>
        </c:spPr>
        <c:txPr>
          <a:bodyPr rot="-60000000" spcFirstLastPara="1" vertOverflow="ellipsis" vert="horz" wrap="square" anchor="ctr" anchorCtr="1"/>
          <a:lstStyle/>
          <a:p>
            <a:pPr>
              <a:defRPr sz="10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fr-FR"/>
          </a:p>
        </c:txPr>
        <c:crossAx val="183847936"/>
        <c:crosses val="autoZero"/>
        <c:crossBetween val="between"/>
        <c:majorUnit val="1.0000000000000011E-3"/>
      </c:valAx>
      <c:valAx>
        <c:axId val="183888128"/>
        <c:scaling>
          <c:orientation val="minMax"/>
          <c:max val="0.34000000000000008"/>
          <c:min val="0.18000000000000013"/>
        </c:scaling>
        <c:axPos val="l"/>
        <c:numFmt formatCode="0%" sourceLinked="0"/>
        <c:tickLblPos val="nextTo"/>
        <c:spPr>
          <a:noFill/>
          <a:ln>
            <a:solidFill>
              <a:schemeClr val="tx1"/>
            </a:solid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fr-FR"/>
          </a:p>
        </c:txPr>
        <c:crossAx val="183762944"/>
        <c:crosses val="max"/>
        <c:crossBetween val="between"/>
        <c:majorUnit val="2.0000000000000011E-2"/>
      </c:valAx>
      <c:catAx>
        <c:axId val="183762944"/>
        <c:scaling>
          <c:orientation val="maxMin"/>
        </c:scaling>
        <c:delete val="1"/>
        <c:axPos val="t"/>
        <c:numFmt formatCode="General" sourceLinked="1"/>
        <c:tickLblPos val="none"/>
        <c:crossAx val="183888128"/>
        <c:crosses val="max"/>
        <c:auto val="1"/>
        <c:lblAlgn val="ctr"/>
        <c:lblOffset val="100"/>
      </c:catAx>
      <c:spPr>
        <a:noFill/>
        <a:ln>
          <a:noFill/>
        </a:ln>
        <a:effectLst/>
      </c:spPr>
    </c:plotArea>
    <c:legend>
      <c:legendPos val="t"/>
      <c:layout/>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Simplified Arabic" panose="02020603050405020304" pitchFamily="18" charset="-78"/>
              <a:ea typeface="+mn-ea"/>
              <a:cs typeface="Simplified Arabic" panose="02020603050405020304" pitchFamily="18" charset="-78"/>
            </a:defRPr>
          </a:pPr>
          <a:endParaRPr lang="fr-FR"/>
        </a:p>
      </c:txPr>
    </c:legend>
    <c:plotVisOnly val="1"/>
    <c:dispBlanksAs val="gap"/>
  </c:chart>
  <c:spPr>
    <a:noFill/>
    <a:ln>
      <a:solidFill>
        <a:schemeClr val="accent1"/>
      </a:solidFill>
    </a:ln>
    <a:effectLst/>
  </c:spPr>
  <c:txPr>
    <a:bodyPr/>
    <a:lstStyle/>
    <a:p>
      <a:pPr>
        <a:defRPr sz="1200"/>
      </a:pPr>
      <a:endParaRPr lang="fr-FR"/>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date1904 val="1"/>
  <c:lang val="fr-FR"/>
  <c:chart>
    <c:autoTitleDeleted val="1"/>
    <c:plotArea>
      <c:layout>
        <c:manualLayout>
          <c:layoutTarget val="inner"/>
          <c:xMode val="edge"/>
          <c:yMode val="edge"/>
          <c:x val="8.7292067581184213E-2"/>
          <c:y val="2.4743356641730972E-2"/>
          <c:w val="0.8687310829729159"/>
          <c:h val="0.63453934039626059"/>
        </c:manualLayout>
      </c:layout>
      <c:barChart>
        <c:barDir val="col"/>
        <c:grouping val="clustered"/>
        <c:ser>
          <c:idx val="0"/>
          <c:order val="0"/>
          <c:tx>
            <c:strRef>
              <c:f>Feuil1!$A$54</c:f>
              <c:strCache>
                <c:ptCount val="1"/>
                <c:pt idx="0">
                  <c:v>تحويلات التونسيين بالخارج</c:v>
                </c:pt>
              </c:strCache>
            </c:strRef>
          </c:tx>
          <c:spPr>
            <a:pattFill prst="pct75">
              <a:fgClr>
                <a:srgbClr val="0070C0"/>
              </a:fgClr>
              <a:bgClr>
                <a:schemeClr val="bg1"/>
              </a:bgClr>
            </a:pattFill>
            <a:ln>
              <a:noFill/>
            </a:ln>
            <a:effectLst/>
          </c:spPr>
          <c:dLbls>
            <c:dLbl>
              <c:idx val="1"/>
              <c:layout>
                <c:manualLayout>
                  <c:x val="-3.5182311927528291E-2"/>
                  <c:y val="5.0369052460954534E-3"/>
                </c:manualLayout>
              </c:layout>
              <c:showVal val="1"/>
              <c:extLst xmlns:c16r2="http://schemas.microsoft.com/office/drawing/2015/06/chart">
                <c:ext xmlns:c16="http://schemas.microsoft.com/office/drawing/2014/chart" uri="{C3380CC4-5D6E-409C-BE32-E72D297353CC}">
                  <c16:uniqueId val="{00000000-1125-4969-BE69-153BD6840572}"/>
                </c:ext>
                <c:ext xmlns:c15="http://schemas.microsoft.com/office/drawing/2012/chart" uri="{CE6537A1-D6FC-4f65-9D91-7224C49458BB}">
                  <c15:layout/>
                </c:ext>
              </c:extLst>
            </c:dLbl>
            <c:dLbl>
              <c:idx val="2"/>
              <c:layout>
                <c:manualLayout>
                  <c:x val="-1.8944321807130626E-2"/>
                  <c:y val="2.5184526230477267E-3"/>
                </c:manualLayout>
              </c:layout>
              <c:showVal val="1"/>
              <c:extLst xmlns:c16r2="http://schemas.microsoft.com/office/drawing/2015/06/chart">
                <c:ext xmlns:c16="http://schemas.microsoft.com/office/drawing/2014/chart" uri="{C3380CC4-5D6E-409C-BE32-E72D297353CC}">
                  <c16:uniqueId val="{00000001-1125-4969-BE69-153BD6840572}"/>
                </c:ext>
                <c:ext xmlns:c15="http://schemas.microsoft.com/office/drawing/2012/chart" uri="{CE6537A1-D6FC-4f65-9D91-7224C49458BB}">
                  <c15:layout/>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dk1">
                        <a:lumMod val="75000"/>
                        <a:lumOff val="25000"/>
                      </a:schemeClr>
                    </a:solidFill>
                    <a:latin typeface="Times New Roman" panose="02020603050405020304" pitchFamily="18" charset="0"/>
                    <a:ea typeface="+mn-ea"/>
                    <a:cs typeface="Times New Roman" panose="02020603050405020304" pitchFamily="18" charset="0"/>
                  </a:defRPr>
                </a:pPr>
                <a:endParaRPr lang="fr-FR"/>
              </a:p>
            </c:txPr>
            <c:showVal val="1"/>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Feuil1!$B$53:$D$53</c:f>
              <c:strCache>
                <c:ptCount val="3"/>
                <c:pt idx="0">
                  <c:v>أكتوبر 2017</c:v>
                </c:pt>
                <c:pt idx="1">
                  <c:v>أكتوبر 2018</c:v>
                </c:pt>
                <c:pt idx="2">
                  <c:v>أكتوبر 2019</c:v>
                </c:pt>
              </c:strCache>
            </c:strRef>
          </c:cat>
          <c:val>
            <c:numRef>
              <c:f>Feuil1!$B$54:$D$54</c:f>
              <c:numCache>
                <c:formatCode>General</c:formatCode>
                <c:ptCount val="3"/>
                <c:pt idx="0">
                  <c:v>2974.1</c:v>
                </c:pt>
                <c:pt idx="1">
                  <c:v>3490.9</c:v>
                </c:pt>
                <c:pt idx="2">
                  <c:v>4098.1000000000004</c:v>
                </c:pt>
              </c:numCache>
            </c:numRef>
          </c:val>
          <c:extLst xmlns:c16r2="http://schemas.microsoft.com/office/drawing/2015/06/chart">
            <c:ext xmlns:c16="http://schemas.microsoft.com/office/drawing/2014/chart" uri="{C3380CC4-5D6E-409C-BE32-E72D297353CC}">
              <c16:uniqueId val="{00000002-1125-4969-BE69-153BD6840572}"/>
            </c:ext>
          </c:extLst>
        </c:ser>
        <c:ser>
          <c:idx val="1"/>
          <c:order val="1"/>
          <c:tx>
            <c:strRef>
              <c:f>Feuil1!$A$55</c:f>
              <c:strCache>
                <c:ptCount val="1"/>
                <c:pt idx="0">
                  <c:v>العائدات السياحية</c:v>
                </c:pt>
              </c:strCache>
            </c:strRef>
          </c:tx>
          <c:spPr>
            <a:pattFill prst="dkDnDiag">
              <a:fgClr>
                <a:srgbClr val="00B050"/>
              </a:fgClr>
              <a:bgClr>
                <a:schemeClr val="bg1"/>
              </a:bgClr>
            </a:pattFill>
            <a:ln>
              <a:noFill/>
            </a:ln>
            <a:effectLst/>
          </c:spPr>
          <c:dLbls>
            <c:dLbl>
              <c:idx val="0"/>
              <c:layout>
                <c:manualLayout>
                  <c:x val="1.7382157186319521E-2"/>
                  <c:y val="0"/>
                </c:manualLayout>
              </c:layout>
              <c:dLblPos val="outEnd"/>
              <c:showVal val="1"/>
              <c:extLst xmlns:c16r2="http://schemas.microsoft.com/office/drawing/2015/06/chart">
                <c:ext xmlns:c16="http://schemas.microsoft.com/office/drawing/2014/chart" uri="{C3380CC4-5D6E-409C-BE32-E72D297353CC}">
                  <c16:uniqueId val="{00000003-1125-4969-BE69-153BD6840572}"/>
                </c:ext>
                <c:ext xmlns:c15="http://schemas.microsoft.com/office/drawing/2012/chart" uri="{CE6537A1-D6FC-4f65-9D91-7224C49458BB}">
                  <c15:layout/>
                </c:ext>
              </c:extLst>
            </c:dLbl>
            <c:dLbl>
              <c:idx val="1"/>
              <c:layout>
                <c:manualLayout>
                  <c:x val="1.2306919232604159E-2"/>
                  <c:y val="3.5501914751302323E-3"/>
                </c:manualLayout>
              </c:layout>
              <c:dLblPos val="outEnd"/>
              <c:showVal val="1"/>
              <c:extLst xmlns:c16r2="http://schemas.microsoft.com/office/drawing/2015/06/chart">
                <c:ext xmlns:c16="http://schemas.microsoft.com/office/drawing/2014/chart" uri="{C3380CC4-5D6E-409C-BE32-E72D297353CC}">
                  <c16:uniqueId val="{00000004-1125-4969-BE69-153BD6840572}"/>
                </c:ext>
                <c:ext xmlns:c15="http://schemas.microsoft.com/office/drawing/2012/chart" uri="{CE6537A1-D6FC-4f65-9D91-7224C49458BB}">
                  <c15:layout/>
                </c:ext>
              </c:extLst>
            </c:dLbl>
            <c:dLbl>
              <c:idx val="2"/>
              <c:layout>
                <c:manualLayout>
                  <c:x val="4.1528543624456855E-3"/>
                  <c:y val="-2.3304398567605241E-2"/>
                </c:manualLayout>
              </c:layout>
              <c:dLblPos val="outEnd"/>
              <c:showVal val="1"/>
              <c:extLst xmlns:c16r2="http://schemas.microsoft.com/office/drawing/2015/06/chart">
                <c:ext xmlns:c16="http://schemas.microsoft.com/office/drawing/2014/chart" uri="{C3380CC4-5D6E-409C-BE32-E72D297353CC}">
                  <c16:uniqueId val="{00000005-1125-4969-BE69-153BD6840572}"/>
                </c:ext>
                <c:ext xmlns:c15="http://schemas.microsoft.com/office/drawing/2012/chart" uri="{CE6537A1-D6FC-4f65-9D91-7224C49458BB}">
                  <c15:layout/>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dk1">
                        <a:lumMod val="75000"/>
                        <a:lumOff val="25000"/>
                      </a:schemeClr>
                    </a:solidFill>
                    <a:latin typeface="Times New Roman" panose="02020603050405020304" pitchFamily="18" charset="0"/>
                    <a:ea typeface="+mn-ea"/>
                    <a:cs typeface="Times New Roman" panose="02020603050405020304" pitchFamily="18" charset="0"/>
                  </a:defRPr>
                </a:pPr>
                <a:endParaRPr lang="fr-FR"/>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Feuil1!$B$53:$D$53</c:f>
              <c:strCache>
                <c:ptCount val="3"/>
                <c:pt idx="0">
                  <c:v>أكتوبر 2017</c:v>
                </c:pt>
                <c:pt idx="1">
                  <c:v>أكتوبر 2018</c:v>
                </c:pt>
                <c:pt idx="2">
                  <c:v>أكتوبر 2019</c:v>
                </c:pt>
              </c:strCache>
            </c:strRef>
          </c:cat>
          <c:val>
            <c:numRef>
              <c:f>Feuil1!$B$55:$D$55</c:f>
              <c:numCache>
                <c:formatCode>General</c:formatCode>
                <c:ptCount val="3"/>
                <c:pt idx="0">
                  <c:v>2419</c:v>
                </c:pt>
                <c:pt idx="1">
                  <c:v>3519.2</c:v>
                </c:pt>
                <c:pt idx="2">
                  <c:v>4902.7</c:v>
                </c:pt>
              </c:numCache>
            </c:numRef>
          </c:val>
          <c:extLst xmlns:c16r2="http://schemas.microsoft.com/office/drawing/2015/06/chart">
            <c:ext xmlns:c16="http://schemas.microsoft.com/office/drawing/2014/chart" uri="{C3380CC4-5D6E-409C-BE32-E72D297353CC}">
              <c16:uniqueId val="{00000006-1125-4969-BE69-153BD6840572}"/>
            </c:ext>
          </c:extLst>
        </c:ser>
        <c:ser>
          <c:idx val="3"/>
          <c:order val="3"/>
          <c:tx>
            <c:strRef>
              <c:f>Feuil1!$A$57</c:f>
              <c:strCache>
                <c:ptCount val="1"/>
                <c:pt idx="0">
                  <c:v>العجز التجاري </c:v>
                </c:pt>
              </c:strCache>
            </c:strRef>
          </c:tx>
          <c:spPr>
            <a:pattFill prst="pct70">
              <a:fgClr>
                <a:srgbClr val="C00000"/>
              </a:fgClr>
              <a:bgClr>
                <a:schemeClr val="bg1"/>
              </a:bgClr>
            </a:pattFill>
            <a:ln>
              <a:noFill/>
            </a:ln>
            <a:effectLst/>
          </c:spPr>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dk1">
                        <a:lumMod val="75000"/>
                        <a:lumOff val="25000"/>
                      </a:schemeClr>
                    </a:solidFill>
                    <a:latin typeface="Times New Roman" panose="02020603050405020304" pitchFamily="18" charset="0"/>
                    <a:ea typeface="+mn-ea"/>
                    <a:cs typeface="Times New Roman" panose="02020603050405020304" pitchFamily="18" charset="0"/>
                  </a:defRPr>
                </a:pPr>
                <a:endParaRPr lang="fr-FR"/>
              </a:p>
            </c:txPr>
            <c:showVal val="1"/>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Feuil1!$B$53:$D$53</c:f>
              <c:strCache>
                <c:ptCount val="3"/>
                <c:pt idx="0">
                  <c:v>أكتوبر 2017</c:v>
                </c:pt>
                <c:pt idx="1">
                  <c:v>أكتوبر 2018</c:v>
                </c:pt>
                <c:pt idx="2">
                  <c:v>أكتوبر 2019</c:v>
                </c:pt>
              </c:strCache>
            </c:strRef>
          </c:cat>
          <c:val>
            <c:numRef>
              <c:f>Feuil1!$B$57:$D$57</c:f>
              <c:numCache>
                <c:formatCode>#,##0</c:formatCode>
                <c:ptCount val="3"/>
                <c:pt idx="0">
                  <c:v>-13221.246999999992</c:v>
                </c:pt>
                <c:pt idx="1">
                  <c:v>-15985.456999999991</c:v>
                </c:pt>
                <c:pt idx="2">
                  <c:v>-16506.469000000005</c:v>
                </c:pt>
              </c:numCache>
            </c:numRef>
          </c:val>
          <c:extLst xmlns:c16r2="http://schemas.microsoft.com/office/drawing/2015/06/chart">
            <c:ext xmlns:c16="http://schemas.microsoft.com/office/drawing/2014/chart" uri="{C3380CC4-5D6E-409C-BE32-E72D297353CC}">
              <c16:uniqueId val="{00000007-1125-4969-BE69-153BD6840572}"/>
            </c:ext>
          </c:extLst>
        </c:ser>
        <c:gapWidth val="247"/>
        <c:axId val="184107008"/>
        <c:axId val="184108544"/>
      </c:barChart>
      <c:lineChart>
        <c:grouping val="standard"/>
        <c:ser>
          <c:idx val="2"/>
          <c:order val="2"/>
          <c:tx>
            <c:strRef>
              <c:f>Feuil1!$A$56</c:f>
              <c:strCache>
                <c:ptCount val="1"/>
                <c:pt idx="0">
                  <c:v>نسبة تغطية العائدات السياحية و مداخيل الشغل للعجز التجاري</c:v>
                </c:pt>
              </c:strCache>
            </c:strRef>
          </c:tx>
          <c:spPr>
            <a:ln w="31750" cap="rnd">
              <a:solidFill>
                <a:srgbClr val="7030A0"/>
              </a:solidFill>
              <a:prstDash val="dash"/>
              <a:round/>
            </a:ln>
            <a:effectLst/>
          </c:spPr>
          <c:marker>
            <c:symbol val="circle"/>
            <c:size val="6"/>
            <c:spPr>
              <a:solidFill>
                <a:schemeClr val="lt1"/>
              </a:solidFill>
              <a:ln w="15875">
                <a:solidFill>
                  <a:schemeClr val="accent3"/>
                </a:solidFill>
                <a:round/>
              </a:ln>
              <a:effectLst/>
            </c:spPr>
          </c:marker>
          <c:dLbls>
            <c:dLbl>
              <c:idx val="0"/>
              <c:layout>
                <c:manualLayout>
                  <c:x val="-2.0104528889270386E-2"/>
                  <c:y val="-3.4262705383803396E-2"/>
                </c:manualLayout>
              </c:layout>
              <c:dLblPos val="r"/>
              <c:showVal val="1"/>
              <c:extLst xmlns:c16r2="http://schemas.microsoft.com/office/drawing/2015/06/chart">
                <c:ext xmlns:c16="http://schemas.microsoft.com/office/drawing/2014/chart" uri="{C3380CC4-5D6E-409C-BE32-E72D297353CC}">
                  <c16:uniqueId val="{00000008-1125-4969-BE69-153BD6840572}"/>
                </c:ext>
                <c:ext xmlns:c15="http://schemas.microsoft.com/office/drawing/2012/chart" uri="{CE6537A1-D6FC-4f65-9D91-7224C49458BB}">
                  <c15:layout>
                    <c:manualLayout>
                      <c:w val="0.11484367448661528"/>
                      <c:h val="5.4787173038829351E-2"/>
                    </c:manualLayout>
                  </c15:layout>
                </c:ext>
              </c:extLst>
            </c:dLbl>
            <c:dLbl>
              <c:idx val="1"/>
              <c:layout>
                <c:manualLayout>
                  <c:x val="-3.4835075868116419E-2"/>
                  <c:y val="-3.1796392475796388E-2"/>
                </c:manualLayout>
              </c:layout>
              <c:dLblPos val="r"/>
              <c:showVal val="1"/>
              <c:extLst xmlns:c16r2="http://schemas.microsoft.com/office/drawing/2015/06/chart">
                <c:ext xmlns:c16="http://schemas.microsoft.com/office/drawing/2014/chart" uri="{C3380CC4-5D6E-409C-BE32-E72D297353CC}">
                  <c16:uniqueId val="{00000009-1125-4969-BE69-153BD6840572}"/>
                </c:ext>
                <c:ext xmlns:c15="http://schemas.microsoft.com/office/drawing/2012/chart" uri="{CE6537A1-D6FC-4f65-9D91-7224C49458BB}">
                  <c15:layout/>
                </c:ext>
              </c:extLst>
            </c:dLbl>
            <c:dLbl>
              <c:idx val="2"/>
              <c:layout>
                <c:manualLayout>
                  <c:x val="-0.14285908704632064"/>
                  <c:y val="1.9994892722906915E-2"/>
                </c:manualLayout>
              </c:layout>
              <c:dLblPos val="r"/>
              <c:showVal val="1"/>
              <c:extLst xmlns:c16r2="http://schemas.microsoft.com/office/drawing/2015/06/chart">
                <c:ext xmlns:c16="http://schemas.microsoft.com/office/drawing/2014/chart" uri="{C3380CC4-5D6E-409C-BE32-E72D297353CC}">
                  <c16:uniqueId val="{0000000A-1125-4969-BE69-153BD6840572}"/>
                </c:ext>
                <c:ext xmlns:c15="http://schemas.microsoft.com/office/drawing/2012/chart" uri="{CE6537A1-D6FC-4f65-9D91-7224C49458BB}">
                  <c15:layout/>
                </c:ext>
              </c:extLst>
            </c:dLbl>
            <c:spPr>
              <a:noFill/>
              <a:ln>
                <a:solidFill>
                  <a:schemeClr val="dk1">
                    <a:lumMod val="25000"/>
                    <a:lumOff val="75000"/>
                  </a:schemeClr>
                </a:solidFill>
              </a:ln>
              <a:effectLst/>
            </c:spPr>
            <c:txPr>
              <a:bodyPr rot="0" spcFirstLastPara="1" vertOverflow="clip" horzOverflow="clip" vert="horz" wrap="square" lIns="38100" tIns="19050" rIns="38100" bIns="19050" anchor="ctr" anchorCtr="1">
                <a:spAutoFit/>
              </a:bodyPr>
              <a:lstStyle/>
              <a:p>
                <a:pPr>
                  <a:defRPr sz="11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fr-FR"/>
              </a:p>
            </c:txPr>
            <c:dLblPos val="b"/>
            <c:showVal val="1"/>
            <c:extLst xmlns:c16r2="http://schemas.microsoft.com/office/drawing/2015/06/chart">
              <c:ext xmlns:c15="http://schemas.microsoft.com/office/drawing/2012/chart" uri="{CE6537A1-D6FC-4f65-9D91-7224C49458BB}">
                <c15:spPr xmlns:c15="http://schemas.microsoft.com/office/drawing/2012/chart">
                  <a:prstGeom prst="ellipse">
                    <a:avLst/>
                  </a:prstGeom>
                  <a:noFill/>
                  <a:ln>
                    <a:noFill/>
                  </a:ln>
                </c15:spPr>
                <c15:showLeaderLines val="1"/>
                <c15:leaderLines>
                  <c:spPr>
                    <a:ln w="9525" cap="flat" cmpd="sng" algn="ctr">
                      <a:solidFill>
                        <a:schemeClr val="dk1">
                          <a:lumMod val="35000"/>
                          <a:lumOff val="65000"/>
                        </a:schemeClr>
                      </a:solidFill>
                      <a:round/>
                    </a:ln>
                    <a:effectLst/>
                  </c:spPr>
                </c15:leaderLines>
              </c:ext>
            </c:extLst>
          </c:dLbls>
          <c:cat>
            <c:strRef>
              <c:f>Feuil1!$B$53:$D$53</c:f>
              <c:strCache>
                <c:ptCount val="3"/>
                <c:pt idx="0">
                  <c:v>أكتوبر 2017</c:v>
                </c:pt>
                <c:pt idx="1">
                  <c:v>أكتوبر 2018</c:v>
                </c:pt>
                <c:pt idx="2">
                  <c:v>أكتوبر 2019</c:v>
                </c:pt>
              </c:strCache>
            </c:strRef>
          </c:cat>
          <c:val>
            <c:numRef>
              <c:f>Feuil1!$B$56:$D$56</c:f>
              <c:numCache>
                <c:formatCode>0.0%</c:formatCode>
                <c:ptCount val="3"/>
                <c:pt idx="0">
                  <c:v>0.40791159865631427</c:v>
                </c:pt>
                <c:pt idx="1">
                  <c:v>0.43852984622210067</c:v>
                </c:pt>
                <c:pt idx="2">
                  <c:v>0.5452892438715996</c:v>
                </c:pt>
              </c:numCache>
            </c:numRef>
          </c:val>
          <c:extLst xmlns:c16r2="http://schemas.microsoft.com/office/drawing/2015/06/chart">
            <c:ext xmlns:c16="http://schemas.microsoft.com/office/drawing/2014/chart" uri="{C3380CC4-5D6E-409C-BE32-E72D297353CC}">
              <c16:uniqueId val="{0000000B-1125-4969-BE69-153BD6840572}"/>
            </c:ext>
          </c:extLst>
        </c:ser>
        <c:marker val="1"/>
        <c:axId val="184119680"/>
        <c:axId val="184109696"/>
      </c:lineChart>
      <c:catAx>
        <c:axId val="184107008"/>
        <c:scaling>
          <c:orientation val="maxMin"/>
        </c:scaling>
        <c:axPos val="b"/>
        <c:majorGridlines>
          <c:spPr>
            <a:ln w="9525" cap="flat" cmpd="sng" algn="ctr">
              <a:solidFill>
                <a:schemeClr val="dk1">
                  <a:lumMod val="15000"/>
                  <a:lumOff val="85000"/>
                </a:schemeClr>
              </a:solidFill>
              <a:round/>
            </a:ln>
            <a:effectLst/>
          </c:spPr>
        </c:majorGridlines>
        <c:numFmt formatCode="General" sourceLinked="1"/>
        <c:tickLblPos val="low"/>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050" b="1" i="0" u="none" strike="noStrike" kern="1200" cap="none" spc="0" normalizeH="0" baseline="0">
                <a:solidFill>
                  <a:schemeClr val="tx1"/>
                </a:solidFill>
                <a:latin typeface="Simplified Arabic" panose="02020603050405020304" pitchFamily="18" charset="-78"/>
                <a:ea typeface="+mn-ea"/>
                <a:cs typeface="Simplified Arabic" panose="02020603050405020304" pitchFamily="18" charset="-78"/>
              </a:defRPr>
            </a:pPr>
            <a:endParaRPr lang="fr-FR"/>
          </a:p>
        </c:txPr>
        <c:crossAx val="184108544"/>
        <c:crosses val="autoZero"/>
        <c:auto val="1"/>
        <c:lblAlgn val="ctr"/>
        <c:lblOffset val="100"/>
      </c:catAx>
      <c:valAx>
        <c:axId val="184108544"/>
        <c:scaling>
          <c:orientation val="minMax"/>
          <c:max val="6000"/>
        </c:scaling>
        <c:axPos val="r"/>
        <c:numFmt formatCode="#,##0" sourceLinked="0"/>
        <c:maj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fr-FR"/>
          </a:p>
        </c:txPr>
        <c:crossAx val="184107008"/>
        <c:crosses val="autoZero"/>
        <c:crossBetween val="between"/>
        <c:majorUnit val="2000"/>
      </c:valAx>
      <c:valAx>
        <c:axId val="184109696"/>
        <c:scaling>
          <c:orientation val="minMax"/>
          <c:min val="0.30000000000000027"/>
        </c:scaling>
        <c:axPos val="l"/>
        <c:numFmt formatCode="0%" sourceLinked="0"/>
        <c:maj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fr-FR"/>
          </a:p>
        </c:txPr>
        <c:crossAx val="184119680"/>
        <c:crosses val="max"/>
        <c:crossBetween val="between"/>
      </c:valAx>
      <c:catAx>
        <c:axId val="184119680"/>
        <c:scaling>
          <c:orientation val="maxMin"/>
        </c:scaling>
        <c:delete val="1"/>
        <c:axPos val="t"/>
        <c:numFmt formatCode="General" sourceLinked="1"/>
        <c:tickLblPos val="none"/>
        <c:crossAx val="184109696"/>
        <c:crosses val="max"/>
        <c:auto val="1"/>
        <c:lblAlgn val="ctr"/>
        <c:lblOffset val="100"/>
      </c:catAx>
      <c:spPr>
        <a:pattFill prst="ltDnDiag">
          <a:fgClr>
            <a:srgbClr val="000000">
              <a:alpha val="0"/>
            </a:srgbClr>
          </a:fgClr>
          <a:bgClr>
            <a:srgbClr val="FFFFFF"/>
          </a:bgClr>
        </a:pattFill>
        <a:ln w="25400">
          <a:noFill/>
        </a:ln>
        <a:effectLst/>
      </c:spPr>
    </c:plotArea>
    <c:legend>
      <c:legendPos val="b"/>
      <c:layout>
        <c:manualLayout>
          <c:xMode val="edge"/>
          <c:yMode val="edge"/>
          <c:x val="1.7559753441315103E-2"/>
          <c:y val="0.80761483093978148"/>
          <c:w val="0.96647840428025811"/>
          <c:h val="0.18874163364230903"/>
        </c:manualLayout>
      </c:layout>
      <c:spPr>
        <a:noFill/>
        <a:ln>
          <a:noFill/>
        </a:ln>
        <a:effectLst/>
      </c:spPr>
      <c:txPr>
        <a:bodyPr rot="0" spcFirstLastPara="1" vertOverflow="ellipsis" vert="horz" wrap="square" anchor="ctr" anchorCtr="0"/>
        <a:lstStyle/>
        <a:p>
          <a:pPr rtl="1">
            <a:defRPr sz="850" b="1" i="0" u="none" strike="noStrike" kern="1200" baseline="0">
              <a:solidFill>
                <a:schemeClr val="dk1">
                  <a:lumMod val="65000"/>
                  <a:lumOff val="35000"/>
                </a:schemeClr>
              </a:solidFill>
              <a:latin typeface="Simplified Arabic" panose="02020603050405020304" pitchFamily="18" charset="-78"/>
              <a:ea typeface="+mn-ea"/>
              <a:cs typeface="Simplified Arabic" panose="02020603050405020304" pitchFamily="18" charset="-78"/>
            </a:defRPr>
          </a:pPr>
          <a:endParaRPr lang="fr-FR"/>
        </a:p>
      </c:txPr>
    </c:legend>
    <c:plotVisOnly val="1"/>
    <c:dispBlanksAs val="gap"/>
  </c:chart>
  <c:spPr>
    <a:solidFill>
      <a:schemeClr val="lt1"/>
    </a:solidFill>
    <a:ln w="9525" cap="flat" cmpd="sng" algn="ctr">
      <a:solidFill>
        <a:schemeClr val="dk1">
          <a:lumMod val="15000"/>
          <a:lumOff val="85000"/>
        </a:schemeClr>
      </a:solidFill>
      <a:round/>
    </a:ln>
    <a:effectLst/>
  </c:spPr>
  <c:txPr>
    <a:bodyPr/>
    <a:lstStyle/>
    <a:p>
      <a:pPr>
        <a:defRPr/>
      </a:pPr>
      <a:endParaRPr lang="fr-FR"/>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date1904 val="1"/>
  <c:lang val="fr-FR"/>
  <c:chart>
    <c:title>
      <c:tx>
        <c:rich>
          <a:bodyPr rot="0" spcFirstLastPara="1" vertOverflow="ellipsis" vert="horz" wrap="square" anchor="ctr" anchorCtr="1"/>
          <a:lstStyle/>
          <a:p>
            <a:pPr>
              <a:defRPr sz="1400" b="1" i="0" u="none" strike="noStrike" kern="1200" baseline="0">
                <a:solidFill>
                  <a:schemeClr val="tx1"/>
                </a:solidFill>
                <a:latin typeface="Simplified Arabic" panose="02020603050405020304" pitchFamily="18" charset="-78"/>
                <a:ea typeface="+mn-ea"/>
                <a:cs typeface="Simplified Arabic" panose="02020603050405020304" pitchFamily="18" charset="-78"/>
              </a:defRPr>
            </a:pPr>
            <a:r>
              <a:rPr lang="ar-TN" sz="1400" dirty="0" smtClean="0">
                <a:solidFill>
                  <a:schemeClr val="tx1"/>
                </a:solidFill>
                <a:latin typeface="Simplified Arabic" panose="02020603050405020304" pitchFamily="18" charset="-78"/>
                <a:cs typeface="Simplified Arabic" panose="02020603050405020304" pitchFamily="18" charset="-78"/>
              </a:rPr>
              <a:t>مستوى المدخرات </a:t>
            </a:r>
            <a:r>
              <a:rPr lang="ar-TN" sz="1400" dirty="0">
                <a:solidFill>
                  <a:schemeClr val="tx1"/>
                </a:solidFill>
                <a:latin typeface="Simplified Arabic" panose="02020603050405020304" pitchFamily="18" charset="-78"/>
                <a:cs typeface="Simplified Arabic" panose="02020603050405020304" pitchFamily="18" charset="-78"/>
              </a:rPr>
              <a:t>من العملة </a:t>
            </a:r>
            <a:endParaRPr lang="fr-FR" sz="1400" dirty="0">
              <a:solidFill>
                <a:schemeClr val="tx1"/>
              </a:solidFill>
              <a:latin typeface="Simplified Arabic" panose="02020603050405020304" pitchFamily="18" charset="-78"/>
              <a:cs typeface="Simplified Arabic" panose="02020603050405020304" pitchFamily="18" charset="-78"/>
            </a:endParaRPr>
          </a:p>
        </c:rich>
      </c:tx>
      <c:layout/>
      <c:spPr>
        <a:noFill/>
        <a:ln>
          <a:noFill/>
        </a:ln>
        <a:effectLst/>
      </c:spPr>
    </c:title>
    <c:plotArea>
      <c:layout/>
      <c:lineChart>
        <c:grouping val="stacked"/>
        <c:ser>
          <c:idx val="0"/>
          <c:order val="0"/>
          <c:spPr>
            <a:ln w="34925" cap="rnd">
              <a:solidFill>
                <a:schemeClr val="accent1"/>
              </a:solidFill>
              <a:round/>
            </a:ln>
            <a:effectLst>
              <a:outerShdw blurRad="57150" dist="19050" dir="5400000" algn="ctr" rotWithShape="0">
                <a:srgbClr val="000000">
                  <a:alpha val="63000"/>
                </a:srgbClr>
              </a:outerShdw>
            </a:effectLst>
          </c:spPr>
          <c:marker>
            <c:symbol val="none"/>
          </c:marker>
          <c:cat>
            <c:numRef>
              <c:f>'BCT_statistque (53)'!$A$5:$A$61</c:f>
              <c:numCache>
                <c:formatCode>General</c:formatCode>
                <c:ptCount val="57"/>
                <c:pt idx="0" formatCode="dd/mm/yyyy">
                  <c:v>42035</c:v>
                </c:pt>
                <c:pt idx="4" formatCode="dd/mm/yyyy">
                  <c:v>42155</c:v>
                </c:pt>
                <c:pt idx="8" formatCode="dd/mm/yyyy">
                  <c:v>42277</c:v>
                </c:pt>
                <c:pt idx="12" formatCode="dd/mm/yyyy">
                  <c:v>42400</c:v>
                </c:pt>
                <c:pt idx="16" formatCode="dd/mm/yyyy">
                  <c:v>42521</c:v>
                </c:pt>
                <c:pt idx="20" formatCode="dd/mm/yyyy">
                  <c:v>42643</c:v>
                </c:pt>
                <c:pt idx="24" formatCode="dd/mm/yyyy">
                  <c:v>42766</c:v>
                </c:pt>
                <c:pt idx="28" formatCode="dd/mm/yyyy">
                  <c:v>42886</c:v>
                </c:pt>
                <c:pt idx="32" formatCode="dd/mm/yyyy">
                  <c:v>43008</c:v>
                </c:pt>
                <c:pt idx="36" formatCode="dd/mm/yyyy">
                  <c:v>43131</c:v>
                </c:pt>
                <c:pt idx="40" formatCode="dd/mm/yyyy">
                  <c:v>43251</c:v>
                </c:pt>
                <c:pt idx="44" formatCode="dd/mm/yyyy">
                  <c:v>43373</c:v>
                </c:pt>
                <c:pt idx="48" formatCode="dd/mm/yyyy">
                  <c:v>43496</c:v>
                </c:pt>
                <c:pt idx="52" formatCode="dd/mm/yyyy">
                  <c:v>43616</c:v>
                </c:pt>
                <c:pt idx="56" formatCode="dd/mm/yyyy">
                  <c:v>43738</c:v>
                </c:pt>
              </c:numCache>
            </c:numRef>
          </c:cat>
          <c:val>
            <c:numRef>
              <c:f>'BCT_statistque (53)'!$B$5:$B$61</c:f>
              <c:numCache>
                <c:formatCode>General</c:formatCode>
                <c:ptCount val="57"/>
                <c:pt idx="0">
                  <c:v>15196.003000000002</c:v>
                </c:pt>
                <c:pt idx="1">
                  <c:v>15062.914000000002</c:v>
                </c:pt>
                <c:pt idx="2">
                  <c:v>14789.905000000001</c:v>
                </c:pt>
                <c:pt idx="3">
                  <c:v>14103.228999999992</c:v>
                </c:pt>
                <c:pt idx="4">
                  <c:v>13994.62</c:v>
                </c:pt>
                <c:pt idx="5">
                  <c:v>13342.585999999985</c:v>
                </c:pt>
                <c:pt idx="6">
                  <c:v>13453.084999999992</c:v>
                </c:pt>
                <c:pt idx="7">
                  <c:v>13140.304999999991</c:v>
                </c:pt>
                <c:pt idx="8">
                  <c:v>12844.57</c:v>
                </c:pt>
                <c:pt idx="9">
                  <c:v>13179.641000000007</c:v>
                </c:pt>
                <c:pt idx="10">
                  <c:v>12567.376999999988</c:v>
                </c:pt>
                <c:pt idx="11">
                  <c:v>14250.308000000001</c:v>
                </c:pt>
                <c:pt idx="12">
                  <c:v>13451.473</c:v>
                </c:pt>
                <c:pt idx="13">
                  <c:v>12778.054999999991</c:v>
                </c:pt>
                <c:pt idx="14">
                  <c:v>12459.596</c:v>
                </c:pt>
                <c:pt idx="15">
                  <c:v>11200.492</c:v>
                </c:pt>
                <c:pt idx="16">
                  <c:v>12078.03</c:v>
                </c:pt>
                <c:pt idx="17">
                  <c:v>12217.129000000004</c:v>
                </c:pt>
                <c:pt idx="18">
                  <c:v>12292.927</c:v>
                </c:pt>
                <c:pt idx="19">
                  <c:v>13069.237999999992</c:v>
                </c:pt>
                <c:pt idx="20">
                  <c:v>12806.723000000007</c:v>
                </c:pt>
                <c:pt idx="21">
                  <c:v>13262.646000000002</c:v>
                </c:pt>
                <c:pt idx="22">
                  <c:v>12267.949999999993</c:v>
                </c:pt>
                <c:pt idx="23">
                  <c:v>13117.865999999985</c:v>
                </c:pt>
                <c:pt idx="24">
                  <c:v>12392.370999999985</c:v>
                </c:pt>
                <c:pt idx="25">
                  <c:v>13822.977999999985</c:v>
                </c:pt>
                <c:pt idx="26">
                  <c:v>12879.130999999992</c:v>
                </c:pt>
                <c:pt idx="27">
                  <c:v>13546.199000000002</c:v>
                </c:pt>
                <c:pt idx="28">
                  <c:v>12529.397999999985</c:v>
                </c:pt>
                <c:pt idx="29">
                  <c:v>12802.523999999992</c:v>
                </c:pt>
                <c:pt idx="30">
                  <c:v>11977.472</c:v>
                </c:pt>
                <c:pt idx="31">
                  <c:v>13422.565000000001</c:v>
                </c:pt>
                <c:pt idx="32">
                  <c:v>13211.281000000004</c:v>
                </c:pt>
                <c:pt idx="33">
                  <c:v>12797.764999999992</c:v>
                </c:pt>
                <c:pt idx="34">
                  <c:v>12350.573</c:v>
                </c:pt>
                <c:pt idx="35">
                  <c:v>12991.945</c:v>
                </c:pt>
                <c:pt idx="36">
                  <c:v>12193.022000000004</c:v>
                </c:pt>
                <c:pt idx="37">
                  <c:v>11757.727999999992</c:v>
                </c:pt>
                <c:pt idx="38">
                  <c:v>11526.79</c:v>
                </c:pt>
                <c:pt idx="39">
                  <c:v>11344.761</c:v>
                </c:pt>
                <c:pt idx="40">
                  <c:v>11219.241000000007</c:v>
                </c:pt>
                <c:pt idx="41">
                  <c:v>11432.53</c:v>
                </c:pt>
                <c:pt idx="42">
                  <c:v>11193.164000000002</c:v>
                </c:pt>
                <c:pt idx="43">
                  <c:v>11159.62</c:v>
                </c:pt>
                <c:pt idx="44">
                  <c:v>12200.597</c:v>
                </c:pt>
                <c:pt idx="45">
                  <c:v>13869.864</c:v>
                </c:pt>
                <c:pt idx="46">
                  <c:v>13139.044000000007</c:v>
                </c:pt>
                <c:pt idx="47">
                  <c:v>14525.339</c:v>
                </c:pt>
                <c:pt idx="48">
                  <c:v>14995.294000000007</c:v>
                </c:pt>
                <c:pt idx="49">
                  <c:v>15212.013999999992</c:v>
                </c:pt>
                <c:pt idx="50">
                  <c:v>15610.628000000002</c:v>
                </c:pt>
                <c:pt idx="51">
                  <c:v>13460.657999999987</c:v>
                </c:pt>
                <c:pt idx="52">
                  <c:v>13550.852999999985</c:v>
                </c:pt>
                <c:pt idx="53">
                  <c:v>13514.851000000001</c:v>
                </c:pt>
                <c:pt idx="54">
                  <c:v>16821.116000000002</c:v>
                </c:pt>
                <c:pt idx="55">
                  <c:v>17772.906999999999</c:v>
                </c:pt>
                <c:pt idx="56">
                  <c:v>18531.697</c:v>
                </c:pt>
              </c:numCache>
            </c:numRef>
          </c:val>
          <c:extLst xmlns:c16r2="http://schemas.microsoft.com/office/drawing/2015/06/chart">
            <c:ext xmlns:c16="http://schemas.microsoft.com/office/drawing/2014/chart" uri="{C3380CC4-5D6E-409C-BE32-E72D297353CC}">
              <c16:uniqueId val="{00000000-20D8-43E6-BE91-C8DAA20C7C7B}"/>
            </c:ext>
          </c:extLst>
        </c:ser>
        <c:marker val="1"/>
        <c:axId val="184130944"/>
        <c:axId val="184394880"/>
      </c:lineChart>
      <c:dateAx>
        <c:axId val="184130944"/>
        <c:scaling>
          <c:orientation val="maxMin"/>
          <c:max val="43738"/>
        </c:scaling>
        <c:axPos val="b"/>
        <c:numFmt formatCode="dd/mm/yyyy" sourceLinked="1"/>
        <c:tickLblPos val="nextTo"/>
        <c:spPr>
          <a:noFill/>
          <a:ln w="12700" cap="flat" cmpd="sng" algn="ctr">
            <a:solidFill>
              <a:schemeClr val="tx1">
                <a:lumMod val="15000"/>
                <a:lumOff val="85000"/>
              </a:schemeClr>
            </a:solidFill>
            <a:round/>
          </a:ln>
          <a:effectLst/>
        </c:spPr>
        <c:txPr>
          <a:bodyPr rot="-5400000" spcFirstLastPara="1" vertOverflow="ellipsis"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84394880"/>
        <c:crosses val="autoZero"/>
        <c:auto val="1"/>
        <c:lblOffset val="100"/>
        <c:baseTimeUnit val="months"/>
        <c:majorUnit val="14"/>
        <c:majorTimeUnit val="months"/>
      </c:dateAx>
      <c:valAx>
        <c:axId val="184394880"/>
        <c:scaling>
          <c:orientation val="minMax"/>
          <c:min val="10000"/>
        </c:scaling>
        <c:axPos val="r"/>
        <c:numFmt formatCode="General" sourceLinked="1"/>
        <c:maj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84130944"/>
        <c:crosses val="autoZero"/>
        <c:crossBetween val="between"/>
      </c:valAx>
      <c:spPr>
        <a:noFill/>
        <a:ln>
          <a:noFill/>
        </a:ln>
        <a:effectLst/>
      </c:spPr>
    </c:plotArea>
    <c:plotVisOnly val="1"/>
    <c:dispBlanksAs val="zero"/>
  </c:chart>
  <c:spPr>
    <a:noFill/>
    <a:ln>
      <a:noFill/>
    </a:ln>
    <a:effectLst/>
  </c:spPr>
  <c:txPr>
    <a:bodyPr/>
    <a:lstStyle/>
    <a:p>
      <a:pPr>
        <a:defRPr/>
      </a:pPr>
      <a:endParaRPr lang="fr-FR"/>
    </a:p>
  </c:txPr>
  <c:externalData r:id="rId1"/>
</c:chartSpace>
</file>

<file path=ppt/charts/chart18.xml><?xml version="1.0" encoding="utf-8"?>
<c:chartSpace xmlns:c="http://schemas.openxmlformats.org/drawingml/2006/chart" xmlns:a="http://schemas.openxmlformats.org/drawingml/2006/main" xmlns:r="http://schemas.openxmlformats.org/officeDocument/2006/relationships">
  <c:date1904 val="1"/>
  <c:lang val="fr-FR"/>
  <c:chart>
    <c:autoTitleDeleted val="1"/>
    <c:plotArea>
      <c:layout>
        <c:manualLayout>
          <c:layoutTarget val="inner"/>
          <c:xMode val="edge"/>
          <c:yMode val="edge"/>
          <c:x val="7.3390186683984726E-2"/>
          <c:y val="2.8612616629782039E-2"/>
          <c:w val="0.88642427821522307"/>
          <c:h val="0.72478330230081045"/>
        </c:manualLayout>
      </c:layout>
      <c:lineChart>
        <c:grouping val="standard"/>
        <c:ser>
          <c:idx val="0"/>
          <c:order val="0"/>
          <c:tx>
            <c:strRef>
              <c:f>Feuil1!$D$3</c:f>
              <c:strCache>
                <c:ptCount val="1"/>
                <c:pt idx="0">
                  <c:v>دولار</c:v>
                </c:pt>
              </c:strCache>
            </c:strRef>
          </c:tx>
          <c:spPr>
            <a:ln w="28575" cap="rnd">
              <a:solidFill>
                <a:schemeClr val="accent1"/>
              </a:solidFill>
              <a:round/>
            </a:ln>
            <a:effectLst/>
          </c:spPr>
          <c:marker>
            <c:symbol val="none"/>
          </c:marker>
          <c:dLbls>
            <c:dLbl>
              <c:idx val="936"/>
              <c:layout>
                <c:manualLayout>
                  <c:x val="-6.5716678323759034E-2"/>
                  <c:y val="3.1329923168502812E-2"/>
                </c:manualLayout>
              </c:layout>
              <c:showVal val="1"/>
              <c:extLst xmlns:c16r2="http://schemas.microsoft.com/office/drawing/2015/06/chart">
                <c:ext xmlns:c16="http://schemas.microsoft.com/office/drawing/2014/chart" uri="{C3380CC4-5D6E-409C-BE32-E72D297353CC}">
                  <c16:uniqueId val="{00000000-C04E-46A7-B756-BAE151EF47BF}"/>
                </c:ext>
                <c:ext xmlns:c15="http://schemas.microsoft.com/office/drawing/2012/chart" uri="{CE6537A1-D6FC-4f65-9D91-7224C49458BB}">
                  <c15:layout/>
                </c:ext>
              </c:extLst>
            </c:dLbl>
            <c:delete val="1"/>
            <c:extLst xmlns:c16r2="http://schemas.microsoft.com/office/drawing/2015/06/chart">
              <c:ext xmlns:c15="http://schemas.microsoft.com/office/drawing/2012/chart" uri="{CE6537A1-D6FC-4f65-9D91-7224C49458BB}">
                <c15:showLeaderLines val="0"/>
              </c:ext>
            </c:extLst>
          </c:dLbls>
          <c:cat>
            <c:numRef>
              <c:f>Feuil1!$E$2:$AKJ$2</c:f>
              <c:numCache>
                <c:formatCode>dd/mm/yyyy</c:formatCode>
                <c:ptCount val="967"/>
                <c:pt idx="0">
                  <c:v>42373</c:v>
                </c:pt>
                <c:pt idx="1">
                  <c:v>42374</c:v>
                </c:pt>
                <c:pt idx="2">
                  <c:v>42375</c:v>
                </c:pt>
                <c:pt idx="3">
                  <c:v>42376</c:v>
                </c:pt>
                <c:pt idx="4">
                  <c:v>42377</c:v>
                </c:pt>
                <c:pt idx="5">
                  <c:v>42380</c:v>
                </c:pt>
                <c:pt idx="6">
                  <c:v>42381</c:v>
                </c:pt>
                <c:pt idx="7">
                  <c:v>42382</c:v>
                </c:pt>
                <c:pt idx="8">
                  <c:v>42384</c:v>
                </c:pt>
                <c:pt idx="9">
                  <c:v>42387</c:v>
                </c:pt>
                <c:pt idx="10">
                  <c:v>42388</c:v>
                </c:pt>
                <c:pt idx="11">
                  <c:v>42389</c:v>
                </c:pt>
                <c:pt idx="12">
                  <c:v>42390</c:v>
                </c:pt>
                <c:pt idx="13">
                  <c:v>42391</c:v>
                </c:pt>
                <c:pt idx="14">
                  <c:v>42394</c:v>
                </c:pt>
                <c:pt idx="15">
                  <c:v>42395</c:v>
                </c:pt>
                <c:pt idx="16">
                  <c:v>42396</c:v>
                </c:pt>
                <c:pt idx="17">
                  <c:v>42397</c:v>
                </c:pt>
                <c:pt idx="18">
                  <c:v>42398</c:v>
                </c:pt>
                <c:pt idx="19">
                  <c:v>42401</c:v>
                </c:pt>
                <c:pt idx="20">
                  <c:v>42402</c:v>
                </c:pt>
                <c:pt idx="21">
                  <c:v>42403</c:v>
                </c:pt>
                <c:pt idx="22">
                  <c:v>42404</c:v>
                </c:pt>
                <c:pt idx="23">
                  <c:v>42405</c:v>
                </c:pt>
                <c:pt idx="24">
                  <c:v>42408</c:v>
                </c:pt>
                <c:pt idx="25">
                  <c:v>42409</c:v>
                </c:pt>
                <c:pt idx="26">
                  <c:v>42410</c:v>
                </c:pt>
                <c:pt idx="27">
                  <c:v>42411</c:v>
                </c:pt>
                <c:pt idx="28">
                  <c:v>42412</c:v>
                </c:pt>
                <c:pt idx="29">
                  <c:v>42415</c:v>
                </c:pt>
                <c:pt idx="30">
                  <c:v>42416</c:v>
                </c:pt>
                <c:pt idx="31">
                  <c:v>42417</c:v>
                </c:pt>
                <c:pt idx="32">
                  <c:v>42418</c:v>
                </c:pt>
                <c:pt idx="33">
                  <c:v>42419</c:v>
                </c:pt>
                <c:pt idx="34">
                  <c:v>42422</c:v>
                </c:pt>
                <c:pt idx="35">
                  <c:v>42423</c:v>
                </c:pt>
                <c:pt idx="36">
                  <c:v>42424</c:v>
                </c:pt>
                <c:pt idx="37">
                  <c:v>42425</c:v>
                </c:pt>
                <c:pt idx="38">
                  <c:v>42426</c:v>
                </c:pt>
                <c:pt idx="39">
                  <c:v>42429</c:v>
                </c:pt>
                <c:pt idx="40">
                  <c:v>42430</c:v>
                </c:pt>
                <c:pt idx="41">
                  <c:v>42431</c:v>
                </c:pt>
                <c:pt idx="42">
                  <c:v>42432</c:v>
                </c:pt>
                <c:pt idx="43">
                  <c:v>42433</c:v>
                </c:pt>
                <c:pt idx="44">
                  <c:v>42436</c:v>
                </c:pt>
                <c:pt idx="45">
                  <c:v>42437</c:v>
                </c:pt>
                <c:pt idx="46">
                  <c:v>42438</c:v>
                </c:pt>
                <c:pt idx="47">
                  <c:v>42439</c:v>
                </c:pt>
                <c:pt idx="48">
                  <c:v>42440</c:v>
                </c:pt>
                <c:pt idx="49">
                  <c:v>42443</c:v>
                </c:pt>
                <c:pt idx="50">
                  <c:v>42444</c:v>
                </c:pt>
                <c:pt idx="51">
                  <c:v>42445</c:v>
                </c:pt>
                <c:pt idx="52">
                  <c:v>42446</c:v>
                </c:pt>
                <c:pt idx="53">
                  <c:v>42447</c:v>
                </c:pt>
                <c:pt idx="54">
                  <c:v>42450</c:v>
                </c:pt>
                <c:pt idx="55">
                  <c:v>42451</c:v>
                </c:pt>
                <c:pt idx="56">
                  <c:v>42452</c:v>
                </c:pt>
                <c:pt idx="57">
                  <c:v>42453</c:v>
                </c:pt>
                <c:pt idx="58">
                  <c:v>42454</c:v>
                </c:pt>
                <c:pt idx="59">
                  <c:v>42457</c:v>
                </c:pt>
                <c:pt idx="60">
                  <c:v>42458</c:v>
                </c:pt>
                <c:pt idx="61">
                  <c:v>42459</c:v>
                </c:pt>
                <c:pt idx="62">
                  <c:v>42460</c:v>
                </c:pt>
                <c:pt idx="63">
                  <c:v>42461</c:v>
                </c:pt>
                <c:pt idx="64">
                  <c:v>42464</c:v>
                </c:pt>
                <c:pt idx="65">
                  <c:v>42465</c:v>
                </c:pt>
                <c:pt idx="66">
                  <c:v>42466</c:v>
                </c:pt>
                <c:pt idx="67">
                  <c:v>42467</c:v>
                </c:pt>
                <c:pt idx="68">
                  <c:v>42468</c:v>
                </c:pt>
                <c:pt idx="69">
                  <c:v>42471</c:v>
                </c:pt>
                <c:pt idx="70">
                  <c:v>42472</c:v>
                </c:pt>
                <c:pt idx="71">
                  <c:v>42473</c:v>
                </c:pt>
                <c:pt idx="72">
                  <c:v>42474</c:v>
                </c:pt>
                <c:pt idx="73">
                  <c:v>42475</c:v>
                </c:pt>
                <c:pt idx="74">
                  <c:v>42478</c:v>
                </c:pt>
                <c:pt idx="75">
                  <c:v>42479</c:v>
                </c:pt>
                <c:pt idx="76">
                  <c:v>42480</c:v>
                </c:pt>
                <c:pt idx="77">
                  <c:v>42481</c:v>
                </c:pt>
                <c:pt idx="78">
                  <c:v>42482</c:v>
                </c:pt>
                <c:pt idx="79">
                  <c:v>42485</c:v>
                </c:pt>
                <c:pt idx="80">
                  <c:v>42486</c:v>
                </c:pt>
                <c:pt idx="81">
                  <c:v>42487</c:v>
                </c:pt>
                <c:pt idx="82">
                  <c:v>42488</c:v>
                </c:pt>
                <c:pt idx="83">
                  <c:v>42489</c:v>
                </c:pt>
                <c:pt idx="84">
                  <c:v>42492</c:v>
                </c:pt>
                <c:pt idx="85">
                  <c:v>42493</c:v>
                </c:pt>
                <c:pt idx="86">
                  <c:v>42494</c:v>
                </c:pt>
                <c:pt idx="87">
                  <c:v>42495</c:v>
                </c:pt>
                <c:pt idx="88">
                  <c:v>42496</c:v>
                </c:pt>
                <c:pt idx="89">
                  <c:v>42499</c:v>
                </c:pt>
                <c:pt idx="90">
                  <c:v>42500</c:v>
                </c:pt>
                <c:pt idx="91">
                  <c:v>42501</c:v>
                </c:pt>
                <c:pt idx="92">
                  <c:v>42502</c:v>
                </c:pt>
                <c:pt idx="93">
                  <c:v>42503</c:v>
                </c:pt>
                <c:pt idx="94">
                  <c:v>42506</c:v>
                </c:pt>
                <c:pt idx="95">
                  <c:v>42507</c:v>
                </c:pt>
                <c:pt idx="96">
                  <c:v>42508</c:v>
                </c:pt>
                <c:pt idx="97">
                  <c:v>42509</c:v>
                </c:pt>
                <c:pt idx="98">
                  <c:v>42510</c:v>
                </c:pt>
                <c:pt idx="99">
                  <c:v>42513</c:v>
                </c:pt>
                <c:pt idx="100">
                  <c:v>42514</c:v>
                </c:pt>
                <c:pt idx="101">
                  <c:v>42515</c:v>
                </c:pt>
                <c:pt idx="102">
                  <c:v>42516</c:v>
                </c:pt>
                <c:pt idx="103">
                  <c:v>42517</c:v>
                </c:pt>
                <c:pt idx="104">
                  <c:v>42520</c:v>
                </c:pt>
                <c:pt idx="105">
                  <c:v>42521</c:v>
                </c:pt>
                <c:pt idx="106">
                  <c:v>42522</c:v>
                </c:pt>
                <c:pt idx="107">
                  <c:v>42523</c:v>
                </c:pt>
                <c:pt idx="108">
                  <c:v>42524</c:v>
                </c:pt>
                <c:pt idx="109">
                  <c:v>42527</c:v>
                </c:pt>
                <c:pt idx="110">
                  <c:v>42528</c:v>
                </c:pt>
                <c:pt idx="111">
                  <c:v>42529</c:v>
                </c:pt>
                <c:pt idx="112">
                  <c:v>42530</c:v>
                </c:pt>
                <c:pt idx="113">
                  <c:v>42531</c:v>
                </c:pt>
                <c:pt idx="114">
                  <c:v>42534</c:v>
                </c:pt>
                <c:pt idx="115">
                  <c:v>42535</c:v>
                </c:pt>
                <c:pt idx="116">
                  <c:v>42536</c:v>
                </c:pt>
                <c:pt idx="117">
                  <c:v>42537</c:v>
                </c:pt>
                <c:pt idx="118">
                  <c:v>42538</c:v>
                </c:pt>
                <c:pt idx="119">
                  <c:v>42541</c:v>
                </c:pt>
                <c:pt idx="120">
                  <c:v>42542</c:v>
                </c:pt>
                <c:pt idx="121">
                  <c:v>42543</c:v>
                </c:pt>
                <c:pt idx="122">
                  <c:v>42544</c:v>
                </c:pt>
                <c:pt idx="123">
                  <c:v>42545</c:v>
                </c:pt>
                <c:pt idx="124">
                  <c:v>42548</c:v>
                </c:pt>
                <c:pt idx="125">
                  <c:v>42549</c:v>
                </c:pt>
                <c:pt idx="126">
                  <c:v>42550</c:v>
                </c:pt>
                <c:pt idx="127">
                  <c:v>42551</c:v>
                </c:pt>
                <c:pt idx="128">
                  <c:v>42552</c:v>
                </c:pt>
                <c:pt idx="129">
                  <c:v>42555</c:v>
                </c:pt>
                <c:pt idx="130">
                  <c:v>42559</c:v>
                </c:pt>
                <c:pt idx="131">
                  <c:v>42562</c:v>
                </c:pt>
                <c:pt idx="132">
                  <c:v>42563</c:v>
                </c:pt>
                <c:pt idx="133">
                  <c:v>42564</c:v>
                </c:pt>
                <c:pt idx="134">
                  <c:v>42565</c:v>
                </c:pt>
                <c:pt idx="135">
                  <c:v>42566</c:v>
                </c:pt>
                <c:pt idx="136">
                  <c:v>42569</c:v>
                </c:pt>
                <c:pt idx="137">
                  <c:v>42570</c:v>
                </c:pt>
                <c:pt idx="138">
                  <c:v>42571</c:v>
                </c:pt>
                <c:pt idx="139">
                  <c:v>42572</c:v>
                </c:pt>
                <c:pt idx="140">
                  <c:v>42573</c:v>
                </c:pt>
                <c:pt idx="141">
                  <c:v>42577</c:v>
                </c:pt>
                <c:pt idx="142">
                  <c:v>42578</c:v>
                </c:pt>
                <c:pt idx="143">
                  <c:v>42579</c:v>
                </c:pt>
                <c:pt idx="144">
                  <c:v>42580</c:v>
                </c:pt>
                <c:pt idx="145">
                  <c:v>42583</c:v>
                </c:pt>
                <c:pt idx="146">
                  <c:v>42584</c:v>
                </c:pt>
                <c:pt idx="147">
                  <c:v>42585</c:v>
                </c:pt>
                <c:pt idx="148">
                  <c:v>42586</c:v>
                </c:pt>
                <c:pt idx="149">
                  <c:v>42587</c:v>
                </c:pt>
                <c:pt idx="150">
                  <c:v>42590</c:v>
                </c:pt>
                <c:pt idx="151">
                  <c:v>42591</c:v>
                </c:pt>
                <c:pt idx="152">
                  <c:v>42592</c:v>
                </c:pt>
                <c:pt idx="153">
                  <c:v>42593</c:v>
                </c:pt>
                <c:pt idx="154">
                  <c:v>42594</c:v>
                </c:pt>
                <c:pt idx="155">
                  <c:v>42597</c:v>
                </c:pt>
                <c:pt idx="156">
                  <c:v>42598</c:v>
                </c:pt>
                <c:pt idx="157">
                  <c:v>42599</c:v>
                </c:pt>
                <c:pt idx="158">
                  <c:v>42600</c:v>
                </c:pt>
                <c:pt idx="159">
                  <c:v>42601</c:v>
                </c:pt>
                <c:pt idx="160">
                  <c:v>42604</c:v>
                </c:pt>
                <c:pt idx="161">
                  <c:v>42605</c:v>
                </c:pt>
                <c:pt idx="162">
                  <c:v>42606</c:v>
                </c:pt>
                <c:pt idx="163">
                  <c:v>42607</c:v>
                </c:pt>
                <c:pt idx="164">
                  <c:v>42608</c:v>
                </c:pt>
                <c:pt idx="165">
                  <c:v>42611</c:v>
                </c:pt>
                <c:pt idx="166">
                  <c:v>42612</c:v>
                </c:pt>
                <c:pt idx="167">
                  <c:v>42613</c:v>
                </c:pt>
                <c:pt idx="168">
                  <c:v>42614</c:v>
                </c:pt>
                <c:pt idx="169">
                  <c:v>42615</c:v>
                </c:pt>
                <c:pt idx="170">
                  <c:v>42618</c:v>
                </c:pt>
                <c:pt idx="171">
                  <c:v>42619</c:v>
                </c:pt>
                <c:pt idx="172">
                  <c:v>42620</c:v>
                </c:pt>
                <c:pt idx="173">
                  <c:v>42621</c:v>
                </c:pt>
                <c:pt idx="174">
                  <c:v>42622</c:v>
                </c:pt>
                <c:pt idx="175">
                  <c:v>42627</c:v>
                </c:pt>
                <c:pt idx="176">
                  <c:v>42628</c:v>
                </c:pt>
                <c:pt idx="177">
                  <c:v>42629</c:v>
                </c:pt>
                <c:pt idx="178">
                  <c:v>42632</c:v>
                </c:pt>
                <c:pt idx="179">
                  <c:v>42633</c:v>
                </c:pt>
                <c:pt idx="180">
                  <c:v>42634</c:v>
                </c:pt>
                <c:pt idx="181">
                  <c:v>42635</c:v>
                </c:pt>
                <c:pt idx="182">
                  <c:v>42636</c:v>
                </c:pt>
                <c:pt idx="183">
                  <c:v>42639</c:v>
                </c:pt>
                <c:pt idx="184">
                  <c:v>42640</c:v>
                </c:pt>
                <c:pt idx="185">
                  <c:v>42641</c:v>
                </c:pt>
                <c:pt idx="186">
                  <c:v>42642</c:v>
                </c:pt>
                <c:pt idx="187">
                  <c:v>42643</c:v>
                </c:pt>
                <c:pt idx="188">
                  <c:v>42646</c:v>
                </c:pt>
                <c:pt idx="189">
                  <c:v>42647</c:v>
                </c:pt>
                <c:pt idx="190">
                  <c:v>42648</c:v>
                </c:pt>
                <c:pt idx="191">
                  <c:v>42649</c:v>
                </c:pt>
                <c:pt idx="192">
                  <c:v>42650</c:v>
                </c:pt>
                <c:pt idx="193">
                  <c:v>42653</c:v>
                </c:pt>
                <c:pt idx="194">
                  <c:v>42654</c:v>
                </c:pt>
                <c:pt idx="195">
                  <c:v>42655</c:v>
                </c:pt>
                <c:pt idx="196">
                  <c:v>42656</c:v>
                </c:pt>
                <c:pt idx="197">
                  <c:v>42657</c:v>
                </c:pt>
                <c:pt idx="198">
                  <c:v>42660</c:v>
                </c:pt>
                <c:pt idx="199">
                  <c:v>42661</c:v>
                </c:pt>
                <c:pt idx="200">
                  <c:v>42662</c:v>
                </c:pt>
                <c:pt idx="201">
                  <c:v>42663</c:v>
                </c:pt>
                <c:pt idx="202">
                  <c:v>42664</c:v>
                </c:pt>
                <c:pt idx="203">
                  <c:v>42667</c:v>
                </c:pt>
                <c:pt idx="204">
                  <c:v>42668</c:v>
                </c:pt>
                <c:pt idx="205">
                  <c:v>42669</c:v>
                </c:pt>
                <c:pt idx="206">
                  <c:v>42670</c:v>
                </c:pt>
                <c:pt idx="207">
                  <c:v>42671</c:v>
                </c:pt>
                <c:pt idx="208">
                  <c:v>42674</c:v>
                </c:pt>
                <c:pt idx="209">
                  <c:v>42675</c:v>
                </c:pt>
                <c:pt idx="210">
                  <c:v>42676</c:v>
                </c:pt>
                <c:pt idx="211">
                  <c:v>42677</c:v>
                </c:pt>
                <c:pt idx="212">
                  <c:v>42678</c:v>
                </c:pt>
                <c:pt idx="213">
                  <c:v>42681</c:v>
                </c:pt>
                <c:pt idx="214">
                  <c:v>42682</c:v>
                </c:pt>
                <c:pt idx="215">
                  <c:v>42683</c:v>
                </c:pt>
                <c:pt idx="216">
                  <c:v>42684</c:v>
                </c:pt>
                <c:pt idx="217">
                  <c:v>42685</c:v>
                </c:pt>
                <c:pt idx="218">
                  <c:v>42688</c:v>
                </c:pt>
                <c:pt idx="219">
                  <c:v>42689</c:v>
                </c:pt>
                <c:pt idx="220">
                  <c:v>42690</c:v>
                </c:pt>
                <c:pt idx="221">
                  <c:v>42691</c:v>
                </c:pt>
                <c:pt idx="222">
                  <c:v>42692</c:v>
                </c:pt>
                <c:pt idx="223">
                  <c:v>42695</c:v>
                </c:pt>
                <c:pt idx="224">
                  <c:v>42696</c:v>
                </c:pt>
                <c:pt idx="225">
                  <c:v>42697</c:v>
                </c:pt>
                <c:pt idx="226">
                  <c:v>42698</c:v>
                </c:pt>
                <c:pt idx="227">
                  <c:v>42699</c:v>
                </c:pt>
                <c:pt idx="228">
                  <c:v>42702</c:v>
                </c:pt>
                <c:pt idx="229">
                  <c:v>42703</c:v>
                </c:pt>
                <c:pt idx="230">
                  <c:v>42704</c:v>
                </c:pt>
                <c:pt idx="231">
                  <c:v>42705</c:v>
                </c:pt>
                <c:pt idx="232">
                  <c:v>42706</c:v>
                </c:pt>
                <c:pt idx="233">
                  <c:v>42709</c:v>
                </c:pt>
                <c:pt idx="234">
                  <c:v>42710</c:v>
                </c:pt>
                <c:pt idx="235">
                  <c:v>42711</c:v>
                </c:pt>
                <c:pt idx="236">
                  <c:v>42712</c:v>
                </c:pt>
                <c:pt idx="237">
                  <c:v>42713</c:v>
                </c:pt>
                <c:pt idx="238">
                  <c:v>42717</c:v>
                </c:pt>
                <c:pt idx="239">
                  <c:v>42718</c:v>
                </c:pt>
                <c:pt idx="240">
                  <c:v>42719</c:v>
                </c:pt>
                <c:pt idx="241">
                  <c:v>42720</c:v>
                </c:pt>
                <c:pt idx="242">
                  <c:v>42723</c:v>
                </c:pt>
                <c:pt idx="243">
                  <c:v>42724</c:v>
                </c:pt>
                <c:pt idx="244">
                  <c:v>42725</c:v>
                </c:pt>
                <c:pt idx="245">
                  <c:v>42726</c:v>
                </c:pt>
                <c:pt idx="246">
                  <c:v>42727</c:v>
                </c:pt>
                <c:pt idx="247">
                  <c:v>42730</c:v>
                </c:pt>
                <c:pt idx="248">
                  <c:v>42731</c:v>
                </c:pt>
                <c:pt idx="249">
                  <c:v>42732</c:v>
                </c:pt>
                <c:pt idx="250">
                  <c:v>42733</c:v>
                </c:pt>
                <c:pt idx="251">
                  <c:v>42734</c:v>
                </c:pt>
                <c:pt idx="252">
                  <c:v>42737</c:v>
                </c:pt>
                <c:pt idx="253">
                  <c:v>42738</c:v>
                </c:pt>
                <c:pt idx="254">
                  <c:v>42739</c:v>
                </c:pt>
                <c:pt idx="255">
                  <c:v>42740</c:v>
                </c:pt>
                <c:pt idx="256">
                  <c:v>42741</c:v>
                </c:pt>
                <c:pt idx="257">
                  <c:v>42744</c:v>
                </c:pt>
                <c:pt idx="258">
                  <c:v>42745</c:v>
                </c:pt>
                <c:pt idx="259">
                  <c:v>42746</c:v>
                </c:pt>
                <c:pt idx="260">
                  <c:v>42747</c:v>
                </c:pt>
                <c:pt idx="261">
                  <c:v>42748</c:v>
                </c:pt>
                <c:pt idx="262">
                  <c:v>42751</c:v>
                </c:pt>
                <c:pt idx="263">
                  <c:v>42752</c:v>
                </c:pt>
                <c:pt idx="264">
                  <c:v>42753</c:v>
                </c:pt>
                <c:pt idx="265">
                  <c:v>42754</c:v>
                </c:pt>
                <c:pt idx="266">
                  <c:v>42755</c:v>
                </c:pt>
                <c:pt idx="267">
                  <c:v>42758</c:v>
                </c:pt>
                <c:pt idx="268">
                  <c:v>42759</c:v>
                </c:pt>
                <c:pt idx="269">
                  <c:v>42760</c:v>
                </c:pt>
                <c:pt idx="270">
                  <c:v>42761</c:v>
                </c:pt>
                <c:pt idx="271">
                  <c:v>42762</c:v>
                </c:pt>
                <c:pt idx="272">
                  <c:v>42765</c:v>
                </c:pt>
                <c:pt idx="273">
                  <c:v>42766</c:v>
                </c:pt>
                <c:pt idx="274">
                  <c:v>42767</c:v>
                </c:pt>
                <c:pt idx="275">
                  <c:v>42768</c:v>
                </c:pt>
                <c:pt idx="276">
                  <c:v>42769</c:v>
                </c:pt>
                <c:pt idx="277">
                  <c:v>42772</c:v>
                </c:pt>
                <c:pt idx="278">
                  <c:v>42773</c:v>
                </c:pt>
                <c:pt idx="279">
                  <c:v>42774</c:v>
                </c:pt>
                <c:pt idx="280">
                  <c:v>42775</c:v>
                </c:pt>
                <c:pt idx="281">
                  <c:v>42776</c:v>
                </c:pt>
                <c:pt idx="282">
                  <c:v>42779</c:v>
                </c:pt>
                <c:pt idx="283">
                  <c:v>42780</c:v>
                </c:pt>
                <c:pt idx="284">
                  <c:v>42781</c:v>
                </c:pt>
                <c:pt idx="285">
                  <c:v>42782</c:v>
                </c:pt>
                <c:pt idx="286">
                  <c:v>42783</c:v>
                </c:pt>
                <c:pt idx="287">
                  <c:v>42786</c:v>
                </c:pt>
                <c:pt idx="288">
                  <c:v>42787</c:v>
                </c:pt>
                <c:pt idx="289">
                  <c:v>42788</c:v>
                </c:pt>
                <c:pt idx="290">
                  <c:v>42789</c:v>
                </c:pt>
                <c:pt idx="291">
                  <c:v>42790</c:v>
                </c:pt>
                <c:pt idx="292">
                  <c:v>42793</c:v>
                </c:pt>
                <c:pt idx="293">
                  <c:v>42794</c:v>
                </c:pt>
                <c:pt idx="294">
                  <c:v>42795</c:v>
                </c:pt>
                <c:pt idx="295">
                  <c:v>42796</c:v>
                </c:pt>
                <c:pt idx="296">
                  <c:v>42797</c:v>
                </c:pt>
                <c:pt idx="297">
                  <c:v>42800</c:v>
                </c:pt>
                <c:pt idx="298">
                  <c:v>42801</c:v>
                </c:pt>
                <c:pt idx="299">
                  <c:v>42802</c:v>
                </c:pt>
                <c:pt idx="300">
                  <c:v>42803</c:v>
                </c:pt>
                <c:pt idx="301">
                  <c:v>42804</c:v>
                </c:pt>
                <c:pt idx="302">
                  <c:v>42807</c:v>
                </c:pt>
                <c:pt idx="303">
                  <c:v>42808</c:v>
                </c:pt>
                <c:pt idx="304">
                  <c:v>42809</c:v>
                </c:pt>
                <c:pt idx="305">
                  <c:v>42810</c:v>
                </c:pt>
                <c:pt idx="306">
                  <c:v>42811</c:v>
                </c:pt>
                <c:pt idx="307">
                  <c:v>42815</c:v>
                </c:pt>
                <c:pt idx="308">
                  <c:v>42816</c:v>
                </c:pt>
                <c:pt idx="309">
                  <c:v>42817</c:v>
                </c:pt>
                <c:pt idx="310">
                  <c:v>42818</c:v>
                </c:pt>
                <c:pt idx="311">
                  <c:v>42821</c:v>
                </c:pt>
                <c:pt idx="312">
                  <c:v>42822</c:v>
                </c:pt>
                <c:pt idx="313">
                  <c:v>42823</c:v>
                </c:pt>
                <c:pt idx="314">
                  <c:v>42824</c:v>
                </c:pt>
                <c:pt idx="315">
                  <c:v>42825</c:v>
                </c:pt>
                <c:pt idx="316">
                  <c:v>42828</c:v>
                </c:pt>
                <c:pt idx="317">
                  <c:v>42829</c:v>
                </c:pt>
                <c:pt idx="318">
                  <c:v>42830</c:v>
                </c:pt>
                <c:pt idx="319">
                  <c:v>42831</c:v>
                </c:pt>
                <c:pt idx="320">
                  <c:v>42832</c:v>
                </c:pt>
                <c:pt idx="321">
                  <c:v>42835</c:v>
                </c:pt>
                <c:pt idx="322">
                  <c:v>42836</c:v>
                </c:pt>
                <c:pt idx="323">
                  <c:v>42837</c:v>
                </c:pt>
                <c:pt idx="324">
                  <c:v>42838</c:v>
                </c:pt>
                <c:pt idx="325">
                  <c:v>42839</c:v>
                </c:pt>
                <c:pt idx="326">
                  <c:v>42842</c:v>
                </c:pt>
                <c:pt idx="327">
                  <c:v>42843</c:v>
                </c:pt>
                <c:pt idx="328">
                  <c:v>42844</c:v>
                </c:pt>
                <c:pt idx="329">
                  <c:v>42845</c:v>
                </c:pt>
                <c:pt idx="330">
                  <c:v>42846</c:v>
                </c:pt>
                <c:pt idx="331">
                  <c:v>42849</c:v>
                </c:pt>
                <c:pt idx="332">
                  <c:v>42850</c:v>
                </c:pt>
                <c:pt idx="333">
                  <c:v>42851</c:v>
                </c:pt>
                <c:pt idx="334">
                  <c:v>42852</c:v>
                </c:pt>
                <c:pt idx="335">
                  <c:v>42853</c:v>
                </c:pt>
                <c:pt idx="336">
                  <c:v>42857</c:v>
                </c:pt>
                <c:pt idx="337">
                  <c:v>42858</c:v>
                </c:pt>
                <c:pt idx="338">
                  <c:v>42859</c:v>
                </c:pt>
                <c:pt idx="339">
                  <c:v>42860</c:v>
                </c:pt>
                <c:pt idx="340">
                  <c:v>42863</c:v>
                </c:pt>
                <c:pt idx="341">
                  <c:v>42864</c:v>
                </c:pt>
                <c:pt idx="342">
                  <c:v>42865</c:v>
                </c:pt>
                <c:pt idx="343">
                  <c:v>42866</c:v>
                </c:pt>
                <c:pt idx="344">
                  <c:v>42867</c:v>
                </c:pt>
                <c:pt idx="345">
                  <c:v>42870</c:v>
                </c:pt>
                <c:pt idx="346">
                  <c:v>42871</c:v>
                </c:pt>
                <c:pt idx="347">
                  <c:v>42872</c:v>
                </c:pt>
                <c:pt idx="348">
                  <c:v>42873</c:v>
                </c:pt>
                <c:pt idx="349">
                  <c:v>42874</c:v>
                </c:pt>
                <c:pt idx="350">
                  <c:v>42877</c:v>
                </c:pt>
                <c:pt idx="351">
                  <c:v>42878</c:v>
                </c:pt>
                <c:pt idx="352">
                  <c:v>42879</c:v>
                </c:pt>
                <c:pt idx="353">
                  <c:v>42880</c:v>
                </c:pt>
                <c:pt idx="354">
                  <c:v>42881</c:v>
                </c:pt>
                <c:pt idx="355">
                  <c:v>42884</c:v>
                </c:pt>
                <c:pt idx="356">
                  <c:v>42885</c:v>
                </c:pt>
                <c:pt idx="357">
                  <c:v>42886</c:v>
                </c:pt>
                <c:pt idx="358">
                  <c:v>42887</c:v>
                </c:pt>
                <c:pt idx="359">
                  <c:v>42888</c:v>
                </c:pt>
                <c:pt idx="360">
                  <c:v>42891</c:v>
                </c:pt>
                <c:pt idx="361">
                  <c:v>42892</c:v>
                </c:pt>
                <c:pt idx="362">
                  <c:v>42893</c:v>
                </c:pt>
                <c:pt idx="363">
                  <c:v>42894</c:v>
                </c:pt>
                <c:pt idx="364">
                  <c:v>42895</c:v>
                </c:pt>
                <c:pt idx="365">
                  <c:v>42898</c:v>
                </c:pt>
                <c:pt idx="366">
                  <c:v>42899</c:v>
                </c:pt>
                <c:pt idx="367">
                  <c:v>42900</c:v>
                </c:pt>
                <c:pt idx="368">
                  <c:v>42901</c:v>
                </c:pt>
                <c:pt idx="369">
                  <c:v>42902</c:v>
                </c:pt>
                <c:pt idx="370">
                  <c:v>42905</c:v>
                </c:pt>
                <c:pt idx="371">
                  <c:v>42906</c:v>
                </c:pt>
                <c:pt idx="372">
                  <c:v>42907</c:v>
                </c:pt>
                <c:pt idx="373">
                  <c:v>42908</c:v>
                </c:pt>
                <c:pt idx="374">
                  <c:v>42909</c:v>
                </c:pt>
                <c:pt idx="375">
                  <c:v>42914</c:v>
                </c:pt>
                <c:pt idx="376">
                  <c:v>42915</c:v>
                </c:pt>
                <c:pt idx="377">
                  <c:v>42916</c:v>
                </c:pt>
                <c:pt idx="378">
                  <c:v>42919</c:v>
                </c:pt>
                <c:pt idx="379">
                  <c:v>42920</c:v>
                </c:pt>
                <c:pt idx="380">
                  <c:v>42921</c:v>
                </c:pt>
                <c:pt idx="381">
                  <c:v>42922</c:v>
                </c:pt>
                <c:pt idx="382">
                  <c:v>42923</c:v>
                </c:pt>
                <c:pt idx="383">
                  <c:v>42926</c:v>
                </c:pt>
                <c:pt idx="384">
                  <c:v>42927</c:v>
                </c:pt>
                <c:pt idx="385">
                  <c:v>42928</c:v>
                </c:pt>
                <c:pt idx="386">
                  <c:v>42929</c:v>
                </c:pt>
                <c:pt idx="387">
                  <c:v>42930</c:v>
                </c:pt>
                <c:pt idx="388">
                  <c:v>42933</c:v>
                </c:pt>
                <c:pt idx="389">
                  <c:v>42934</c:v>
                </c:pt>
                <c:pt idx="390">
                  <c:v>42935</c:v>
                </c:pt>
                <c:pt idx="391">
                  <c:v>42936</c:v>
                </c:pt>
                <c:pt idx="392">
                  <c:v>42937</c:v>
                </c:pt>
                <c:pt idx="393">
                  <c:v>42940</c:v>
                </c:pt>
                <c:pt idx="394">
                  <c:v>42942</c:v>
                </c:pt>
                <c:pt idx="395">
                  <c:v>42943</c:v>
                </c:pt>
                <c:pt idx="396">
                  <c:v>42944</c:v>
                </c:pt>
                <c:pt idx="397">
                  <c:v>42947</c:v>
                </c:pt>
                <c:pt idx="398">
                  <c:v>42948</c:v>
                </c:pt>
                <c:pt idx="399">
                  <c:v>42949</c:v>
                </c:pt>
                <c:pt idx="400">
                  <c:v>42950</c:v>
                </c:pt>
                <c:pt idx="401">
                  <c:v>42951</c:v>
                </c:pt>
                <c:pt idx="402">
                  <c:v>42954</c:v>
                </c:pt>
                <c:pt idx="403">
                  <c:v>42955</c:v>
                </c:pt>
                <c:pt idx="404">
                  <c:v>42956</c:v>
                </c:pt>
                <c:pt idx="405">
                  <c:v>42957</c:v>
                </c:pt>
                <c:pt idx="406">
                  <c:v>42958</c:v>
                </c:pt>
                <c:pt idx="407">
                  <c:v>42961</c:v>
                </c:pt>
                <c:pt idx="408">
                  <c:v>42962</c:v>
                </c:pt>
                <c:pt idx="409">
                  <c:v>42963</c:v>
                </c:pt>
                <c:pt idx="410">
                  <c:v>42964</c:v>
                </c:pt>
                <c:pt idx="411">
                  <c:v>42965</c:v>
                </c:pt>
                <c:pt idx="412">
                  <c:v>42968</c:v>
                </c:pt>
                <c:pt idx="413">
                  <c:v>42969</c:v>
                </c:pt>
                <c:pt idx="414">
                  <c:v>42970</c:v>
                </c:pt>
                <c:pt idx="415">
                  <c:v>42971</c:v>
                </c:pt>
                <c:pt idx="416">
                  <c:v>42972</c:v>
                </c:pt>
                <c:pt idx="417">
                  <c:v>42975</c:v>
                </c:pt>
                <c:pt idx="418">
                  <c:v>42976</c:v>
                </c:pt>
                <c:pt idx="419">
                  <c:v>42977</c:v>
                </c:pt>
                <c:pt idx="420">
                  <c:v>42978</c:v>
                </c:pt>
                <c:pt idx="421">
                  <c:v>42982</c:v>
                </c:pt>
                <c:pt idx="422">
                  <c:v>42983</c:v>
                </c:pt>
                <c:pt idx="423">
                  <c:v>42984</c:v>
                </c:pt>
                <c:pt idx="424">
                  <c:v>42985</c:v>
                </c:pt>
                <c:pt idx="425">
                  <c:v>42986</c:v>
                </c:pt>
                <c:pt idx="426">
                  <c:v>42989</c:v>
                </c:pt>
                <c:pt idx="427">
                  <c:v>42990</c:v>
                </c:pt>
                <c:pt idx="428">
                  <c:v>42991</c:v>
                </c:pt>
                <c:pt idx="429">
                  <c:v>42992</c:v>
                </c:pt>
                <c:pt idx="430">
                  <c:v>42993</c:v>
                </c:pt>
                <c:pt idx="431">
                  <c:v>42996</c:v>
                </c:pt>
                <c:pt idx="432">
                  <c:v>42997</c:v>
                </c:pt>
                <c:pt idx="433">
                  <c:v>42998</c:v>
                </c:pt>
                <c:pt idx="434">
                  <c:v>43000</c:v>
                </c:pt>
                <c:pt idx="435">
                  <c:v>43003</c:v>
                </c:pt>
                <c:pt idx="436">
                  <c:v>43004</c:v>
                </c:pt>
                <c:pt idx="437">
                  <c:v>43005</c:v>
                </c:pt>
                <c:pt idx="438">
                  <c:v>43006</c:v>
                </c:pt>
                <c:pt idx="439">
                  <c:v>43007</c:v>
                </c:pt>
                <c:pt idx="440">
                  <c:v>43010</c:v>
                </c:pt>
                <c:pt idx="441">
                  <c:v>43011</c:v>
                </c:pt>
                <c:pt idx="442">
                  <c:v>43012</c:v>
                </c:pt>
                <c:pt idx="443">
                  <c:v>43013</c:v>
                </c:pt>
                <c:pt idx="444">
                  <c:v>43014</c:v>
                </c:pt>
                <c:pt idx="445">
                  <c:v>43017</c:v>
                </c:pt>
                <c:pt idx="446">
                  <c:v>43018</c:v>
                </c:pt>
                <c:pt idx="447">
                  <c:v>43019</c:v>
                </c:pt>
                <c:pt idx="448">
                  <c:v>43020</c:v>
                </c:pt>
                <c:pt idx="449">
                  <c:v>43021</c:v>
                </c:pt>
                <c:pt idx="450">
                  <c:v>43024</c:v>
                </c:pt>
                <c:pt idx="451">
                  <c:v>43025</c:v>
                </c:pt>
                <c:pt idx="452">
                  <c:v>43026</c:v>
                </c:pt>
                <c:pt idx="453">
                  <c:v>43027</c:v>
                </c:pt>
                <c:pt idx="454">
                  <c:v>43028</c:v>
                </c:pt>
                <c:pt idx="455">
                  <c:v>43031</c:v>
                </c:pt>
                <c:pt idx="456">
                  <c:v>43032</c:v>
                </c:pt>
                <c:pt idx="457">
                  <c:v>43033</c:v>
                </c:pt>
                <c:pt idx="458">
                  <c:v>43034</c:v>
                </c:pt>
                <c:pt idx="459">
                  <c:v>43035</c:v>
                </c:pt>
                <c:pt idx="460">
                  <c:v>43038</c:v>
                </c:pt>
                <c:pt idx="461">
                  <c:v>43039</c:v>
                </c:pt>
                <c:pt idx="462">
                  <c:v>43040</c:v>
                </c:pt>
                <c:pt idx="463">
                  <c:v>43041</c:v>
                </c:pt>
                <c:pt idx="464">
                  <c:v>43042</c:v>
                </c:pt>
                <c:pt idx="465">
                  <c:v>43045</c:v>
                </c:pt>
                <c:pt idx="466">
                  <c:v>43046</c:v>
                </c:pt>
                <c:pt idx="467">
                  <c:v>43047</c:v>
                </c:pt>
                <c:pt idx="468">
                  <c:v>43048</c:v>
                </c:pt>
                <c:pt idx="469">
                  <c:v>43049</c:v>
                </c:pt>
                <c:pt idx="470">
                  <c:v>43052</c:v>
                </c:pt>
                <c:pt idx="471">
                  <c:v>43053</c:v>
                </c:pt>
                <c:pt idx="472">
                  <c:v>43054</c:v>
                </c:pt>
                <c:pt idx="473">
                  <c:v>43055</c:v>
                </c:pt>
                <c:pt idx="474">
                  <c:v>43056</c:v>
                </c:pt>
                <c:pt idx="475">
                  <c:v>43059</c:v>
                </c:pt>
                <c:pt idx="476">
                  <c:v>43060</c:v>
                </c:pt>
                <c:pt idx="477">
                  <c:v>43061</c:v>
                </c:pt>
                <c:pt idx="478">
                  <c:v>43062</c:v>
                </c:pt>
                <c:pt idx="479">
                  <c:v>43063</c:v>
                </c:pt>
                <c:pt idx="480">
                  <c:v>43066</c:v>
                </c:pt>
                <c:pt idx="481">
                  <c:v>43067</c:v>
                </c:pt>
                <c:pt idx="482">
                  <c:v>43068</c:v>
                </c:pt>
                <c:pt idx="483">
                  <c:v>43069</c:v>
                </c:pt>
                <c:pt idx="484">
                  <c:v>43073</c:v>
                </c:pt>
                <c:pt idx="485">
                  <c:v>43074</c:v>
                </c:pt>
                <c:pt idx="486">
                  <c:v>43075</c:v>
                </c:pt>
                <c:pt idx="487">
                  <c:v>43076</c:v>
                </c:pt>
                <c:pt idx="488">
                  <c:v>43077</c:v>
                </c:pt>
                <c:pt idx="489">
                  <c:v>43080</c:v>
                </c:pt>
                <c:pt idx="490">
                  <c:v>43081</c:v>
                </c:pt>
                <c:pt idx="491">
                  <c:v>43082</c:v>
                </c:pt>
                <c:pt idx="492">
                  <c:v>43083</c:v>
                </c:pt>
                <c:pt idx="493">
                  <c:v>43084</c:v>
                </c:pt>
                <c:pt idx="494">
                  <c:v>43087</c:v>
                </c:pt>
                <c:pt idx="495">
                  <c:v>43088</c:v>
                </c:pt>
                <c:pt idx="496">
                  <c:v>43089</c:v>
                </c:pt>
                <c:pt idx="497">
                  <c:v>43090</c:v>
                </c:pt>
                <c:pt idx="498">
                  <c:v>43091</c:v>
                </c:pt>
                <c:pt idx="499">
                  <c:v>43094</c:v>
                </c:pt>
                <c:pt idx="500">
                  <c:v>43095</c:v>
                </c:pt>
                <c:pt idx="501">
                  <c:v>43096</c:v>
                </c:pt>
                <c:pt idx="502">
                  <c:v>43097</c:v>
                </c:pt>
                <c:pt idx="503">
                  <c:v>43098</c:v>
                </c:pt>
                <c:pt idx="504">
                  <c:v>43102</c:v>
                </c:pt>
                <c:pt idx="505">
                  <c:v>43103</c:v>
                </c:pt>
                <c:pt idx="506">
                  <c:v>43104</c:v>
                </c:pt>
                <c:pt idx="507">
                  <c:v>43105</c:v>
                </c:pt>
                <c:pt idx="508">
                  <c:v>43108</c:v>
                </c:pt>
                <c:pt idx="509">
                  <c:v>43109</c:v>
                </c:pt>
                <c:pt idx="510">
                  <c:v>43110</c:v>
                </c:pt>
                <c:pt idx="511">
                  <c:v>43111</c:v>
                </c:pt>
                <c:pt idx="512">
                  <c:v>43112</c:v>
                </c:pt>
                <c:pt idx="513">
                  <c:v>43115</c:v>
                </c:pt>
                <c:pt idx="514">
                  <c:v>43116</c:v>
                </c:pt>
                <c:pt idx="515">
                  <c:v>43117</c:v>
                </c:pt>
                <c:pt idx="516">
                  <c:v>43118</c:v>
                </c:pt>
                <c:pt idx="517">
                  <c:v>43119</c:v>
                </c:pt>
                <c:pt idx="518">
                  <c:v>43122</c:v>
                </c:pt>
                <c:pt idx="519">
                  <c:v>43123</c:v>
                </c:pt>
                <c:pt idx="520">
                  <c:v>43124</c:v>
                </c:pt>
                <c:pt idx="521">
                  <c:v>43125</c:v>
                </c:pt>
                <c:pt idx="522">
                  <c:v>43126</c:v>
                </c:pt>
                <c:pt idx="523">
                  <c:v>43129</c:v>
                </c:pt>
                <c:pt idx="524">
                  <c:v>43130</c:v>
                </c:pt>
                <c:pt idx="525">
                  <c:v>43131</c:v>
                </c:pt>
                <c:pt idx="526">
                  <c:v>43132</c:v>
                </c:pt>
                <c:pt idx="527">
                  <c:v>43133</c:v>
                </c:pt>
                <c:pt idx="528">
                  <c:v>43136</c:v>
                </c:pt>
                <c:pt idx="529">
                  <c:v>43137</c:v>
                </c:pt>
                <c:pt idx="530">
                  <c:v>43138</c:v>
                </c:pt>
                <c:pt idx="531">
                  <c:v>43139</c:v>
                </c:pt>
                <c:pt idx="532">
                  <c:v>43140</c:v>
                </c:pt>
                <c:pt idx="533">
                  <c:v>43143</c:v>
                </c:pt>
                <c:pt idx="534">
                  <c:v>43144</c:v>
                </c:pt>
                <c:pt idx="535">
                  <c:v>43145</c:v>
                </c:pt>
                <c:pt idx="536">
                  <c:v>43146</c:v>
                </c:pt>
                <c:pt idx="537">
                  <c:v>43147</c:v>
                </c:pt>
                <c:pt idx="538">
                  <c:v>43150</c:v>
                </c:pt>
                <c:pt idx="539">
                  <c:v>43151</c:v>
                </c:pt>
                <c:pt idx="540">
                  <c:v>43152</c:v>
                </c:pt>
                <c:pt idx="541">
                  <c:v>43153</c:v>
                </c:pt>
                <c:pt idx="542">
                  <c:v>43154</c:v>
                </c:pt>
                <c:pt idx="543">
                  <c:v>43157</c:v>
                </c:pt>
                <c:pt idx="544">
                  <c:v>43158</c:v>
                </c:pt>
                <c:pt idx="545">
                  <c:v>43159</c:v>
                </c:pt>
                <c:pt idx="546">
                  <c:v>43160</c:v>
                </c:pt>
                <c:pt idx="547">
                  <c:v>43161</c:v>
                </c:pt>
                <c:pt idx="548">
                  <c:v>43164</c:v>
                </c:pt>
                <c:pt idx="549">
                  <c:v>43165</c:v>
                </c:pt>
                <c:pt idx="550">
                  <c:v>43166</c:v>
                </c:pt>
                <c:pt idx="551">
                  <c:v>43167</c:v>
                </c:pt>
                <c:pt idx="552">
                  <c:v>43168</c:v>
                </c:pt>
                <c:pt idx="553">
                  <c:v>43171</c:v>
                </c:pt>
                <c:pt idx="554">
                  <c:v>43172</c:v>
                </c:pt>
                <c:pt idx="555">
                  <c:v>43173</c:v>
                </c:pt>
                <c:pt idx="556">
                  <c:v>43174</c:v>
                </c:pt>
                <c:pt idx="557">
                  <c:v>43175</c:v>
                </c:pt>
                <c:pt idx="558">
                  <c:v>43178</c:v>
                </c:pt>
                <c:pt idx="559">
                  <c:v>43180</c:v>
                </c:pt>
                <c:pt idx="560">
                  <c:v>43181</c:v>
                </c:pt>
                <c:pt idx="561">
                  <c:v>43182</c:v>
                </c:pt>
                <c:pt idx="562">
                  <c:v>43185</c:v>
                </c:pt>
                <c:pt idx="563">
                  <c:v>43186</c:v>
                </c:pt>
                <c:pt idx="564">
                  <c:v>43187</c:v>
                </c:pt>
                <c:pt idx="565">
                  <c:v>43188</c:v>
                </c:pt>
                <c:pt idx="566">
                  <c:v>43189</c:v>
                </c:pt>
                <c:pt idx="567">
                  <c:v>43192</c:v>
                </c:pt>
                <c:pt idx="568">
                  <c:v>43193</c:v>
                </c:pt>
                <c:pt idx="569">
                  <c:v>43194</c:v>
                </c:pt>
                <c:pt idx="570">
                  <c:v>43195</c:v>
                </c:pt>
                <c:pt idx="571">
                  <c:v>43196</c:v>
                </c:pt>
                <c:pt idx="572">
                  <c:v>43200</c:v>
                </c:pt>
                <c:pt idx="573">
                  <c:v>43201</c:v>
                </c:pt>
                <c:pt idx="574">
                  <c:v>43202</c:v>
                </c:pt>
                <c:pt idx="575">
                  <c:v>43203</c:v>
                </c:pt>
                <c:pt idx="576">
                  <c:v>43206</c:v>
                </c:pt>
                <c:pt idx="577">
                  <c:v>43207</c:v>
                </c:pt>
                <c:pt idx="578">
                  <c:v>43208</c:v>
                </c:pt>
                <c:pt idx="579">
                  <c:v>43209</c:v>
                </c:pt>
                <c:pt idx="580">
                  <c:v>43210</c:v>
                </c:pt>
                <c:pt idx="581">
                  <c:v>43213</c:v>
                </c:pt>
                <c:pt idx="582">
                  <c:v>43214</c:v>
                </c:pt>
                <c:pt idx="583">
                  <c:v>43215</c:v>
                </c:pt>
                <c:pt idx="584">
                  <c:v>43216</c:v>
                </c:pt>
                <c:pt idx="585">
                  <c:v>43217</c:v>
                </c:pt>
                <c:pt idx="586">
                  <c:v>43220</c:v>
                </c:pt>
                <c:pt idx="587">
                  <c:v>43222</c:v>
                </c:pt>
                <c:pt idx="588">
                  <c:v>43223</c:v>
                </c:pt>
                <c:pt idx="589">
                  <c:v>43224</c:v>
                </c:pt>
                <c:pt idx="590">
                  <c:v>43227</c:v>
                </c:pt>
                <c:pt idx="591">
                  <c:v>43228</c:v>
                </c:pt>
                <c:pt idx="592">
                  <c:v>43229</c:v>
                </c:pt>
                <c:pt idx="593">
                  <c:v>43230</c:v>
                </c:pt>
                <c:pt idx="594">
                  <c:v>43231</c:v>
                </c:pt>
                <c:pt idx="595">
                  <c:v>43234</c:v>
                </c:pt>
                <c:pt idx="596">
                  <c:v>43235</c:v>
                </c:pt>
                <c:pt idx="597">
                  <c:v>43236</c:v>
                </c:pt>
                <c:pt idx="598">
                  <c:v>43237</c:v>
                </c:pt>
                <c:pt idx="599">
                  <c:v>43238</c:v>
                </c:pt>
                <c:pt idx="600">
                  <c:v>43241</c:v>
                </c:pt>
                <c:pt idx="601">
                  <c:v>43242</c:v>
                </c:pt>
                <c:pt idx="602">
                  <c:v>43243</c:v>
                </c:pt>
                <c:pt idx="603">
                  <c:v>43244</c:v>
                </c:pt>
                <c:pt idx="604">
                  <c:v>43245</c:v>
                </c:pt>
                <c:pt idx="605">
                  <c:v>43248</c:v>
                </c:pt>
                <c:pt idx="606">
                  <c:v>43249</c:v>
                </c:pt>
                <c:pt idx="607">
                  <c:v>43250</c:v>
                </c:pt>
                <c:pt idx="608">
                  <c:v>43251</c:v>
                </c:pt>
                <c:pt idx="609">
                  <c:v>43252</c:v>
                </c:pt>
                <c:pt idx="610">
                  <c:v>43255</c:v>
                </c:pt>
                <c:pt idx="611">
                  <c:v>43256</c:v>
                </c:pt>
                <c:pt idx="612">
                  <c:v>43257</c:v>
                </c:pt>
                <c:pt idx="613">
                  <c:v>43258</c:v>
                </c:pt>
                <c:pt idx="614">
                  <c:v>43259</c:v>
                </c:pt>
                <c:pt idx="615">
                  <c:v>43262</c:v>
                </c:pt>
                <c:pt idx="616">
                  <c:v>43263</c:v>
                </c:pt>
                <c:pt idx="617">
                  <c:v>43264</c:v>
                </c:pt>
                <c:pt idx="618">
                  <c:v>43265</c:v>
                </c:pt>
                <c:pt idx="619">
                  <c:v>43269</c:v>
                </c:pt>
                <c:pt idx="620">
                  <c:v>43270</c:v>
                </c:pt>
                <c:pt idx="621">
                  <c:v>43271</c:v>
                </c:pt>
                <c:pt idx="622">
                  <c:v>43272</c:v>
                </c:pt>
                <c:pt idx="623">
                  <c:v>43273</c:v>
                </c:pt>
                <c:pt idx="624">
                  <c:v>43276</c:v>
                </c:pt>
                <c:pt idx="625">
                  <c:v>43277</c:v>
                </c:pt>
                <c:pt idx="626">
                  <c:v>43278</c:v>
                </c:pt>
                <c:pt idx="627">
                  <c:v>43279</c:v>
                </c:pt>
                <c:pt idx="628">
                  <c:v>43280</c:v>
                </c:pt>
                <c:pt idx="629">
                  <c:v>43283</c:v>
                </c:pt>
                <c:pt idx="630">
                  <c:v>43284</c:v>
                </c:pt>
                <c:pt idx="631">
                  <c:v>43285</c:v>
                </c:pt>
                <c:pt idx="632">
                  <c:v>43286</c:v>
                </c:pt>
                <c:pt idx="633">
                  <c:v>43287</c:v>
                </c:pt>
                <c:pt idx="634">
                  <c:v>43290</c:v>
                </c:pt>
                <c:pt idx="635">
                  <c:v>43291</c:v>
                </c:pt>
                <c:pt idx="636">
                  <c:v>43292</c:v>
                </c:pt>
                <c:pt idx="637">
                  <c:v>43293</c:v>
                </c:pt>
                <c:pt idx="638">
                  <c:v>43294</c:v>
                </c:pt>
                <c:pt idx="639">
                  <c:v>43297</c:v>
                </c:pt>
                <c:pt idx="640">
                  <c:v>43298</c:v>
                </c:pt>
                <c:pt idx="641">
                  <c:v>43299</c:v>
                </c:pt>
                <c:pt idx="642">
                  <c:v>43300</c:v>
                </c:pt>
                <c:pt idx="643">
                  <c:v>43301</c:v>
                </c:pt>
                <c:pt idx="644">
                  <c:v>43304</c:v>
                </c:pt>
                <c:pt idx="645">
                  <c:v>43305</c:v>
                </c:pt>
                <c:pt idx="646">
                  <c:v>43307</c:v>
                </c:pt>
                <c:pt idx="647">
                  <c:v>43308</c:v>
                </c:pt>
                <c:pt idx="648">
                  <c:v>43311</c:v>
                </c:pt>
                <c:pt idx="649">
                  <c:v>43312</c:v>
                </c:pt>
                <c:pt idx="650">
                  <c:v>43313</c:v>
                </c:pt>
                <c:pt idx="651">
                  <c:v>43314</c:v>
                </c:pt>
                <c:pt idx="652">
                  <c:v>43315</c:v>
                </c:pt>
                <c:pt idx="653">
                  <c:v>43318</c:v>
                </c:pt>
                <c:pt idx="654">
                  <c:v>43319</c:v>
                </c:pt>
                <c:pt idx="655">
                  <c:v>43320</c:v>
                </c:pt>
                <c:pt idx="656">
                  <c:v>43321</c:v>
                </c:pt>
                <c:pt idx="657">
                  <c:v>43322</c:v>
                </c:pt>
                <c:pt idx="658">
                  <c:v>43326</c:v>
                </c:pt>
                <c:pt idx="659">
                  <c:v>43327</c:v>
                </c:pt>
                <c:pt idx="660">
                  <c:v>43328</c:v>
                </c:pt>
                <c:pt idx="661">
                  <c:v>43329</c:v>
                </c:pt>
                <c:pt idx="662">
                  <c:v>43332</c:v>
                </c:pt>
                <c:pt idx="663">
                  <c:v>43335</c:v>
                </c:pt>
                <c:pt idx="664">
                  <c:v>43336</c:v>
                </c:pt>
                <c:pt idx="665">
                  <c:v>43339</c:v>
                </c:pt>
                <c:pt idx="666">
                  <c:v>43340</c:v>
                </c:pt>
                <c:pt idx="667">
                  <c:v>43341</c:v>
                </c:pt>
                <c:pt idx="668">
                  <c:v>43342</c:v>
                </c:pt>
                <c:pt idx="669">
                  <c:v>43343</c:v>
                </c:pt>
                <c:pt idx="670">
                  <c:v>43346</c:v>
                </c:pt>
                <c:pt idx="671">
                  <c:v>43347</c:v>
                </c:pt>
                <c:pt idx="672">
                  <c:v>43348</c:v>
                </c:pt>
                <c:pt idx="673">
                  <c:v>43349</c:v>
                </c:pt>
                <c:pt idx="674">
                  <c:v>43350</c:v>
                </c:pt>
                <c:pt idx="675">
                  <c:v>43353</c:v>
                </c:pt>
                <c:pt idx="676">
                  <c:v>43355</c:v>
                </c:pt>
                <c:pt idx="677">
                  <c:v>43356</c:v>
                </c:pt>
                <c:pt idx="678">
                  <c:v>43357</c:v>
                </c:pt>
                <c:pt idx="679">
                  <c:v>43360</c:v>
                </c:pt>
                <c:pt idx="680">
                  <c:v>43361</c:v>
                </c:pt>
                <c:pt idx="681">
                  <c:v>43362</c:v>
                </c:pt>
                <c:pt idx="682">
                  <c:v>43363</c:v>
                </c:pt>
                <c:pt idx="683">
                  <c:v>43364</c:v>
                </c:pt>
                <c:pt idx="684">
                  <c:v>43367</c:v>
                </c:pt>
                <c:pt idx="685">
                  <c:v>43368</c:v>
                </c:pt>
                <c:pt idx="686">
                  <c:v>43369</c:v>
                </c:pt>
                <c:pt idx="687">
                  <c:v>43370</c:v>
                </c:pt>
                <c:pt idx="688">
                  <c:v>43371</c:v>
                </c:pt>
                <c:pt idx="689">
                  <c:v>43374</c:v>
                </c:pt>
                <c:pt idx="690">
                  <c:v>43375</c:v>
                </c:pt>
                <c:pt idx="691">
                  <c:v>43376</c:v>
                </c:pt>
                <c:pt idx="692">
                  <c:v>43377</c:v>
                </c:pt>
                <c:pt idx="693">
                  <c:v>43378</c:v>
                </c:pt>
                <c:pt idx="694">
                  <c:v>43381</c:v>
                </c:pt>
                <c:pt idx="695">
                  <c:v>43382</c:v>
                </c:pt>
                <c:pt idx="696">
                  <c:v>43383</c:v>
                </c:pt>
                <c:pt idx="697">
                  <c:v>43384</c:v>
                </c:pt>
                <c:pt idx="698">
                  <c:v>43385</c:v>
                </c:pt>
                <c:pt idx="699">
                  <c:v>43389</c:v>
                </c:pt>
                <c:pt idx="700">
                  <c:v>43390</c:v>
                </c:pt>
                <c:pt idx="701">
                  <c:v>43391</c:v>
                </c:pt>
                <c:pt idx="702">
                  <c:v>43392</c:v>
                </c:pt>
                <c:pt idx="703">
                  <c:v>43395</c:v>
                </c:pt>
                <c:pt idx="704">
                  <c:v>43396</c:v>
                </c:pt>
                <c:pt idx="705">
                  <c:v>43397</c:v>
                </c:pt>
                <c:pt idx="706">
                  <c:v>43398</c:v>
                </c:pt>
                <c:pt idx="707">
                  <c:v>43399</c:v>
                </c:pt>
                <c:pt idx="708">
                  <c:v>43402</c:v>
                </c:pt>
                <c:pt idx="709">
                  <c:v>43403</c:v>
                </c:pt>
                <c:pt idx="710">
                  <c:v>43404</c:v>
                </c:pt>
                <c:pt idx="711">
                  <c:v>43405</c:v>
                </c:pt>
                <c:pt idx="712">
                  <c:v>43406</c:v>
                </c:pt>
                <c:pt idx="713">
                  <c:v>43409</c:v>
                </c:pt>
                <c:pt idx="714">
                  <c:v>43410</c:v>
                </c:pt>
                <c:pt idx="715">
                  <c:v>43411</c:v>
                </c:pt>
                <c:pt idx="716">
                  <c:v>43412</c:v>
                </c:pt>
                <c:pt idx="717">
                  <c:v>43413</c:v>
                </c:pt>
                <c:pt idx="718">
                  <c:v>43416</c:v>
                </c:pt>
                <c:pt idx="719">
                  <c:v>43417</c:v>
                </c:pt>
                <c:pt idx="720">
                  <c:v>43418</c:v>
                </c:pt>
                <c:pt idx="721">
                  <c:v>43419</c:v>
                </c:pt>
                <c:pt idx="722">
                  <c:v>43420</c:v>
                </c:pt>
                <c:pt idx="723">
                  <c:v>43423</c:v>
                </c:pt>
                <c:pt idx="724">
                  <c:v>43425</c:v>
                </c:pt>
                <c:pt idx="725">
                  <c:v>43426</c:v>
                </c:pt>
                <c:pt idx="726">
                  <c:v>43427</c:v>
                </c:pt>
                <c:pt idx="727">
                  <c:v>43430</c:v>
                </c:pt>
                <c:pt idx="728">
                  <c:v>43431</c:v>
                </c:pt>
                <c:pt idx="729">
                  <c:v>43432</c:v>
                </c:pt>
                <c:pt idx="730">
                  <c:v>43433</c:v>
                </c:pt>
                <c:pt idx="731">
                  <c:v>43434</c:v>
                </c:pt>
                <c:pt idx="732">
                  <c:v>43437</c:v>
                </c:pt>
                <c:pt idx="733">
                  <c:v>43438</c:v>
                </c:pt>
                <c:pt idx="734">
                  <c:v>43439</c:v>
                </c:pt>
                <c:pt idx="735">
                  <c:v>43440</c:v>
                </c:pt>
                <c:pt idx="736">
                  <c:v>43441</c:v>
                </c:pt>
                <c:pt idx="737">
                  <c:v>43444</c:v>
                </c:pt>
                <c:pt idx="738">
                  <c:v>43445</c:v>
                </c:pt>
                <c:pt idx="739">
                  <c:v>43446</c:v>
                </c:pt>
                <c:pt idx="740">
                  <c:v>43447</c:v>
                </c:pt>
                <c:pt idx="741">
                  <c:v>43448</c:v>
                </c:pt>
                <c:pt idx="742">
                  <c:v>43451</c:v>
                </c:pt>
                <c:pt idx="743">
                  <c:v>43452</c:v>
                </c:pt>
                <c:pt idx="744">
                  <c:v>43453</c:v>
                </c:pt>
                <c:pt idx="745">
                  <c:v>43454</c:v>
                </c:pt>
                <c:pt idx="746">
                  <c:v>43455</c:v>
                </c:pt>
                <c:pt idx="747">
                  <c:v>43458</c:v>
                </c:pt>
                <c:pt idx="748">
                  <c:v>43459</c:v>
                </c:pt>
                <c:pt idx="749">
                  <c:v>43460</c:v>
                </c:pt>
                <c:pt idx="750">
                  <c:v>43461</c:v>
                </c:pt>
                <c:pt idx="751">
                  <c:v>43462</c:v>
                </c:pt>
                <c:pt idx="752">
                  <c:v>43465</c:v>
                </c:pt>
                <c:pt idx="753">
                  <c:v>43467</c:v>
                </c:pt>
                <c:pt idx="754">
                  <c:v>43468</c:v>
                </c:pt>
                <c:pt idx="755">
                  <c:v>43469</c:v>
                </c:pt>
                <c:pt idx="756">
                  <c:v>43472</c:v>
                </c:pt>
                <c:pt idx="757">
                  <c:v>43473</c:v>
                </c:pt>
                <c:pt idx="758">
                  <c:v>43474</c:v>
                </c:pt>
                <c:pt idx="759">
                  <c:v>43475</c:v>
                </c:pt>
                <c:pt idx="760">
                  <c:v>43476</c:v>
                </c:pt>
                <c:pt idx="761">
                  <c:v>43480</c:v>
                </c:pt>
                <c:pt idx="762">
                  <c:v>43481</c:v>
                </c:pt>
                <c:pt idx="763">
                  <c:v>43482</c:v>
                </c:pt>
                <c:pt idx="764">
                  <c:v>43483</c:v>
                </c:pt>
                <c:pt idx="765">
                  <c:v>43486</c:v>
                </c:pt>
                <c:pt idx="766">
                  <c:v>43487</c:v>
                </c:pt>
                <c:pt idx="767">
                  <c:v>43488</c:v>
                </c:pt>
                <c:pt idx="768">
                  <c:v>43489</c:v>
                </c:pt>
                <c:pt idx="769">
                  <c:v>43490</c:v>
                </c:pt>
                <c:pt idx="770">
                  <c:v>43493</c:v>
                </c:pt>
                <c:pt idx="771">
                  <c:v>43494</c:v>
                </c:pt>
                <c:pt idx="772">
                  <c:v>43495</c:v>
                </c:pt>
                <c:pt idx="773">
                  <c:v>43496</c:v>
                </c:pt>
                <c:pt idx="774">
                  <c:v>43497</c:v>
                </c:pt>
                <c:pt idx="775">
                  <c:v>43500</c:v>
                </c:pt>
                <c:pt idx="776">
                  <c:v>43501</c:v>
                </c:pt>
                <c:pt idx="777">
                  <c:v>43502</c:v>
                </c:pt>
                <c:pt idx="778">
                  <c:v>43503</c:v>
                </c:pt>
                <c:pt idx="779">
                  <c:v>43504</c:v>
                </c:pt>
                <c:pt idx="780">
                  <c:v>43507</c:v>
                </c:pt>
                <c:pt idx="781">
                  <c:v>43508</c:v>
                </c:pt>
                <c:pt idx="782">
                  <c:v>43509</c:v>
                </c:pt>
                <c:pt idx="783">
                  <c:v>43510</c:v>
                </c:pt>
                <c:pt idx="784">
                  <c:v>43511</c:v>
                </c:pt>
                <c:pt idx="785">
                  <c:v>43514</c:v>
                </c:pt>
                <c:pt idx="786">
                  <c:v>43515</c:v>
                </c:pt>
                <c:pt idx="787">
                  <c:v>43516</c:v>
                </c:pt>
                <c:pt idx="788">
                  <c:v>43517</c:v>
                </c:pt>
                <c:pt idx="789">
                  <c:v>43518</c:v>
                </c:pt>
                <c:pt idx="790">
                  <c:v>43521</c:v>
                </c:pt>
                <c:pt idx="791">
                  <c:v>43522</c:v>
                </c:pt>
                <c:pt idx="792">
                  <c:v>43523</c:v>
                </c:pt>
                <c:pt idx="793">
                  <c:v>43524</c:v>
                </c:pt>
                <c:pt idx="794">
                  <c:v>43525</c:v>
                </c:pt>
                <c:pt idx="795">
                  <c:v>43528</c:v>
                </c:pt>
                <c:pt idx="796">
                  <c:v>43529</c:v>
                </c:pt>
                <c:pt idx="797">
                  <c:v>43530</c:v>
                </c:pt>
                <c:pt idx="798">
                  <c:v>43531</c:v>
                </c:pt>
                <c:pt idx="799">
                  <c:v>43532</c:v>
                </c:pt>
                <c:pt idx="800">
                  <c:v>43535</c:v>
                </c:pt>
                <c:pt idx="801">
                  <c:v>43536</c:v>
                </c:pt>
                <c:pt idx="802">
                  <c:v>43537</c:v>
                </c:pt>
                <c:pt idx="803">
                  <c:v>43538</c:v>
                </c:pt>
                <c:pt idx="804">
                  <c:v>43539</c:v>
                </c:pt>
                <c:pt idx="805">
                  <c:v>43542</c:v>
                </c:pt>
                <c:pt idx="806">
                  <c:v>43543</c:v>
                </c:pt>
                <c:pt idx="807">
                  <c:v>43545</c:v>
                </c:pt>
                <c:pt idx="808">
                  <c:v>43546</c:v>
                </c:pt>
                <c:pt idx="809">
                  <c:v>43549</c:v>
                </c:pt>
                <c:pt idx="810">
                  <c:v>43550</c:v>
                </c:pt>
                <c:pt idx="811">
                  <c:v>43551</c:v>
                </c:pt>
                <c:pt idx="812">
                  <c:v>43552</c:v>
                </c:pt>
                <c:pt idx="813">
                  <c:v>43553</c:v>
                </c:pt>
                <c:pt idx="814">
                  <c:v>43556</c:v>
                </c:pt>
                <c:pt idx="815">
                  <c:v>43557</c:v>
                </c:pt>
                <c:pt idx="816">
                  <c:v>43558</c:v>
                </c:pt>
                <c:pt idx="817">
                  <c:v>43559</c:v>
                </c:pt>
                <c:pt idx="818">
                  <c:v>43560</c:v>
                </c:pt>
                <c:pt idx="819">
                  <c:v>43563</c:v>
                </c:pt>
                <c:pt idx="820">
                  <c:v>43565</c:v>
                </c:pt>
                <c:pt idx="821">
                  <c:v>43566</c:v>
                </c:pt>
                <c:pt idx="822">
                  <c:v>43567</c:v>
                </c:pt>
                <c:pt idx="823">
                  <c:v>43570</c:v>
                </c:pt>
                <c:pt idx="824">
                  <c:v>43571</c:v>
                </c:pt>
                <c:pt idx="825">
                  <c:v>43572</c:v>
                </c:pt>
                <c:pt idx="826">
                  <c:v>43573</c:v>
                </c:pt>
                <c:pt idx="827">
                  <c:v>43574</c:v>
                </c:pt>
                <c:pt idx="828">
                  <c:v>43577</c:v>
                </c:pt>
                <c:pt idx="829">
                  <c:v>43578</c:v>
                </c:pt>
                <c:pt idx="830">
                  <c:v>43579</c:v>
                </c:pt>
                <c:pt idx="831">
                  <c:v>43580</c:v>
                </c:pt>
                <c:pt idx="832">
                  <c:v>43581</c:v>
                </c:pt>
                <c:pt idx="833">
                  <c:v>43584</c:v>
                </c:pt>
                <c:pt idx="834">
                  <c:v>43585</c:v>
                </c:pt>
                <c:pt idx="835">
                  <c:v>43587</c:v>
                </c:pt>
                <c:pt idx="836">
                  <c:v>43588</c:v>
                </c:pt>
                <c:pt idx="837">
                  <c:v>43591</c:v>
                </c:pt>
                <c:pt idx="838">
                  <c:v>43592</c:v>
                </c:pt>
                <c:pt idx="839">
                  <c:v>43593</c:v>
                </c:pt>
                <c:pt idx="840">
                  <c:v>43594</c:v>
                </c:pt>
                <c:pt idx="841">
                  <c:v>43595</c:v>
                </c:pt>
                <c:pt idx="842">
                  <c:v>43598</c:v>
                </c:pt>
                <c:pt idx="843">
                  <c:v>43599</c:v>
                </c:pt>
                <c:pt idx="844">
                  <c:v>43600</c:v>
                </c:pt>
                <c:pt idx="845">
                  <c:v>43601</c:v>
                </c:pt>
                <c:pt idx="846">
                  <c:v>43602</c:v>
                </c:pt>
                <c:pt idx="847">
                  <c:v>43605</c:v>
                </c:pt>
                <c:pt idx="848">
                  <c:v>43606</c:v>
                </c:pt>
                <c:pt idx="849">
                  <c:v>43607</c:v>
                </c:pt>
                <c:pt idx="850">
                  <c:v>43608</c:v>
                </c:pt>
                <c:pt idx="851">
                  <c:v>43609</c:v>
                </c:pt>
                <c:pt idx="852">
                  <c:v>43612</c:v>
                </c:pt>
                <c:pt idx="853">
                  <c:v>43613</c:v>
                </c:pt>
                <c:pt idx="854">
                  <c:v>43614</c:v>
                </c:pt>
                <c:pt idx="855">
                  <c:v>43615</c:v>
                </c:pt>
                <c:pt idx="856">
                  <c:v>43616</c:v>
                </c:pt>
                <c:pt idx="857">
                  <c:v>43619</c:v>
                </c:pt>
                <c:pt idx="858">
                  <c:v>43623</c:v>
                </c:pt>
                <c:pt idx="859">
                  <c:v>43626</c:v>
                </c:pt>
                <c:pt idx="860">
                  <c:v>43627</c:v>
                </c:pt>
                <c:pt idx="861">
                  <c:v>43628</c:v>
                </c:pt>
                <c:pt idx="862">
                  <c:v>43629</c:v>
                </c:pt>
                <c:pt idx="863">
                  <c:v>43630</c:v>
                </c:pt>
                <c:pt idx="864">
                  <c:v>43633</c:v>
                </c:pt>
                <c:pt idx="865">
                  <c:v>43634</c:v>
                </c:pt>
                <c:pt idx="866">
                  <c:v>43635</c:v>
                </c:pt>
                <c:pt idx="867">
                  <c:v>43636</c:v>
                </c:pt>
                <c:pt idx="868">
                  <c:v>43637</c:v>
                </c:pt>
                <c:pt idx="869">
                  <c:v>43640</c:v>
                </c:pt>
                <c:pt idx="870">
                  <c:v>43641</c:v>
                </c:pt>
                <c:pt idx="871">
                  <c:v>43642</c:v>
                </c:pt>
                <c:pt idx="872">
                  <c:v>43643</c:v>
                </c:pt>
                <c:pt idx="873">
                  <c:v>43644</c:v>
                </c:pt>
                <c:pt idx="874">
                  <c:v>43647</c:v>
                </c:pt>
                <c:pt idx="875">
                  <c:v>43648</c:v>
                </c:pt>
                <c:pt idx="876">
                  <c:v>43649</c:v>
                </c:pt>
                <c:pt idx="877">
                  <c:v>43650</c:v>
                </c:pt>
                <c:pt idx="878">
                  <c:v>43651</c:v>
                </c:pt>
                <c:pt idx="879">
                  <c:v>43654</c:v>
                </c:pt>
                <c:pt idx="880">
                  <c:v>43655</c:v>
                </c:pt>
                <c:pt idx="881">
                  <c:v>43656</c:v>
                </c:pt>
                <c:pt idx="882">
                  <c:v>43657</c:v>
                </c:pt>
                <c:pt idx="883">
                  <c:v>43658</c:v>
                </c:pt>
                <c:pt idx="884">
                  <c:v>43661</c:v>
                </c:pt>
                <c:pt idx="885">
                  <c:v>43662</c:v>
                </c:pt>
                <c:pt idx="886">
                  <c:v>43663</c:v>
                </c:pt>
                <c:pt idx="887">
                  <c:v>43664</c:v>
                </c:pt>
                <c:pt idx="888">
                  <c:v>43665</c:v>
                </c:pt>
                <c:pt idx="889">
                  <c:v>43668</c:v>
                </c:pt>
                <c:pt idx="890">
                  <c:v>43669</c:v>
                </c:pt>
                <c:pt idx="891">
                  <c:v>43670</c:v>
                </c:pt>
                <c:pt idx="892">
                  <c:v>43672</c:v>
                </c:pt>
                <c:pt idx="893">
                  <c:v>43675</c:v>
                </c:pt>
                <c:pt idx="894">
                  <c:v>43676</c:v>
                </c:pt>
                <c:pt idx="895">
                  <c:v>43677</c:v>
                </c:pt>
                <c:pt idx="896">
                  <c:v>43678</c:v>
                </c:pt>
                <c:pt idx="897">
                  <c:v>43679</c:v>
                </c:pt>
                <c:pt idx="898">
                  <c:v>43682</c:v>
                </c:pt>
                <c:pt idx="899">
                  <c:v>43683</c:v>
                </c:pt>
                <c:pt idx="900">
                  <c:v>43684</c:v>
                </c:pt>
                <c:pt idx="901">
                  <c:v>43685</c:v>
                </c:pt>
                <c:pt idx="902">
                  <c:v>43686</c:v>
                </c:pt>
                <c:pt idx="903">
                  <c:v>43691</c:v>
                </c:pt>
                <c:pt idx="904">
                  <c:v>43692</c:v>
                </c:pt>
                <c:pt idx="905">
                  <c:v>43693</c:v>
                </c:pt>
                <c:pt idx="906">
                  <c:v>43696</c:v>
                </c:pt>
                <c:pt idx="907">
                  <c:v>43697</c:v>
                </c:pt>
                <c:pt idx="908">
                  <c:v>43698</c:v>
                </c:pt>
                <c:pt idx="909">
                  <c:v>43699</c:v>
                </c:pt>
                <c:pt idx="910">
                  <c:v>43700</c:v>
                </c:pt>
                <c:pt idx="911">
                  <c:v>43703</c:v>
                </c:pt>
                <c:pt idx="912">
                  <c:v>43704</c:v>
                </c:pt>
                <c:pt idx="913">
                  <c:v>43705</c:v>
                </c:pt>
                <c:pt idx="914">
                  <c:v>43706</c:v>
                </c:pt>
                <c:pt idx="915">
                  <c:v>43707</c:v>
                </c:pt>
                <c:pt idx="916">
                  <c:v>43710</c:v>
                </c:pt>
                <c:pt idx="917">
                  <c:v>43711</c:v>
                </c:pt>
                <c:pt idx="918">
                  <c:v>43712</c:v>
                </c:pt>
                <c:pt idx="919">
                  <c:v>43713</c:v>
                </c:pt>
                <c:pt idx="920">
                  <c:v>43714</c:v>
                </c:pt>
                <c:pt idx="921">
                  <c:v>43717</c:v>
                </c:pt>
                <c:pt idx="922">
                  <c:v>43718</c:v>
                </c:pt>
                <c:pt idx="923">
                  <c:v>43719</c:v>
                </c:pt>
                <c:pt idx="924">
                  <c:v>43720</c:v>
                </c:pt>
                <c:pt idx="925">
                  <c:v>43721</c:v>
                </c:pt>
                <c:pt idx="926">
                  <c:v>43724</c:v>
                </c:pt>
                <c:pt idx="927">
                  <c:v>43725</c:v>
                </c:pt>
                <c:pt idx="928">
                  <c:v>43726</c:v>
                </c:pt>
                <c:pt idx="929">
                  <c:v>43727</c:v>
                </c:pt>
                <c:pt idx="930">
                  <c:v>43728</c:v>
                </c:pt>
                <c:pt idx="931">
                  <c:v>43731</c:v>
                </c:pt>
                <c:pt idx="932">
                  <c:v>43732</c:v>
                </c:pt>
                <c:pt idx="933">
                  <c:v>43733</c:v>
                </c:pt>
                <c:pt idx="934">
                  <c:v>43734</c:v>
                </c:pt>
                <c:pt idx="935">
                  <c:v>43735</c:v>
                </c:pt>
                <c:pt idx="936">
                  <c:v>43738</c:v>
                </c:pt>
                <c:pt idx="937">
                  <c:v>43739</c:v>
                </c:pt>
                <c:pt idx="938">
                  <c:v>43740</c:v>
                </c:pt>
                <c:pt idx="939">
                  <c:v>43741</c:v>
                </c:pt>
                <c:pt idx="940">
                  <c:v>43742</c:v>
                </c:pt>
                <c:pt idx="941">
                  <c:v>43745</c:v>
                </c:pt>
                <c:pt idx="942">
                  <c:v>43746</c:v>
                </c:pt>
                <c:pt idx="943">
                  <c:v>43747</c:v>
                </c:pt>
                <c:pt idx="944">
                  <c:v>43748</c:v>
                </c:pt>
                <c:pt idx="945">
                  <c:v>43749</c:v>
                </c:pt>
                <c:pt idx="946">
                  <c:v>43752</c:v>
                </c:pt>
                <c:pt idx="947">
                  <c:v>43754</c:v>
                </c:pt>
                <c:pt idx="948">
                  <c:v>43755</c:v>
                </c:pt>
                <c:pt idx="949">
                  <c:v>43756</c:v>
                </c:pt>
                <c:pt idx="950">
                  <c:v>43759</c:v>
                </c:pt>
                <c:pt idx="951">
                  <c:v>43760</c:v>
                </c:pt>
                <c:pt idx="952">
                  <c:v>43761</c:v>
                </c:pt>
                <c:pt idx="953">
                  <c:v>43762</c:v>
                </c:pt>
                <c:pt idx="954">
                  <c:v>43763</c:v>
                </c:pt>
                <c:pt idx="955">
                  <c:v>43766</c:v>
                </c:pt>
                <c:pt idx="956">
                  <c:v>43767</c:v>
                </c:pt>
                <c:pt idx="957">
                  <c:v>43768</c:v>
                </c:pt>
                <c:pt idx="958">
                  <c:v>43769</c:v>
                </c:pt>
                <c:pt idx="959">
                  <c:v>43770</c:v>
                </c:pt>
                <c:pt idx="960">
                  <c:v>43773</c:v>
                </c:pt>
                <c:pt idx="961">
                  <c:v>43774</c:v>
                </c:pt>
                <c:pt idx="962">
                  <c:v>43775</c:v>
                </c:pt>
                <c:pt idx="963">
                  <c:v>43776</c:v>
                </c:pt>
                <c:pt idx="964">
                  <c:v>43777</c:v>
                </c:pt>
                <c:pt idx="965">
                  <c:v>43780</c:v>
                </c:pt>
                <c:pt idx="966">
                  <c:v>43781</c:v>
                </c:pt>
              </c:numCache>
            </c:numRef>
          </c:cat>
          <c:val>
            <c:numRef>
              <c:f>Feuil1!$E$3:$AKJ$3</c:f>
              <c:numCache>
                <c:formatCode>General</c:formatCode>
                <c:ptCount val="967"/>
                <c:pt idx="0">
                  <c:v>2.03531</c:v>
                </c:pt>
                <c:pt idx="1">
                  <c:v>2.0539700000000001</c:v>
                </c:pt>
                <c:pt idx="2">
                  <c:v>2.0583100000000001</c:v>
                </c:pt>
                <c:pt idx="3">
                  <c:v>2.0461399999999998</c:v>
                </c:pt>
                <c:pt idx="4">
                  <c:v>2.0410599999999981</c:v>
                </c:pt>
                <c:pt idx="5">
                  <c:v>2.0407000000000002</c:v>
                </c:pt>
                <c:pt idx="6">
                  <c:v>2.0460799999999981</c:v>
                </c:pt>
                <c:pt idx="7">
                  <c:v>2.0508899999999981</c:v>
                </c:pt>
                <c:pt idx="8">
                  <c:v>2.0352099999999984</c:v>
                </c:pt>
                <c:pt idx="9">
                  <c:v>2.0402499999999981</c:v>
                </c:pt>
                <c:pt idx="10">
                  <c:v>2.0426899999999981</c:v>
                </c:pt>
                <c:pt idx="11">
                  <c:v>2.03742</c:v>
                </c:pt>
                <c:pt idx="12">
                  <c:v>2.0453800000000002</c:v>
                </c:pt>
                <c:pt idx="13">
                  <c:v>2.05017</c:v>
                </c:pt>
                <c:pt idx="14">
                  <c:v>2.0520699999999978</c:v>
                </c:pt>
                <c:pt idx="15">
                  <c:v>2.04609</c:v>
                </c:pt>
                <c:pt idx="16">
                  <c:v>2.0416699999999981</c:v>
                </c:pt>
                <c:pt idx="17">
                  <c:v>2.0424899999999981</c:v>
                </c:pt>
                <c:pt idx="18">
                  <c:v>2.0385599999999982</c:v>
                </c:pt>
                <c:pt idx="19">
                  <c:v>2.0440399999999999</c:v>
                </c:pt>
                <c:pt idx="20">
                  <c:v>2.0392799999999984</c:v>
                </c:pt>
                <c:pt idx="21">
                  <c:v>2.03382</c:v>
                </c:pt>
                <c:pt idx="22">
                  <c:v>2.0136699999999981</c:v>
                </c:pt>
                <c:pt idx="23">
                  <c:v>2.015289999999998</c:v>
                </c:pt>
                <c:pt idx="24">
                  <c:v>2.0229599999999981</c:v>
                </c:pt>
                <c:pt idx="25">
                  <c:v>2.0100599999999984</c:v>
                </c:pt>
                <c:pt idx="26">
                  <c:v>2.0097499999999981</c:v>
                </c:pt>
                <c:pt idx="27">
                  <c:v>1.9984400000000009</c:v>
                </c:pt>
                <c:pt idx="28">
                  <c:v>2.0039699999999998</c:v>
                </c:pt>
                <c:pt idx="29">
                  <c:v>2.0117699999999981</c:v>
                </c:pt>
                <c:pt idx="30">
                  <c:v>2.0128599999999963</c:v>
                </c:pt>
                <c:pt idx="31">
                  <c:v>2.0118599999999973</c:v>
                </c:pt>
                <c:pt idx="32">
                  <c:v>2.0217900000000002</c:v>
                </c:pt>
                <c:pt idx="33">
                  <c:v>2.0183399999999998</c:v>
                </c:pt>
                <c:pt idx="34">
                  <c:v>2.0311900000000001</c:v>
                </c:pt>
                <c:pt idx="35">
                  <c:v>2.0372599999999981</c:v>
                </c:pt>
                <c:pt idx="36">
                  <c:v>2.0373299999999999</c:v>
                </c:pt>
                <c:pt idx="37">
                  <c:v>2.0320899999999984</c:v>
                </c:pt>
                <c:pt idx="38">
                  <c:v>2.037249999999998</c:v>
                </c:pt>
                <c:pt idx="39">
                  <c:v>2.038469999999998</c:v>
                </c:pt>
                <c:pt idx="40">
                  <c:v>2.0527899999999981</c:v>
                </c:pt>
                <c:pt idx="41">
                  <c:v>2.0526599999999968</c:v>
                </c:pt>
                <c:pt idx="42">
                  <c:v>2.0492900000000001</c:v>
                </c:pt>
                <c:pt idx="43">
                  <c:v>2.0435800000000017</c:v>
                </c:pt>
                <c:pt idx="44">
                  <c:v>2.0425499999999981</c:v>
                </c:pt>
                <c:pt idx="45">
                  <c:v>2.0329599999999979</c:v>
                </c:pt>
                <c:pt idx="46">
                  <c:v>2.0392799999999984</c:v>
                </c:pt>
                <c:pt idx="47">
                  <c:v>2.0366699999999973</c:v>
                </c:pt>
                <c:pt idx="48">
                  <c:v>2.0209700000000002</c:v>
                </c:pt>
                <c:pt idx="49">
                  <c:v>2.0207700000000002</c:v>
                </c:pt>
                <c:pt idx="50">
                  <c:v>2.0238999999999998</c:v>
                </c:pt>
                <c:pt idx="51">
                  <c:v>2.0234000000000001</c:v>
                </c:pt>
                <c:pt idx="52">
                  <c:v>2.00183</c:v>
                </c:pt>
                <c:pt idx="53">
                  <c:v>2.0051399999999999</c:v>
                </c:pt>
                <c:pt idx="54">
                  <c:v>2.0079600000000002</c:v>
                </c:pt>
                <c:pt idx="55">
                  <c:v>2.0183</c:v>
                </c:pt>
                <c:pt idx="56">
                  <c:v>2.0194399999999981</c:v>
                </c:pt>
                <c:pt idx="57">
                  <c:v>2.0285700000000002</c:v>
                </c:pt>
                <c:pt idx="58">
                  <c:v>2.0344799999999981</c:v>
                </c:pt>
                <c:pt idx="59">
                  <c:v>2.0329299999999981</c:v>
                </c:pt>
                <c:pt idx="60">
                  <c:v>2.0329099999999984</c:v>
                </c:pt>
                <c:pt idx="61">
                  <c:v>2.0194699999999979</c:v>
                </c:pt>
                <c:pt idx="62">
                  <c:v>2.0187599999999981</c:v>
                </c:pt>
                <c:pt idx="63">
                  <c:v>1.99329</c:v>
                </c:pt>
                <c:pt idx="64">
                  <c:v>2.0076399999999999</c:v>
                </c:pt>
                <c:pt idx="65">
                  <c:v>2.011359999999998</c:v>
                </c:pt>
                <c:pt idx="66">
                  <c:v>2.0101999999999998</c:v>
                </c:pt>
                <c:pt idx="67">
                  <c:v>2.0129399999999982</c:v>
                </c:pt>
                <c:pt idx="68">
                  <c:v>2.0205000000000002</c:v>
                </c:pt>
                <c:pt idx="69">
                  <c:v>2.0005999999999999</c:v>
                </c:pt>
                <c:pt idx="70">
                  <c:v>1.9982200000000001</c:v>
                </c:pt>
                <c:pt idx="71">
                  <c:v>2.0104599999999979</c:v>
                </c:pt>
                <c:pt idx="72">
                  <c:v>2.0177800000000001</c:v>
                </c:pt>
                <c:pt idx="73">
                  <c:v>2.0067900000000001</c:v>
                </c:pt>
                <c:pt idx="74">
                  <c:v>2.0114399999999981</c:v>
                </c:pt>
                <c:pt idx="75">
                  <c:v>1.9987699999999999</c:v>
                </c:pt>
                <c:pt idx="76">
                  <c:v>2.0075699999999999</c:v>
                </c:pt>
                <c:pt idx="77">
                  <c:v>2.014949999999998</c:v>
                </c:pt>
                <c:pt idx="78">
                  <c:v>2.0217499999999982</c:v>
                </c:pt>
                <c:pt idx="79">
                  <c:v>2.02203</c:v>
                </c:pt>
                <c:pt idx="80">
                  <c:v>2.0146399999999987</c:v>
                </c:pt>
                <c:pt idx="81">
                  <c:v>2.0157799999999981</c:v>
                </c:pt>
                <c:pt idx="82">
                  <c:v>2.0142099999999981</c:v>
                </c:pt>
                <c:pt idx="83">
                  <c:v>2.0073099999999999</c:v>
                </c:pt>
                <c:pt idx="84">
                  <c:v>1.99129</c:v>
                </c:pt>
                <c:pt idx="85">
                  <c:v>1.9883800000000009</c:v>
                </c:pt>
                <c:pt idx="86">
                  <c:v>1.99932</c:v>
                </c:pt>
                <c:pt idx="87">
                  <c:v>2.0088399999999997</c:v>
                </c:pt>
                <c:pt idx="88">
                  <c:v>2.0122599999999968</c:v>
                </c:pt>
                <c:pt idx="89">
                  <c:v>2.0181200000000001</c:v>
                </c:pt>
                <c:pt idx="90">
                  <c:v>2.0196099999999979</c:v>
                </c:pt>
                <c:pt idx="91">
                  <c:v>2.0211600000000001</c:v>
                </c:pt>
                <c:pt idx="92">
                  <c:v>2.0316599999999974</c:v>
                </c:pt>
                <c:pt idx="93">
                  <c:v>2.0492699999999981</c:v>
                </c:pt>
                <c:pt idx="94">
                  <c:v>2.0591999999999997</c:v>
                </c:pt>
                <c:pt idx="95">
                  <c:v>2.059349999999998</c:v>
                </c:pt>
                <c:pt idx="96">
                  <c:v>2.0620499999999984</c:v>
                </c:pt>
                <c:pt idx="97">
                  <c:v>2.0704799999999981</c:v>
                </c:pt>
                <c:pt idx="98">
                  <c:v>2.072979999999998</c:v>
                </c:pt>
                <c:pt idx="99">
                  <c:v>2.0737999999999999</c:v>
                </c:pt>
                <c:pt idx="100">
                  <c:v>2.0790399999999987</c:v>
                </c:pt>
                <c:pt idx="101">
                  <c:v>2.0886100000000001</c:v>
                </c:pt>
                <c:pt idx="102">
                  <c:v>2.0882700000000001</c:v>
                </c:pt>
                <c:pt idx="103">
                  <c:v>2.0929899999999981</c:v>
                </c:pt>
                <c:pt idx="104">
                  <c:v>2.1036100000000002</c:v>
                </c:pt>
                <c:pt idx="105">
                  <c:v>2.1139399999999999</c:v>
                </c:pt>
                <c:pt idx="106">
                  <c:v>2.1208</c:v>
                </c:pt>
                <c:pt idx="107">
                  <c:v>2.1296200000000001</c:v>
                </c:pt>
                <c:pt idx="108">
                  <c:v>2.1372300000000002</c:v>
                </c:pt>
                <c:pt idx="109">
                  <c:v>2.1315200000000001</c:v>
                </c:pt>
                <c:pt idx="110">
                  <c:v>2.1371899999999999</c:v>
                </c:pt>
                <c:pt idx="111">
                  <c:v>2.1414800000000001</c:v>
                </c:pt>
                <c:pt idx="112">
                  <c:v>2.13991</c:v>
                </c:pt>
                <c:pt idx="113">
                  <c:v>2.1813799999999999</c:v>
                </c:pt>
                <c:pt idx="114">
                  <c:v>2.1525399999999997</c:v>
                </c:pt>
                <c:pt idx="115">
                  <c:v>2.1631400000000012</c:v>
                </c:pt>
                <c:pt idx="116">
                  <c:v>2.1680799999999998</c:v>
                </c:pt>
                <c:pt idx="117">
                  <c:v>2.15638</c:v>
                </c:pt>
                <c:pt idx="118">
                  <c:v>2.15849</c:v>
                </c:pt>
                <c:pt idx="119">
                  <c:v>2.1527799999999981</c:v>
                </c:pt>
                <c:pt idx="120">
                  <c:v>2.158049999999998</c:v>
                </c:pt>
                <c:pt idx="121">
                  <c:v>2.1598699999999984</c:v>
                </c:pt>
                <c:pt idx="122">
                  <c:v>2.1597900000000001</c:v>
                </c:pt>
                <c:pt idx="123">
                  <c:v>2.20608</c:v>
                </c:pt>
                <c:pt idx="124">
                  <c:v>2.2242099999999998</c:v>
                </c:pt>
                <c:pt idx="125">
                  <c:v>2.1904599999999981</c:v>
                </c:pt>
                <c:pt idx="126">
                  <c:v>2.1880600000000001</c:v>
                </c:pt>
                <c:pt idx="127">
                  <c:v>2.1922899999999981</c:v>
                </c:pt>
                <c:pt idx="128">
                  <c:v>2.1913900000000002</c:v>
                </c:pt>
                <c:pt idx="129">
                  <c:v>2.19693</c:v>
                </c:pt>
                <c:pt idx="130">
                  <c:v>2.2097300000000017</c:v>
                </c:pt>
                <c:pt idx="131">
                  <c:v>2.2120299999999982</c:v>
                </c:pt>
                <c:pt idx="132">
                  <c:v>2.2047400000000001</c:v>
                </c:pt>
                <c:pt idx="133">
                  <c:v>2.2153999999999998</c:v>
                </c:pt>
                <c:pt idx="134">
                  <c:v>2.2097199999999999</c:v>
                </c:pt>
                <c:pt idx="135">
                  <c:v>2.2092100000000001</c:v>
                </c:pt>
                <c:pt idx="136">
                  <c:v>2.2237700000000018</c:v>
                </c:pt>
                <c:pt idx="137">
                  <c:v>2.2224699999999982</c:v>
                </c:pt>
                <c:pt idx="138">
                  <c:v>2.2356799999999981</c:v>
                </c:pt>
                <c:pt idx="139">
                  <c:v>2.2361800000000001</c:v>
                </c:pt>
                <c:pt idx="140">
                  <c:v>2.23123</c:v>
                </c:pt>
                <c:pt idx="141">
                  <c:v>2.2376999999999998</c:v>
                </c:pt>
                <c:pt idx="142">
                  <c:v>2.2381099999999998</c:v>
                </c:pt>
                <c:pt idx="143">
                  <c:v>2.2259099999999998</c:v>
                </c:pt>
                <c:pt idx="144">
                  <c:v>2.2239200000000019</c:v>
                </c:pt>
                <c:pt idx="145">
                  <c:v>2.2125300000000001</c:v>
                </c:pt>
                <c:pt idx="146">
                  <c:v>2.2080099999999998</c:v>
                </c:pt>
                <c:pt idx="147">
                  <c:v>2.2061899999999999</c:v>
                </c:pt>
                <c:pt idx="148">
                  <c:v>2.2131099999999999</c:v>
                </c:pt>
                <c:pt idx="149">
                  <c:v>2.2120199999999981</c:v>
                </c:pt>
                <c:pt idx="150">
                  <c:v>2.2188499999999984</c:v>
                </c:pt>
                <c:pt idx="151">
                  <c:v>2.2177899999999999</c:v>
                </c:pt>
                <c:pt idx="152">
                  <c:v>2.2034400000000001</c:v>
                </c:pt>
                <c:pt idx="153">
                  <c:v>2.21062</c:v>
                </c:pt>
                <c:pt idx="154">
                  <c:v>2.2097099999999998</c:v>
                </c:pt>
                <c:pt idx="155">
                  <c:v>2.2072000000000012</c:v>
                </c:pt>
                <c:pt idx="156">
                  <c:v>2.1930800000000001</c:v>
                </c:pt>
                <c:pt idx="157">
                  <c:v>2.1947199999999998</c:v>
                </c:pt>
                <c:pt idx="158">
                  <c:v>2.1817799999999998</c:v>
                </c:pt>
                <c:pt idx="159">
                  <c:v>2.1880500000000001</c:v>
                </c:pt>
                <c:pt idx="160">
                  <c:v>2.1857300000000017</c:v>
                </c:pt>
                <c:pt idx="161">
                  <c:v>2.1872199999999999</c:v>
                </c:pt>
                <c:pt idx="162">
                  <c:v>2.19475</c:v>
                </c:pt>
                <c:pt idx="163">
                  <c:v>2.1936200000000001</c:v>
                </c:pt>
                <c:pt idx="164">
                  <c:v>2.1927399999999997</c:v>
                </c:pt>
                <c:pt idx="165">
                  <c:v>2.2052100000000001</c:v>
                </c:pt>
                <c:pt idx="166">
                  <c:v>2.2068499999999984</c:v>
                </c:pt>
                <c:pt idx="167">
                  <c:v>2.21231</c:v>
                </c:pt>
                <c:pt idx="168">
                  <c:v>2.212079999999998</c:v>
                </c:pt>
                <c:pt idx="169">
                  <c:v>2.2045900000000018</c:v>
                </c:pt>
                <c:pt idx="170">
                  <c:v>2.20947</c:v>
                </c:pt>
                <c:pt idx="171">
                  <c:v>2.2038099999999998</c:v>
                </c:pt>
                <c:pt idx="172">
                  <c:v>2.1983899999999998</c:v>
                </c:pt>
                <c:pt idx="173">
                  <c:v>2.1927099999999982</c:v>
                </c:pt>
                <c:pt idx="174">
                  <c:v>2.1977699999999998</c:v>
                </c:pt>
                <c:pt idx="175">
                  <c:v>2.2013500000000001</c:v>
                </c:pt>
                <c:pt idx="176">
                  <c:v>2.19903</c:v>
                </c:pt>
                <c:pt idx="177">
                  <c:v>2.2053300000000018</c:v>
                </c:pt>
                <c:pt idx="178">
                  <c:v>2.20966</c:v>
                </c:pt>
                <c:pt idx="179">
                  <c:v>2.2080600000000001</c:v>
                </c:pt>
                <c:pt idx="180">
                  <c:v>2.2135799999999999</c:v>
                </c:pt>
                <c:pt idx="181">
                  <c:v>2.2025199999999998</c:v>
                </c:pt>
                <c:pt idx="182">
                  <c:v>2.2058200000000001</c:v>
                </c:pt>
                <c:pt idx="183">
                  <c:v>2.1985999999999999</c:v>
                </c:pt>
                <c:pt idx="184">
                  <c:v>2.2033100000000019</c:v>
                </c:pt>
                <c:pt idx="185">
                  <c:v>2.2050399999999999</c:v>
                </c:pt>
                <c:pt idx="186">
                  <c:v>2.2016200000000001</c:v>
                </c:pt>
                <c:pt idx="187">
                  <c:v>2.2067800000000002</c:v>
                </c:pt>
                <c:pt idx="188">
                  <c:v>2.2030599999999998</c:v>
                </c:pt>
                <c:pt idx="189">
                  <c:v>2.2113900000000002</c:v>
                </c:pt>
                <c:pt idx="190">
                  <c:v>2.2034699999999998</c:v>
                </c:pt>
                <c:pt idx="191">
                  <c:v>2.2102200000000001</c:v>
                </c:pt>
                <c:pt idx="192">
                  <c:v>2.2177600000000002</c:v>
                </c:pt>
                <c:pt idx="193">
                  <c:v>2.2135400000000001</c:v>
                </c:pt>
                <c:pt idx="194">
                  <c:v>2.22201</c:v>
                </c:pt>
                <c:pt idx="195">
                  <c:v>2.2365599999999981</c:v>
                </c:pt>
                <c:pt idx="196">
                  <c:v>2.2400600000000002</c:v>
                </c:pt>
                <c:pt idx="197">
                  <c:v>2.2401200000000019</c:v>
                </c:pt>
                <c:pt idx="198">
                  <c:v>2.2444999999999999</c:v>
                </c:pt>
                <c:pt idx="199">
                  <c:v>2.24295</c:v>
                </c:pt>
                <c:pt idx="200">
                  <c:v>2.2484999999999999</c:v>
                </c:pt>
                <c:pt idx="201">
                  <c:v>2.2480099999999998</c:v>
                </c:pt>
                <c:pt idx="202">
                  <c:v>2.2610800000000002</c:v>
                </c:pt>
                <c:pt idx="203">
                  <c:v>2.2627700000000002</c:v>
                </c:pt>
                <c:pt idx="204">
                  <c:v>2.264130000000002</c:v>
                </c:pt>
                <c:pt idx="205">
                  <c:v>2.2576399999999999</c:v>
                </c:pt>
                <c:pt idx="206">
                  <c:v>2.2564599999999979</c:v>
                </c:pt>
                <c:pt idx="207">
                  <c:v>2.2574700000000001</c:v>
                </c:pt>
                <c:pt idx="208">
                  <c:v>2.2537400000000001</c:v>
                </c:pt>
                <c:pt idx="209">
                  <c:v>2.24424</c:v>
                </c:pt>
                <c:pt idx="210">
                  <c:v>2.2329699999999981</c:v>
                </c:pt>
                <c:pt idx="211">
                  <c:v>2.2341899999999999</c:v>
                </c:pt>
                <c:pt idx="212">
                  <c:v>2.2331799999999999</c:v>
                </c:pt>
                <c:pt idx="213">
                  <c:v>2.23889</c:v>
                </c:pt>
                <c:pt idx="214">
                  <c:v>2.2413200000000018</c:v>
                </c:pt>
                <c:pt idx="215">
                  <c:v>2.2399100000000001</c:v>
                </c:pt>
                <c:pt idx="216">
                  <c:v>2.2486700000000002</c:v>
                </c:pt>
                <c:pt idx="217">
                  <c:v>2.2713999999999999</c:v>
                </c:pt>
                <c:pt idx="218">
                  <c:v>2.2888199999999999</c:v>
                </c:pt>
                <c:pt idx="219">
                  <c:v>2.2866499999999981</c:v>
                </c:pt>
                <c:pt idx="220">
                  <c:v>2.2856700000000001</c:v>
                </c:pt>
                <c:pt idx="221">
                  <c:v>2.2830800000000018</c:v>
                </c:pt>
                <c:pt idx="222">
                  <c:v>2.2992300000000001</c:v>
                </c:pt>
                <c:pt idx="223">
                  <c:v>2.2936999999999999</c:v>
                </c:pt>
                <c:pt idx="224">
                  <c:v>2.2844099999999998</c:v>
                </c:pt>
                <c:pt idx="225">
                  <c:v>2.3029699999999984</c:v>
                </c:pt>
                <c:pt idx="226">
                  <c:v>2.2971800000000018</c:v>
                </c:pt>
                <c:pt idx="227">
                  <c:v>2.3066799999999978</c:v>
                </c:pt>
                <c:pt idx="228">
                  <c:v>2.2922799999999981</c:v>
                </c:pt>
                <c:pt idx="229">
                  <c:v>2.3128799999999963</c:v>
                </c:pt>
                <c:pt idx="230">
                  <c:v>2.30877</c:v>
                </c:pt>
                <c:pt idx="231">
                  <c:v>2.30349</c:v>
                </c:pt>
                <c:pt idx="232">
                  <c:v>2.3105599999999984</c:v>
                </c:pt>
                <c:pt idx="233">
                  <c:v>2.3101499999999984</c:v>
                </c:pt>
                <c:pt idx="234">
                  <c:v>2.30097</c:v>
                </c:pt>
                <c:pt idx="235">
                  <c:v>2.3054299999999981</c:v>
                </c:pt>
                <c:pt idx="236">
                  <c:v>2.3010599999999979</c:v>
                </c:pt>
                <c:pt idx="237">
                  <c:v>2.31379</c:v>
                </c:pt>
                <c:pt idx="238">
                  <c:v>2.3069699999999984</c:v>
                </c:pt>
                <c:pt idx="239">
                  <c:v>2.2865600000000001</c:v>
                </c:pt>
                <c:pt idx="240">
                  <c:v>2.3244099999999981</c:v>
                </c:pt>
                <c:pt idx="241">
                  <c:v>2.3158699999999963</c:v>
                </c:pt>
                <c:pt idx="242">
                  <c:v>2.32314</c:v>
                </c:pt>
                <c:pt idx="243">
                  <c:v>2.3263099999999981</c:v>
                </c:pt>
                <c:pt idx="244">
                  <c:v>2.3362399999999974</c:v>
                </c:pt>
                <c:pt idx="245">
                  <c:v>2.32403</c:v>
                </c:pt>
                <c:pt idx="246">
                  <c:v>2.3391699999999984</c:v>
                </c:pt>
                <c:pt idx="247">
                  <c:v>2.3389699999999984</c:v>
                </c:pt>
                <c:pt idx="248">
                  <c:v>2.3427199999999981</c:v>
                </c:pt>
                <c:pt idx="249">
                  <c:v>2.3480300000000001</c:v>
                </c:pt>
                <c:pt idx="250">
                  <c:v>2.3463099999999981</c:v>
                </c:pt>
                <c:pt idx="251">
                  <c:v>2.3388799999999978</c:v>
                </c:pt>
                <c:pt idx="252">
                  <c:v>2.34816</c:v>
                </c:pt>
                <c:pt idx="253">
                  <c:v>2.3571300000000002</c:v>
                </c:pt>
                <c:pt idx="254">
                  <c:v>2.3550199999999979</c:v>
                </c:pt>
                <c:pt idx="255">
                  <c:v>2.3112199999999978</c:v>
                </c:pt>
                <c:pt idx="256">
                  <c:v>2.3320499999999966</c:v>
                </c:pt>
                <c:pt idx="257">
                  <c:v>2.3327299999999984</c:v>
                </c:pt>
                <c:pt idx="258">
                  <c:v>2.3350099999999978</c:v>
                </c:pt>
                <c:pt idx="259">
                  <c:v>2.3452499999999978</c:v>
                </c:pt>
                <c:pt idx="260">
                  <c:v>2.3210599999999979</c:v>
                </c:pt>
                <c:pt idx="261">
                  <c:v>2.3245499999999981</c:v>
                </c:pt>
                <c:pt idx="262">
                  <c:v>2.329549999999998</c:v>
                </c:pt>
                <c:pt idx="263">
                  <c:v>2.3116799999999973</c:v>
                </c:pt>
                <c:pt idx="264">
                  <c:v>2.3050299999999981</c:v>
                </c:pt>
                <c:pt idx="265">
                  <c:v>2.3043300000000002</c:v>
                </c:pt>
                <c:pt idx="266">
                  <c:v>2.3176999999999981</c:v>
                </c:pt>
                <c:pt idx="267">
                  <c:v>2.2964799999999981</c:v>
                </c:pt>
                <c:pt idx="268">
                  <c:v>2.3037700000000001</c:v>
                </c:pt>
                <c:pt idx="269">
                  <c:v>2.3041499999999981</c:v>
                </c:pt>
                <c:pt idx="270">
                  <c:v>2.3084099999999981</c:v>
                </c:pt>
                <c:pt idx="271">
                  <c:v>2.3124999999999973</c:v>
                </c:pt>
                <c:pt idx="272">
                  <c:v>2.3169099999999974</c:v>
                </c:pt>
                <c:pt idx="273">
                  <c:v>2.3084599999999984</c:v>
                </c:pt>
                <c:pt idx="274">
                  <c:v>2.287720000000002</c:v>
                </c:pt>
                <c:pt idx="275">
                  <c:v>2.2809900000000018</c:v>
                </c:pt>
                <c:pt idx="276">
                  <c:v>2.2847300000000019</c:v>
                </c:pt>
                <c:pt idx="277">
                  <c:v>2.2810700000000002</c:v>
                </c:pt>
                <c:pt idx="278">
                  <c:v>2.2867199999999999</c:v>
                </c:pt>
                <c:pt idx="279">
                  <c:v>2.2851300000000019</c:v>
                </c:pt>
                <c:pt idx="280">
                  <c:v>2.27915</c:v>
                </c:pt>
                <c:pt idx="281">
                  <c:v>2.2822200000000001</c:v>
                </c:pt>
                <c:pt idx="282">
                  <c:v>2.2844199999999999</c:v>
                </c:pt>
                <c:pt idx="283">
                  <c:v>2.2870300000000019</c:v>
                </c:pt>
                <c:pt idx="284">
                  <c:v>2.2980999999999998</c:v>
                </c:pt>
                <c:pt idx="285">
                  <c:v>2.2855699999999999</c:v>
                </c:pt>
                <c:pt idx="286">
                  <c:v>2.2829100000000002</c:v>
                </c:pt>
                <c:pt idx="287">
                  <c:v>2.2905799999999998</c:v>
                </c:pt>
                <c:pt idx="288">
                  <c:v>2.2980800000000001</c:v>
                </c:pt>
                <c:pt idx="289">
                  <c:v>2.3092499999999974</c:v>
                </c:pt>
                <c:pt idx="290">
                  <c:v>2.3015399999999997</c:v>
                </c:pt>
                <c:pt idx="291">
                  <c:v>2.2991100000000002</c:v>
                </c:pt>
                <c:pt idx="292">
                  <c:v>2.3001800000000001</c:v>
                </c:pt>
                <c:pt idx="293">
                  <c:v>2.2989199999999999</c:v>
                </c:pt>
                <c:pt idx="294">
                  <c:v>2.3065999999999987</c:v>
                </c:pt>
                <c:pt idx="295">
                  <c:v>2.3134799999999984</c:v>
                </c:pt>
                <c:pt idx="296">
                  <c:v>2.3104599999999973</c:v>
                </c:pt>
                <c:pt idx="297">
                  <c:v>2.3007300000000002</c:v>
                </c:pt>
                <c:pt idx="298">
                  <c:v>2.3080399999999988</c:v>
                </c:pt>
                <c:pt idx="299">
                  <c:v>2.3100899999999984</c:v>
                </c:pt>
                <c:pt idx="300">
                  <c:v>2.3123599999999973</c:v>
                </c:pt>
                <c:pt idx="301">
                  <c:v>2.2959999999999998</c:v>
                </c:pt>
                <c:pt idx="302">
                  <c:v>2.2889599999999999</c:v>
                </c:pt>
                <c:pt idx="303">
                  <c:v>2.2933300000000019</c:v>
                </c:pt>
                <c:pt idx="304">
                  <c:v>2.30409</c:v>
                </c:pt>
                <c:pt idx="305">
                  <c:v>2.2911600000000001</c:v>
                </c:pt>
                <c:pt idx="306">
                  <c:v>2.27569</c:v>
                </c:pt>
                <c:pt idx="307">
                  <c:v>2.2869799999999998</c:v>
                </c:pt>
                <c:pt idx="308">
                  <c:v>2.2830699999999999</c:v>
                </c:pt>
                <c:pt idx="309">
                  <c:v>2.2947000000000002</c:v>
                </c:pt>
                <c:pt idx="310">
                  <c:v>2.3065599999999984</c:v>
                </c:pt>
                <c:pt idx="311">
                  <c:v>2.2970000000000002</c:v>
                </c:pt>
                <c:pt idx="312">
                  <c:v>2.3045999999999998</c:v>
                </c:pt>
                <c:pt idx="313">
                  <c:v>2.3030599999999981</c:v>
                </c:pt>
                <c:pt idx="314">
                  <c:v>2.3135300000000001</c:v>
                </c:pt>
                <c:pt idx="315">
                  <c:v>2.33473</c:v>
                </c:pt>
                <c:pt idx="316">
                  <c:v>2.3405499999999981</c:v>
                </c:pt>
                <c:pt idx="317">
                  <c:v>2.3291399999999998</c:v>
                </c:pt>
                <c:pt idx="318">
                  <c:v>2.3171200000000001</c:v>
                </c:pt>
                <c:pt idx="319">
                  <c:v>2.3075800000000002</c:v>
                </c:pt>
                <c:pt idx="320">
                  <c:v>2.3283900000000002</c:v>
                </c:pt>
                <c:pt idx="321">
                  <c:v>2.3431899999999999</c:v>
                </c:pt>
                <c:pt idx="322">
                  <c:v>2.34436</c:v>
                </c:pt>
                <c:pt idx="323">
                  <c:v>2.3532999999999982</c:v>
                </c:pt>
                <c:pt idx="324">
                  <c:v>2.3443800000000001</c:v>
                </c:pt>
                <c:pt idx="325">
                  <c:v>2.3563099999999979</c:v>
                </c:pt>
                <c:pt idx="326">
                  <c:v>2.3577900000000001</c:v>
                </c:pt>
                <c:pt idx="327">
                  <c:v>2.3680300000000001</c:v>
                </c:pt>
                <c:pt idx="328">
                  <c:v>2.4036599999999981</c:v>
                </c:pt>
                <c:pt idx="329">
                  <c:v>2.4123999999999981</c:v>
                </c:pt>
                <c:pt idx="330">
                  <c:v>2.4212899999999982</c:v>
                </c:pt>
                <c:pt idx="331">
                  <c:v>2.42781</c:v>
                </c:pt>
                <c:pt idx="332">
                  <c:v>2.3874200000000001</c:v>
                </c:pt>
                <c:pt idx="333">
                  <c:v>2.4188999999999981</c:v>
                </c:pt>
                <c:pt idx="334">
                  <c:v>2.4110599999999973</c:v>
                </c:pt>
                <c:pt idx="335">
                  <c:v>2.3952099999999978</c:v>
                </c:pt>
                <c:pt idx="336">
                  <c:v>2.4159999999999981</c:v>
                </c:pt>
                <c:pt idx="337">
                  <c:v>2.4313799999999981</c:v>
                </c:pt>
                <c:pt idx="338">
                  <c:v>2.4470000000000001</c:v>
                </c:pt>
                <c:pt idx="339">
                  <c:v>2.4457100000000001</c:v>
                </c:pt>
                <c:pt idx="340">
                  <c:v>2.4637500000000001</c:v>
                </c:pt>
                <c:pt idx="341">
                  <c:v>2.46292</c:v>
                </c:pt>
                <c:pt idx="342">
                  <c:v>2.47471</c:v>
                </c:pt>
                <c:pt idx="343">
                  <c:v>2.4969399999999982</c:v>
                </c:pt>
                <c:pt idx="344">
                  <c:v>2.4941399999999998</c:v>
                </c:pt>
                <c:pt idx="345">
                  <c:v>2.4999199999999981</c:v>
                </c:pt>
                <c:pt idx="346">
                  <c:v>2.4670100000000001</c:v>
                </c:pt>
                <c:pt idx="347">
                  <c:v>2.4785599999999981</c:v>
                </c:pt>
                <c:pt idx="348">
                  <c:v>2.4455999999999998</c:v>
                </c:pt>
                <c:pt idx="349">
                  <c:v>2.4506599999999978</c:v>
                </c:pt>
                <c:pt idx="350">
                  <c:v>2.42089</c:v>
                </c:pt>
                <c:pt idx="351">
                  <c:v>2.4319999999999982</c:v>
                </c:pt>
                <c:pt idx="352">
                  <c:v>2.4483299999999999</c:v>
                </c:pt>
                <c:pt idx="353">
                  <c:v>2.4366099999999968</c:v>
                </c:pt>
                <c:pt idx="354">
                  <c:v>2.4261599999999981</c:v>
                </c:pt>
                <c:pt idx="355">
                  <c:v>2.441809999999998</c:v>
                </c:pt>
                <c:pt idx="356">
                  <c:v>2.4488300000000001</c:v>
                </c:pt>
                <c:pt idx="357">
                  <c:v>2.4475799999999999</c:v>
                </c:pt>
                <c:pt idx="358">
                  <c:v>2.4430399999999999</c:v>
                </c:pt>
                <c:pt idx="359">
                  <c:v>2.4380999999999982</c:v>
                </c:pt>
                <c:pt idx="360">
                  <c:v>2.4471500000000002</c:v>
                </c:pt>
                <c:pt idx="361">
                  <c:v>2.4483899999999998</c:v>
                </c:pt>
                <c:pt idx="362">
                  <c:v>2.446079999999998</c:v>
                </c:pt>
                <c:pt idx="363">
                  <c:v>2.4381599999999981</c:v>
                </c:pt>
                <c:pt idx="364">
                  <c:v>2.444249999999998</c:v>
                </c:pt>
                <c:pt idx="365">
                  <c:v>2.4452599999999984</c:v>
                </c:pt>
                <c:pt idx="366">
                  <c:v>2.4472200000000002</c:v>
                </c:pt>
                <c:pt idx="367">
                  <c:v>2.4465599999999981</c:v>
                </c:pt>
                <c:pt idx="368">
                  <c:v>2.4491999999999998</c:v>
                </c:pt>
                <c:pt idx="369">
                  <c:v>2.451639999999998</c:v>
                </c:pt>
                <c:pt idx="370">
                  <c:v>2.4557899999999981</c:v>
                </c:pt>
                <c:pt idx="371">
                  <c:v>2.4586099999999984</c:v>
                </c:pt>
                <c:pt idx="372">
                  <c:v>2.46191</c:v>
                </c:pt>
                <c:pt idx="373">
                  <c:v>2.4613700000000001</c:v>
                </c:pt>
                <c:pt idx="374">
                  <c:v>2.4624899999999981</c:v>
                </c:pt>
                <c:pt idx="375">
                  <c:v>2.46136</c:v>
                </c:pt>
                <c:pt idx="376">
                  <c:v>2.4621599999999981</c:v>
                </c:pt>
                <c:pt idx="377">
                  <c:v>2.4588099999999984</c:v>
                </c:pt>
                <c:pt idx="378">
                  <c:v>2.4510899999999984</c:v>
                </c:pt>
                <c:pt idx="379">
                  <c:v>2.46</c:v>
                </c:pt>
                <c:pt idx="380">
                  <c:v>2.46251</c:v>
                </c:pt>
                <c:pt idx="381">
                  <c:v>2.4638300000000002</c:v>
                </c:pt>
                <c:pt idx="382">
                  <c:v>2.4650399999999997</c:v>
                </c:pt>
                <c:pt idx="383">
                  <c:v>2.4592599999999973</c:v>
                </c:pt>
                <c:pt idx="384">
                  <c:v>2.4615399999999998</c:v>
                </c:pt>
                <c:pt idx="385">
                  <c:v>2.4675500000000001</c:v>
                </c:pt>
                <c:pt idx="386">
                  <c:v>2.4695900000000002</c:v>
                </c:pt>
                <c:pt idx="387">
                  <c:v>2.4702499999999978</c:v>
                </c:pt>
                <c:pt idx="388">
                  <c:v>2.4744999999999981</c:v>
                </c:pt>
                <c:pt idx="389">
                  <c:v>2.4755499999999984</c:v>
                </c:pt>
                <c:pt idx="390">
                  <c:v>2.4778799999999981</c:v>
                </c:pt>
                <c:pt idx="391">
                  <c:v>2.47892</c:v>
                </c:pt>
                <c:pt idx="392">
                  <c:v>2.47776</c:v>
                </c:pt>
                <c:pt idx="393">
                  <c:v>2.47763</c:v>
                </c:pt>
                <c:pt idx="394">
                  <c:v>2.4762599999999964</c:v>
                </c:pt>
                <c:pt idx="395">
                  <c:v>2.4755599999999984</c:v>
                </c:pt>
                <c:pt idx="396">
                  <c:v>2.4780199999999981</c:v>
                </c:pt>
                <c:pt idx="397">
                  <c:v>2.4771899999999998</c:v>
                </c:pt>
                <c:pt idx="398">
                  <c:v>2.4757799999999981</c:v>
                </c:pt>
                <c:pt idx="399">
                  <c:v>2.4729799999999984</c:v>
                </c:pt>
                <c:pt idx="400">
                  <c:v>2.4701999999999997</c:v>
                </c:pt>
                <c:pt idx="401">
                  <c:v>2.47133</c:v>
                </c:pt>
                <c:pt idx="402">
                  <c:v>2.4696599999999984</c:v>
                </c:pt>
                <c:pt idx="403">
                  <c:v>2.4687899999999998</c:v>
                </c:pt>
                <c:pt idx="404">
                  <c:v>2.4672900000000002</c:v>
                </c:pt>
                <c:pt idx="405">
                  <c:v>2.4660699999999984</c:v>
                </c:pt>
                <c:pt idx="406">
                  <c:v>2.4670000000000001</c:v>
                </c:pt>
                <c:pt idx="407">
                  <c:v>2.465259999999998</c:v>
                </c:pt>
                <c:pt idx="408">
                  <c:v>2.4710699999999979</c:v>
                </c:pt>
                <c:pt idx="409">
                  <c:v>2.46997</c:v>
                </c:pt>
                <c:pt idx="410">
                  <c:v>2.4685800000000002</c:v>
                </c:pt>
                <c:pt idx="411">
                  <c:v>2.4672700000000001</c:v>
                </c:pt>
                <c:pt idx="412">
                  <c:v>2.4610499999999984</c:v>
                </c:pt>
                <c:pt idx="413">
                  <c:v>2.455029999999998</c:v>
                </c:pt>
                <c:pt idx="414">
                  <c:v>2.4535200000000001</c:v>
                </c:pt>
                <c:pt idx="415">
                  <c:v>2.4483700000000002</c:v>
                </c:pt>
                <c:pt idx="416">
                  <c:v>2.446889999999998</c:v>
                </c:pt>
                <c:pt idx="417">
                  <c:v>2.4301699999999982</c:v>
                </c:pt>
                <c:pt idx="418">
                  <c:v>2.4195499999999979</c:v>
                </c:pt>
                <c:pt idx="419">
                  <c:v>2.4262299999999981</c:v>
                </c:pt>
                <c:pt idx="420">
                  <c:v>2.4431500000000002</c:v>
                </c:pt>
                <c:pt idx="421">
                  <c:v>2.4376799999999981</c:v>
                </c:pt>
                <c:pt idx="422">
                  <c:v>2.44156</c:v>
                </c:pt>
                <c:pt idx="423">
                  <c:v>2.4367799999999984</c:v>
                </c:pt>
                <c:pt idx="424">
                  <c:v>2.43323</c:v>
                </c:pt>
                <c:pt idx="425">
                  <c:v>2.4272800000000001</c:v>
                </c:pt>
                <c:pt idx="426">
                  <c:v>2.4375200000000001</c:v>
                </c:pt>
                <c:pt idx="427">
                  <c:v>2.43892</c:v>
                </c:pt>
                <c:pt idx="428">
                  <c:v>2.4454599999999984</c:v>
                </c:pt>
                <c:pt idx="429">
                  <c:v>2.4491999999999998</c:v>
                </c:pt>
                <c:pt idx="430">
                  <c:v>2.4524799999999973</c:v>
                </c:pt>
                <c:pt idx="431">
                  <c:v>2.4442200000000001</c:v>
                </c:pt>
                <c:pt idx="432">
                  <c:v>2.4399899999999981</c:v>
                </c:pt>
                <c:pt idx="433">
                  <c:v>2.4385300000000001</c:v>
                </c:pt>
                <c:pt idx="434">
                  <c:v>2.4393999999999987</c:v>
                </c:pt>
                <c:pt idx="435">
                  <c:v>2.4485899999999998</c:v>
                </c:pt>
                <c:pt idx="436">
                  <c:v>2.4660799999999981</c:v>
                </c:pt>
                <c:pt idx="437">
                  <c:v>2.4775399999999999</c:v>
                </c:pt>
                <c:pt idx="438">
                  <c:v>2.4764699999999968</c:v>
                </c:pt>
                <c:pt idx="439">
                  <c:v>2.4720099999999978</c:v>
                </c:pt>
                <c:pt idx="440">
                  <c:v>2.4795499999999984</c:v>
                </c:pt>
                <c:pt idx="441">
                  <c:v>2.4801500000000001</c:v>
                </c:pt>
                <c:pt idx="442">
                  <c:v>2.4791999999999987</c:v>
                </c:pt>
                <c:pt idx="443">
                  <c:v>2.4765599999999979</c:v>
                </c:pt>
                <c:pt idx="444">
                  <c:v>2.485059999999998</c:v>
                </c:pt>
                <c:pt idx="445">
                  <c:v>2.4828999999999981</c:v>
                </c:pt>
                <c:pt idx="446">
                  <c:v>2.4803999999999999</c:v>
                </c:pt>
                <c:pt idx="447">
                  <c:v>2.4813299999999998</c:v>
                </c:pt>
                <c:pt idx="448">
                  <c:v>2.4824899999999981</c:v>
                </c:pt>
                <c:pt idx="449">
                  <c:v>2.4790299999999981</c:v>
                </c:pt>
                <c:pt idx="450">
                  <c:v>2.47919</c:v>
                </c:pt>
                <c:pt idx="451">
                  <c:v>2.4805899999999999</c:v>
                </c:pt>
                <c:pt idx="452">
                  <c:v>2.4819</c:v>
                </c:pt>
                <c:pt idx="453">
                  <c:v>2.4797599999999984</c:v>
                </c:pt>
                <c:pt idx="454">
                  <c:v>2.478749999999998</c:v>
                </c:pt>
                <c:pt idx="455">
                  <c:v>2.4825399999999997</c:v>
                </c:pt>
                <c:pt idx="456">
                  <c:v>2.4830700000000001</c:v>
                </c:pt>
                <c:pt idx="457">
                  <c:v>2.47803</c:v>
                </c:pt>
                <c:pt idx="458">
                  <c:v>2.48875</c:v>
                </c:pt>
                <c:pt idx="459">
                  <c:v>2.4997599999999984</c:v>
                </c:pt>
                <c:pt idx="460">
                  <c:v>2.5038200000000002</c:v>
                </c:pt>
                <c:pt idx="461">
                  <c:v>2.5019499999999981</c:v>
                </c:pt>
                <c:pt idx="462">
                  <c:v>2.50136</c:v>
                </c:pt>
                <c:pt idx="463">
                  <c:v>2.50047</c:v>
                </c:pt>
                <c:pt idx="464">
                  <c:v>2.5016499999999984</c:v>
                </c:pt>
                <c:pt idx="465">
                  <c:v>2.5068899999999981</c:v>
                </c:pt>
                <c:pt idx="466">
                  <c:v>2.5075699999999999</c:v>
                </c:pt>
                <c:pt idx="467">
                  <c:v>2.5089800000000002</c:v>
                </c:pt>
                <c:pt idx="468">
                  <c:v>2.5084499999999981</c:v>
                </c:pt>
                <c:pt idx="469">
                  <c:v>2.5066699999999984</c:v>
                </c:pt>
                <c:pt idx="470">
                  <c:v>2.5072899999999998</c:v>
                </c:pt>
                <c:pt idx="471">
                  <c:v>2.50142</c:v>
                </c:pt>
                <c:pt idx="472">
                  <c:v>2.4960699999999973</c:v>
                </c:pt>
                <c:pt idx="473">
                  <c:v>2.4935999999999998</c:v>
                </c:pt>
                <c:pt idx="474">
                  <c:v>2.4912199999999984</c:v>
                </c:pt>
                <c:pt idx="475">
                  <c:v>2.495769999999998</c:v>
                </c:pt>
                <c:pt idx="476">
                  <c:v>2.4966899999999979</c:v>
                </c:pt>
                <c:pt idx="477">
                  <c:v>2.4975999999999998</c:v>
                </c:pt>
                <c:pt idx="478">
                  <c:v>2.4856199999999982</c:v>
                </c:pt>
                <c:pt idx="479">
                  <c:v>2.48251</c:v>
                </c:pt>
                <c:pt idx="480">
                  <c:v>2.4810300000000001</c:v>
                </c:pt>
                <c:pt idx="481">
                  <c:v>2.48041</c:v>
                </c:pt>
                <c:pt idx="482">
                  <c:v>2.48427</c:v>
                </c:pt>
                <c:pt idx="483">
                  <c:v>2.4841199999999999</c:v>
                </c:pt>
                <c:pt idx="484">
                  <c:v>2.4872399999999999</c:v>
                </c:pt>
                <c:pt idx="485">
                  <c:v>2.4888699999999981</c:v>
                </c:pt>
                <c:pt idx="486">
                  <c:v>2.4877799999999999</c:v>
                </c:pt>
                <c:pt idx="487">
                  <c:v>2.4889399999999999</c:v>
                </c:pt>
                <c:pt idx="488">
                  <c:v>2.4893999999999998</c:v>
                </c:pt>
                <c:pt idx="489">
                  <c:v>2.48543</c:v>
                </c:pt>
                <c:pt idx="490">
                  <c:v>2.4908599999999979</c:v>
                </c:pt>
                <c:pt idx="491">
                  <c:v>2.4939499999999981</c:v>
                </c:pt>
                <c:pt idx="492">
                  <c:v>2.4895800000000001</c:v>
                </c:pt>
                <c:pt idx="493">
                  <c:v>2.49051</c:v>
                </c:pt>
                <c:pt idx="494">
                  <c:v>2.4927099999999984</c:v>
                </c:pt>
                <c:pt idx="495">
                  <c:v>2.4960299999999984</c:v>
                </c:pt>
                <c:pt idx="496">
                  <c:v>2.4939</c:v>
                </c:pt>
                <c:pt idx="497">
                  <c:v>2.4908399999999982</c:v>
                </c:pt>
                <c:pt idx="498">
                  <c:v>2.4935900000000002</c:v>
                </c:pt>
                <c:pt idx="499">
                  <c:v>2.4885299999999999</c:v>
                </c:pt>
                <c:pt idx="500">
                  <c:v>2.4891999999999999</c:v>
                </c:pt>
                <c:pt idx="501">
                  <c:v>2.4847199999999998</c:v>
                </c:pt>
                <c:pt idx="502">
                  <c:v>2.4826899999999981</c:v>
                </c:pt>
                <c:pt idx="503">
                  <c:v>2.48387</c:v>
                </c:pt>
                <c:pt idx="504">
                  <c:v>2.4819</c:v>
                </c:pt>
                <c:pt idx="505">
                  <c:v>2.4825599999999981</c:v>
                </c:pt>
                <c:pt idx="506">
                  <c:v>2.48325</c:v>
                </c:pt>
                <c:pt idx="507">
                  <c:v>2.4809999999999999</c:v>
                </c:pt>
                <c:pt idx="508">
                  <c:v>2.4837699999999998</c:v>
                </c:pt>
                <c:pt idx="509">
                  <c:v>2.4827300000000001</c:v>
                </c:pt>
                <c:pt idx="510">
                  <c:v>2.4820699999999984</c:v>
                </c:pt>
                <c:pt idx="511">
                  <c:v>2.4750099999999984</c:v>
                </c:pt>
                <c:pt idx="512">
                  <c:v>2.474479999999998</c:v>
                </c:pt>
                <c:pt idx="513">
                  <c:v>2.4650300000000001</c:v>
                </c:pt>
                <c:pt idx="514">
                  <c:v>2.46855</c:v>
                </c:pt>
                <c:pt idx="515">
                  <c:v>2.4663399999999998</c:v>
                </c:pt>
                <c:pt idx="516">
                  <c:v>2.46401</c:v>
                </c:pt>
                <c:pt idx="517">
                  <c:v>2.45899</c:v>
                </c:pt>
                <c:pt idx="518">
                  <c:v>2.4609899999999998</c:v>
                </c:pt>
                <c:pt idx="519">
                  <c:v>2.4560699999999973</c:v>
                </c:pt>
                <c:pt idx="520">
                  <c:v>2.4433400000000001</c:v>
                </c:pt>
                <c:pt idx="521">
                  <c:v>2.4366499999999967</c:v>
                </c:pt>
                <c:pt idx="522">
                  <c:v>2.4342199999999981</c:v>
                </c:pt>
                <c:pt idx="523">
                  <c:v>2.4337599999999981</c:v>
                </c:pt>
                <c:pt idx="524">
                  <c:v>2.4312199999999984</c:v>
                </c:pt>
                <c:pt idx="525">
                  <c:v>2.4285800000000002</c:v>
                </c:pt>
                <c:pt idx="526">
                  <c:v>2.4275500000000001</c:v>
                </c:pt>
                <c:pt idx="527">
                  <c:v>2.4248799999999981</c:v>
                </c:pt>
                <c:pt idx="528">
                  <c:v>2.4224699999999979</c:v>
                </c:pt>
                <c:pt idx="529">
                  <c:v>2.422829999999998</c:v>
                </c:pt>
                <c:pt idx="530">
                  <c:v>2.4234300000000002</c:v>
                </c:pt>
                <c:pt idx="531">
                  <c:v>2.4255200000000001</c:v>
                </c:pt>
                <c:pt idx="532">
                  <c:v>2.4239600000000001</c:v>
                </c:pt>
                <c:pt idx="533">
                  <c:v>2.4237299999999999</c:v>
                </c:pt>
                <c:pt idx="534">
                  <c:v>2.4222799999999984</c:v>
                </c:pt>
                <c:pt idx="535">
                  <c:v>2.4232300000000002</c:v>
                </c:pt>
                <c:pt idx="536">
                  <c:v>2.4213499999999981</c:v>
                </c:pt>
                <c:pt idx="537">
                  <c:v>2.4202900000000001</c:v>
                </c:pt>
                <c:pt idx="538">
                  <c:v>2.4241299999999999</c:v>
                </c:pt>
                <c:pt idx="539">
                  <c:v>2.42841</c:v>
                </c:pt>
                <c:pt idx="540">
                  <c:v>2.42882</c:v>
                </c:pt>
                <c:pt idx="541">
                  <c:v>2.4262699999999984</c:v>
                </c:pt>
                <c:pt idx="542">
                  <c:v>2.4258299999999982</c:v>
                </c:pt>
                <c:pt idx="543">
                  <c:v>2.42347</c:v>
                </c:pt>
                <c:pt idx="544">
                  <c:v>2.4243000000000001</c:v>
                </c:pt>
                <c:pt idx="545">
                  <c:v>2.4270100000000001</c:v>
                </c:pt>
                <c:pt idx="546">
                  <c:v>2.4290399999999988</c:v>
                </c:pt>
                <c:pt idx="547">
                  <c:v>2.4302999999999981</c:v>
                </c:pt>
                <c:pt idx="548">
                  <c:v>2.4317599999999984</c:v>
                </c:pt>
                <c:pt idx="549">
                  <c:v>2.4300699999999984</c:v>
                </c:pt>
                <c:pt idx="550">
                  <c:v>2.4308899999999984</c:v>
                </c:pt>
                <c:pt idx="551">
                  <c:v>2.4311999999999987</c:v>
                </c:pt>
                <c:pt idx="552">
                  <c:v>2.4358199999999979</c:v>
                </c:pt>
                <c:pt idx="553">
                  <c:v>2.4351399999999988</c:v>
                </c:pt>
                <c:pt idx="554">
                  <c:v>2.4336099999999981</c:v>
                </c:pt>
                <c:pt idx="555">
                  <c:v>2.431299999999998</c:v>
                </c:pt>
                <c:pt idx="556">
                  <c:v>2.4291800000000001</c:v>
                </c:pt>
                <c:pt idx="557">
                  <c:v>2.42876</c:v>
                </c:pt>
                <c:pt idx="558">
                  <c:v>2.42787</c:v>
                </c:pt>
                <c:pt idx="559">
                  <c:v>2.4264099999999984</c:v>
                </c:pt>
                <c:pt idx="560">
                  <c:v>2.42299</c:v>
                </c:pt>
                <c:pt idx="561">
                  <c:v>2.42069</c:v>
                </c:pt>
                <c:pt idx="562">
                  <c:v>2.4172599999999984</c:v>
                </c:pt>
                <c:pt idx="563">
                  <c:v>2.4163299999999981</c:v>
                </c:pt>
                <c:pt idx="564">
                  <c:v>2.4157899999999981</c:v>
                </c:pt>
                <c:pt idx="565">
                  <c:v>2.4194699999999973</c:v>
                </c:pt>
                <c:pt idx="566">
                  <c:v>2.4224999999999981</c:v>
                </c:pt>
                <c:pt idx="567">
                  <c:v>2.4239799999999998</c:v>
                </c:pt>
                <c:pt idx="568">
                  <c:v>2.4252499999999979</c:v>
                </c:pt>
                <c:pt idx="569">
                  <c:v>2.4267999999999987</c:v>
                </c:pt>
                <c:pt idx="570">
                  <c:v>2.4292799999999981</c:v>
                </c:pt>
                <c:pt idx="571">
                  <c:v>2.4307999999999987</c:v>
                </c:pt>
                <c:pt idx="572">
                  <c:v>2.4297999999999997</c:v>
                </c:pt>
                <c:pt idx="573">
                  <c:v>2.42516</c:v>
                </c:pt>
                <c:pt idx="574">
                  <c:v>2.4260899999999981</c:v>
                </c:pt>
                <c:pt idx="575">
                  <c:v>2.4273899999999999</c:v>
                </c:pt>
                <c:pt idx="576">
                  <c:v>2.4226599999999978</c:v>
                </c:pt>
                <c:pt idx="577">
                  <c:v>2.4245800000000002</c:v>
                </c:pt>
                <c:pt idx="578">
                  <c:v>2.4233199999999999</c:v>
                </c:pt>
                <c:pt idx="579">
                  <c:v>2.4219999999999997</c:v>
                </c:pt>
                <c:pt idx="580">
                  <c:v>2.4251800000000001</c:v>
                </c:pt>
                <c:pt idx="581">
                  <c:v>2.4262799999999984</c:v>
                </c:pt>
                <c:pt idx="582">
                  <c:v>2.427</c:v>
                </c:pt>
                <c:pt idx="583">
                  <c:v>2.4295499999999981</c:v>
                </c:pt>
                <c:pt idx="584">
                  <c:v>2.4311999999999987</c:v>
                </c:pt>
                <c:pt idx="585">
                  <c:v>2.4318699999999973</c:v>
                </c:pt>
                <c:pt idx="586">
                  <c:v>2.44292</c:v>
                </c:pt>
                <c:pt idx="587">
                  <c:v>2.4559199999999981</c:v>
                </c:pt>
                <c:pt idx="588">
                  <c:v>2.4565799999999984</c:v>
                </c:pt>
                <c:pt idx="589">
                  <c:v>2.46427</c:v>
                </c:pt>
                <c:pt idx="590">
                  <c:v>2.4688099999999982</c:v>
                </c:pt>
                <c:pt idx="591">
                  <c:v>2.4749599999999981</c:v>
                </c:pt>
                <c:pt idx="592">
                  <c:v>2.49377</c:v>
                </c:pt>
                <c:pt idx="593">
                  <c:v>2.5042800000000001</c:v>
                </c:pt>
                <c:pt idx="594">
                  <c:v>2.5055700000000001</c:v>
                </c:pt>
                <c:pt idx="595">
                  <c:v>2.5069699999999981</c:v>
                </c:pt>
                <c:pt idx="596">
                  <c:v>2.5087999999999999</c:v>
                </c:pt>
                <c:pt idx="597">
                  <c:v>2.5124299999999984</c:v>
                </c:pt>
                <c:pt idx="598">
                  <c:v>2.5159199999999982</c:v>
                </c:pt>
                <c:pt idx="599">
                  <c:v>2.5210399999999997</c:v>
                </c:pt>
                <c:pt idx="600">
                  <c:v>2.5331999999999999</c:v>
                </c:pt>
                <c:pt idx="601">
                  <c:v>2.5348999999999982</c:v>
                </c:pt>
                <c:pt idx="602">
                  <c:v>2.5373999999999999</c:v>
                </c:pt>
                <c:pt idx="603">
                  <c:v>2.5427999999999997</c:v>
                </c:pt>
                <c:pt idx="604">
                  <c:v>2.5472000000000001</c:v>
                </c:pt>
                <c:pt idx="605">
                  <c:v>2.5579999999999998</c:v>
                </c:pt>
                <c:pt idx="606">
                  <c:v>2.5695000000000001</c:v>
                </c:pt>
                <c:pt idx="607">
                  <c:v>2.5719999999999987</c:v>
                </c:pt>
                <c:pt idx="608">
                  <c:v>2.5745</c:v>
                </c:pt>
                <c:pt idx="609">
                  <c:v>2.5768099999999978</c:v>
                </c:pt>
                <c:pt idx="610">
                  <c:v>2.5732300000000001</c:v>
                </c:pt>
                <c:pt idx="611">
                  <c:v>2.5749499999999981</c:v>
                </c:pt>
                <c:pt idx="612">
                  <c:v>2.5701800000000001</c:v>
                </c:pt>
                <c:pt idx="613">
                  <c:v>2.5681400000000001</c:v>
                </c:pt>
                <c:pt idx="614">
                  <c:v>2.5726499999999963</c:v>
                </c:pt>
                <c:pt idx="615">
                  <c:v>2.5738099999999982</c:v>
                </c:pt>
                <c:pt idx="616">
                  <c:v>2.5765199999999981</c:v>
                </c:pt>
                <c:pt idx="617">
                  <c:v>2.5803199999999999</c:v>
                </c:pt>
                <c:pt idx="618">
                  <c:v>2.5832299999999999</c:v>
                </c:pt>
                <c:pt idx="619">
                  <c:v>2.6055000000000001</c:v>
                </c:pt>
                <c:pt idx="620">
                  <c:v>2.6209500000000001</c:v>
                </c:pt>
                <c:pt idx="621">
                  <c:v>2.6253199999999999</c:v>
                </c:pt>
                <c:pt idx="622">
                  <c:v>2.6281099999999999</c:v>
                </c:pt>
                <c:pt idx="623">
                  <c:v>2.6260499999999984</c:v>
                </c:pt>
                <c:pt idx="624">
                  <c:v>2.62784</c:v>
                </c:pt>
                <c:pt idx="625">
                  <c:v>2.6301199999999998</c:v>
                </c:pt>
                <c:pt idx="626">
                  <c:v>2.6326199999999984</c:v>
                </c:pt>
                <c:pt idx="627">
                  <c:v>2.6387900000000002</c:v>
                </c:pt>
                <c:pt idx="628">
                  <c:v>2.6401500000000002</c:v>
                </c:pt>
                <c:pt idx="629">
                  <c:v>2.63951</c:v>
                </c:pt>
                <c:pt idx="630">
                  <c:v>2.6389</c:v>
                </c:pt>
                <c:pt idx="631">
                  <c:v>2.64194</c:v>
                </c:pt>
                <c:pt idx="632">
                  <c:v>2.639609999999998</c:v>
                </c:pt>
                <c:pt idx="633">
                  <c:v>2.6377899999999999</c:v>
                </c:pt>
                <c:pt idx="634">
                  <c:v>2.6381800000000002</c:v>
                </c:pt>
                <c:pt idx="635">
                  <c:v>2.6422300000000001</c:v>
                </c:pt>
                <c:pt idx="636">
                  <c:v>2.6450999999999998</c:v>
                </c:pt>
                <c:pt idx="637">
                  <c:v>2.65</c:v>
                </c:pt>
                <c:pt idx="638">
                  <c:v>2.6597900000000001</c:v>
                </c:pt>
                <c:pt idx="639">
                  <c:v>2.65476</c:v>
                </c:pt>
                <c:pt idx="640">
                  <c:v>2.6516999999999982</c:v>
                </c:pt>
                <c:pt idx="641">
                  <c:v>2.6566199999999984</c:v>
                </c:pt>
                <c:pt idx="642">
                  <c:v>2.6591900000000002</c:v>
                </c:pt>
                <c:pt idx="643">
                  <c:v>2.6603100000000017</c:v>
                </c:pt>
                <c:pt idx="644">
                  <c:v>2.6585200000000002</c:v>
                </c:pt>
                <c:pt idx="645">
                  <c:v>2.6634699999999998</c:v>
                </c:pt>
                <c:pt idx="646">
                  <c:v>2.6607099999999999</c:v>
                </c:pt>
                <c:pt idx="647">
                  <c:v>2.6781700000000002</c:v>
                </c:pt>
                <c:pt idx="648">
                  <c:v>2.6855799999999999</c:v>
                </c:pt>
                <c:pt idx="649">
                  <c:v>2.6882600000000001</c:v>
                </c:pt>
                <c:pt idx="650">
                  <c:v>2.6925300000000001</c:v>
                </c:pt>
                <c:pt idx="651">
                  <c:v>2.6977300000000017</c:v>
                </c:pt>
                <c:pt idx="652">
                  <c:v>2.7042299999999999</c:v>
                </c:pt>
                <c:pt idx="653">
                  <c:v>2.7185899999999998</c:v>
                </c:pt>
                <c:pt idx="654">
                  <c:v>2.7189800000000002</c:v>
                </c:pt>
                <c:pt idx="655">
                  <c:v>2.7284299999999999</c:v>
                </c:pt>
                <c:pt idx="656">
                  <c:v>2.7359999999999998</c:v>
                </c:pt>
                <c:pt idx="657">
                  <c:v>2.7486899999999999</c:v>
                </c:pt>
                <c:pt idx="658">
                  <c:v>2.7638400000000001</c:v>
                </c:pt>
                <c:pt idx="659">
                  <c:v>2.7713100000000002</c:v>
                </c:pt>
                <c:pt idx="660">
                  <c:v>2.7786</c:v>
                </c:pt>
                <c:pt idx="661">
                  <c:v>2.7792499999999984</c:v>
                </c:pt>
                <c:pt idx="662">
                  <c:v>2.7805700000000018</c:v>
                </c:pt>
                <c:pt idx="663">
                  <c:v>2.7791999999999999</c:v>
                </c:pt>
                <c:pt idx="664">
                  <c:v>2.7767399999999998</c:v>
                </c:pt>
                <c:pt idx="665">
                  <c:v>2.7709999999999999</c:v>
                </c:pt>
                <c:pt idx="666">
                  <c:v>2.7663600000000002</c:v>
                </c:pt>
                <c:pt idx="667">
                  <c:v>2.7705899999999999</c:v>
                </c:pt>
                <c:pt idx="668">
                  <c:v>2.7711999999999999</c:v>
                </c:pt>
                <c:pt idx="669">
                  <c:v>2.7762499999999979</c:v>
                </c:pt>
                <c:pt idx="670">
                  <c:v>2.7804099999999998</c:v>
                </c:pt>
                <c:pt idx="671">
                  <c:v>2.7865500000000001</c:v>
                </c:pt>
                <c:pt idx="672">
                  <c:v>2.7772600000000001</c:v>
                </c:pt>
                <c:pt idx="673">
                  <c:v>2.76566</c:v>
                </c:pt>
                <c:pt idx="674">
                  <c:v>2.7763399999999998</c:v>
                </c:pt>
                <c:pt idx="675">
                  <c:v>2.7747199999999999</c:v>
                </c:pt>
                <c:pt idx="676">
                  <c:v>2.77563</c:v>
                </c:pt>
                <c:pt idx="677">
                  <c:v>2.7668900000000001</c:v>
                </c:pt>
                <c:pt idx="678">
                  <c:v>2.7717800000000001</c:v>
                </c:pt>
                <c:pt idx="679">
                  <c:v>2.7700399999999998</c:v>
                </c:pt>
                <c:pt idx="680">
                  <c:v>2.7709999999999999</c:v>
                </c:pt>
                <c:pt idx="681">
                  <c:v>2.77976</c:v>
                </c:pt>
                <c:pt idx="682">
                  <c:v>2.7681000000000018</c:v>
                </c:pt>
                <c:pt idx="683">
                  <c:v>2.7704900000000001</c:v>
                </c:pt>
                <c:pt idx="684">
                  <c:v>2.7661199999999999</c:v>
                </c:pt>
                <c:pt idx="685">
                  <c:v>2.7734999999999999</c:v>
                </c:pt>
                <c:pt idx="686">
                  <c:v>2.7827999999999999</c:v>
                </c:pt>
                <c:pt idx="687">
                  <c:v>2.7899600000000002</c:v>
                </c:pt>
                <c:pt idx="688">
                  <c:v>2.8028799999999978</c:v>
                </c:pt>
                <c:pt idx="689">
                  <c:v>2.8172599999999979</c:v>
                </c:pt>
                <c:pt idx="690">
                  <c:v>2.8111599999999979</c:v>
                </c:pt>
                <c:pt idx="691">
                  <c:v>2.8107899999999981</c:v>
                </c:pt>
                <c:pt idx="692">
                  <c:v>2.8176799999999984</c:v>
                </c:pt>
                <c:pt idx="693">
                  <c:v>2.8178799999999984</c:v>
                </c:pt>
                <c:pt idx="694">
                  <c:v>2.8273299999999999</c:v>
                </c:pt>
                <c:pt idx="695">
                  <c:v>2.8366199999999968</c:v>
                </c:pt>
                <c:pt idx="696">
                  <c:v>2.825549999999998</c:v>
                </c:pt>
                <c:pt idx="697">
                  <c:v>2.82362</c:v>
                </c:pt>
                <c:pt idx="698">
                  <c:v>2.8255399999999997</c:v>
                </c:pt>
                <c:pt idx="699">
                  <c:v>2.8212099999999984</c:v>
                </c:pt>
                <c:pt idx="700">
                  <c:v>2.8288599999999984</c:v>
                </c:pt>
                <c:pt idx="701">
                  <c:v>2.8358299999999979</c:v>
                </c:pt>
                <c:pt idx="702">
                  <c:v>2.8381499999999984</c:v>
                </c:pt>
                <c:pt idx="703">
                  <c:v>2.8496899999999981</c:v>
                </c:pt>
                <c:pt idx="704">
                  <c:v>2.8453999999999997</c:v>
                </c:pt>
                <c:pt idx="705">
                  <c:v>2.8548799999999979</c:v>
                </c:pt>
                <c:pt idx="706">
                  <c:v>2.8601700000000001</c:v>
                </c:pt>
                <c:pt idx="707">
                  <c:v>2.8656999999999981</c:v>
                </c:pt>
                <c:pt idx="708">
                  <c:v>2.8693</c:v>
                </c:pt>
                <c:pt idx="709">
                  <c:v>2.8699999999999997</c:v>
                </c:pt>
                <c:pt idx="710">
                  <c:v>2.8821999999999997</c:v>
                </c:pt>
                <c:pt idx="711">
                  <c:v>2.8758199999999978</c:v>
                </c:pt>
                <c:pt idx="712">
                  <c:v>2.878429999999998</c:v>
                </c:pt>
                <c:pt idx="713">
                  <c:v>2.8867999999999987</c:v>
                </c:pt>
                <c:pt idx="714">
                  <c:v>2.8833000000000002</c:v>
                </c:pt>
                <c:pt idx="715">
                  <c:v>2.8797199999999981</c:v>
                </c:pt>
                <c:pt idx="716">
                  <c:v>2.8893</c:v>
                </c:pt>
                <c:pt idx="717">
                  <c:v>2.9069099999999981</c:v>
                </c:pt>
                <c:pt idx="718">
                  <c:v>2.9222999999999981</c:v>
                </c:pt>
                <c:pt idx="719">
                  <c:v>2.9222899999999981</c:v>
                </c:pt>
                <c:pt idx="720">
                  <c:v>2.9159999999999981</c:v>
                </c:pt>
                <c:pt idx="721">
                  <c:v>2.9179999999999997</c:v>
                </c:pt>
                <c:pt idx="722">
                  <c:v>2.9051</c:v>
                </c:pt>
                <c:pt idx="723">
                  <c:v>2.903</c:v>
                </c:pt>
                <c:pt idx="724">
                  <c:v>2.9087700000000001</c:v>
                </c:pt>
                <c:pt idx="725">
                  <c:v>2.9138499999999978</c:v>
                </c:pt>
                <c:pt idx="726">
                  <c:v>2.92279</c:v>
                </c:pt>
                <c:pt idx="727">
                  <c:v>2.9259999999999997</c:v>
                </c:pt>
                <c:pt idx="728">
                  <c:v>2.935099999999998</c:v>
                </c:pt>
                <c:pt idx="729">
                  <c:v>2.9416899999999981</c:v>
                </c:pt>
                <c:pt idx="730">
                  <c:v>2.931839999999998</c:v>
                </c:pt>
                <c:pt idx="731">
                  <c:v>2.9449999999999998</c:v>
                </c:pt>
                <c:pt idx="732">
                  <c:v>2.9479000000000002</c:v>
                </c:pt>
                <c:pt idx="733">
                  <c:v>2.94231</c:v>
                </c:pt>
                <c:pt idx="734">
                  <c:v>2.95038</c:v>
                </c:pt>
                <c:pt idx="735">
                  <c:v>2.9513599999999984</c:v>
                </c:pt>
                <c:pt idx="736">
                  <c:v>2.9539</c:v>
                </c:pt>
                <c:pt idx="737">
                  <c:v>2.9537</c:v>
                </c:pt>
                <c:pt idx="738">
                  <c:v>2.9631400000000001</c:v>
                </c:pt>
                <c:pt idx="739">
                  <c:v>2.9674299999999998</c:v>
                </c:pt>
                <c:pt idx="740">
                  <c:v>2.9723999999999982</c:v>
                </c:pt>
                <c:pt idx="741">
                  <c:v>2.9820899999999981</c:v>
                </c:pt>
                <c:pt idx="742">
                  <c:v>2.9760599999999968</c:v>
                </c:pt>
                <c:pt idx="743">
                  <c:v>2.9749300000000001</c:v>
                </c:pt>
                <c:pt idx="744">
                  <c:v>2.973059999999998</c:v>
                </c:pt>
                <c:pt idx="745">
                  <c:v>2.9720499999999963</c:v>
                </c:pt>
                <c:pt idx="746">
                  <c:v>2.9849100000000002</c:v>
                </c:pt>
                <c:pt idx="747">
                  <c:v>2.9862899999999981</c:v>
                </c:pt>
                <c:pt idx="748">
                  <c:v>2.9940599999999984</c:v>
                </c:pt>
                <c:pt idx="749">
                  <c:v>2.9952499999999973</c:v>
                </c:pt>
                <c:pt idx="750">
                  <c:v>2.9961199999999981</c:v>
                </c:pt>
                <c:pt idx="751">
                  <c:v>2.9901999999999997</c:v>
                </c:pt>
                <c:pt idx="752">
                  <c:v>2.9943499999999981</c:v>
                </c:pt>
                <c:pt idx="753">
                  <c:v>3.0081000000000002</c:v>
                </c:pt>
                <c:pt idx="754">
                  <c:v>3.03016</c:v>
                </c:pt>
                <c:pt idx="755">
                  <c:v>3.0239799999999999</c:v>
                </c:pt>
                <c:pt idx="756">
                  <c:v>3.0019999999999998</c:v>
                </c:pt>
                <c:pt idx="757">
                  <c:v>3.0055999999999998</c:v>
                </c:pt>
                <c:pt idx="758">
                  <c:v>2.9995999999999987</c:v>
                </c:pt>
                <c:pt idx="759">
                  <c:v>2.9893000000000001</c:v>
                </c:pt>
                <c:pt idx="760">
                  <c:v>2.9975000000000001</c:v>
                </c:pt>
                <c:pt idx="761">
                  <c:v>3.0078</c:v>
                </c:pt>
                <c:pt idx="762">
                  <c:v>3.01877</c:v>
                </c:pt>
                <c:pt idx="763">
                  <c:v>3.0210900000000001</c:v>
                </c:pt>
                <c:pt idx="764">
                  <c:v>3.0267499999999981</c:v>
                </c:pt>
                <c:pt idx="765">
                  <c:v>3.031559999999998</c:v>
                </c:pt>
                <c:pt idx="766">
                  <c:v>3.038469999999998</c:v>
                </c:pt>
                <c:pt idx="767">
                  <c:v>3.03783</c:v>
                </c:pt>
                <c:pt idx="768">
                  <c:v>3.035899999999998</c:v>
                </c:pt>
                <c:pt idx="769">
                  <c:v>3.04156</c:v>
                </c:pt>
                <c:pt idx="770">
                  <c:v>3.0292699999999981</c:v>
                </c:pt>
                <c:pt idx="771">
                  <c:v>3.0283300000000017</c:v>
                </c:pt>
                <c:pt idx="772">
                  <c:v>3.0319999999999987</c:v>
                </c:pt>
                <c:pt idx="773">
                  <c:v>3.0217000000000001</c:v>
                </c:pt>
                <c:pt idx="774">
                  <c:v>3.0265399999999998</c:v>
                </c:pt>
                <c:pt idx="775">
                  <c:v>3.0311599999999981</c:v>
                </c:pt>
                <c:pt idx="776">
                  <c:v>3.0335999999999999</c:v>
                </c:pt>
                <c:pt idx="777">
                  <c:v>3.0428599999999979</c:v>
                </c:pt>
                <c:pt idx="778">
                  <c:v>3.05111</c:v>
                </c:pt>
                <c:pt idx="779">
                  <c:v>3.0567999999999982</c:v>
                </c:pt>
                <c:pt idx="780">
                  <c:v>3.0646</c:v>
                </c:pt>
                <c:pt idx="781">
                  <c:v>3.0657800000000002</c:v>
                </c:pt>
                <c:pt idx="782">
                  <c:v>3.0592099999999984</c:v>
                </c:pt>
                <c:pt idx="783">
                  <c:v>3.0574300000000001</c:v>
                </c:pt>
                <c:pt idx="784">
                  <c:v>3.0665</c:v>
                </c:pt>
                <c:pt idx="785">
                  <c:v>3.0642999999999998</c:v>
                </c:pt>
                <c:pt idx="786">
                  <c:v>3.0665100000000001</c:v>
                </c:pt>
                <c:pt idx="787">
                  <c:v>3.059959999999998</c:v>
                </c:pt>
                <c:pt idx="788">
                  <c:v>3.0589999999999997</c:v>
                </c:pt>
                <c:pt idx="789">
                  <c:v>3.0585900000000001</c:v>
                </c:pt>
                <c:pt idx="790">
                  <c:v>3.0553999999999997</c:v>
                </c:pt>
                <c:pt idx="791">
                  <c:v>3.0559999999999987</c:v>
                </c:pt>
                <c:pt idx="792">
                  <c:v>3.0413100000000002</c:v>
                </c:pt>
                <c:pt idx="793">
                  <c:v>3.0366099999999978</c:v>
                </c:pt>
                <c:pt idx="794">
                  <c:v>3.0435300000000018</c:v>
                </c:pt>
                <c:pt idx="795">
                  <c:v>3.0445500000000001</c:v>
                </c:pt>
                <c:pt idx="796">
                  <c:v>3.0538499999999984</c:v>
                </c:pt>
                <c:pt idx="797">
                  <c:v>3.05708</c:v>
                </c:pt>
                <c:pt idx="798">
                  <c:v>3.06623</c:v>
                </c:pt>
                <c:pt idx="799">
                  <c:v>3.0702199999999982</c:v>
                </c:pt>
                <c:pt idx="800">
                  <c:v>3.0731199999999999</c:v>
                </c:pt>
                <c:pt idx="801">
                  <c:v>3.0714999999999981</c:v>
                </c:pt>
                <c:pt idx="802">
                  <c:v>3.0631499999999998</c:v>
                </c:pt>
                <c:pt idx="803">
                  <c:v>3.0607000000000002</c:v>
                </c:pt>
                <c:pt idx="804">
                  <c:v>3.0553300000000001</c:v>
                </c:pt>
                <c:pt idx="805">
                  <c:v>3.0497100000000001</c:v>
                </c:pt>
                <c:pt idx="806">
                  <c:v>3.0491999999999999</c:v>
                </c:pt>
                <c:pt idx="807">
                  <c:v>3.0417200000000002</c:v>
                </c:pt>
                <c:pt idx="808">
                  <c:v>3.03816</c:v>
                </c:pt>
                <c:pt idx="809">
                  <c:v>3.0487799999999998</c:v>
                </c:pt>
                <c:pt idx="810">
                  <c:v>3.0533999999999999</c:v>
                </c:pt>
                <c:pt idx="811">
                  <c:v>3.0503</c:v>
                </c:pt>
                <c:pt idx="812">
                  <c:v>3.0440999999999998</c:v>
                </c:pt>
                <c:pt idx="813">
                  <c:v>3.0489799999999998</c:v>
                </c:pt>
                <c:pt idx="814">
                  <c:v>3.0564199999999979</c:v>
                </c:pt>
                <c:pt idx="815">
                  <c:v>3.0593999999999997</c:v>
                </c:pt>
                <c:pt idx="816">
                  <c:v>3.05972</c:v>
                </c:pt>
                <c:pt idx="817">
                  <c:v>3.05816</c:v>
                </c:pt>
                <c:pt idx="818">
                  <c:v>3.0528799999999978</c:v>
                </c:pt>
                <c:pt idx="819">
                  <c:v>3.0563899999999982</c:v>
                </c:pt>
                <c:pt idx="820">
                  <c:v>3.0533100000000002</c:v>
                </c:pt>
                <c:pt idx="821">
                  <c:v>3.0518599999999974</c:v>
                </c:pt>
                <c:pt idx="822">
                  <c:v>3.0473100000000017</c:v>
                </c:pt>
                <c:pt idx="823">
                  <c:v>3.0390999999999981</c:v>
                </c:pt>
                <c:pt idx="824">
                  <c:v>3.0356899999999984</c:v>
                </c:pt>
                <c:pt idx="825">
                  <c:v>3.0277799999999999</c:v>
                </c:pt>
                <c:pt idx="826">
                  <c:v>3.0192999999999981</c:v>
                </c:pt>
                <c:pt idx="827">
                  <c:v>3.0101900000000001</c:v>
                </c:pt>
                <c:pt idx="828">
                  <c:v>2.99892</c:v>
                </c:pt>
                <c:pt idx="829">
                  <c:v>2.9922999999999984</c:v>
                </c:pt>
                <c:pt idx="830">
                  <c:v>2.9934099999999981</c:v>
                </c:pt>
                <c:pt idx="831">
                  <c:v>2.9979</c:v>
                </c:pt>
                <c:pt idx="832">
                  <c:v>3.0040499999999981</c:v>
                </c:pt>
                <c:pt idx="833">
                  <c:v>2.99898</c:v>
                </c:pt>
                <c:pt idx="834">
                  <c:v>2.9979999999999998</c:v>
                </c:pt>
                <c:pt idx="835">
                  <c:v>3.00223</c:v>
                </c:pt>
                <c:pt idx="836">
                  <c:v>3.0031500000000002</c:v>
                </c:pt>
                <c:pt idx="837">
                  <c:v>3.0028299999999981</c:v>
                </c:pt>
                <c:pt idx="838">
                  <c:v>2.9962699999999973</c:v>
                </c:pt>
                <c:pt idx="839">
                  <c:v>2.9977499999999981</c:v>
                </c:pt>
                <c:pt idx="840">
                  <c:v>2.9979999999999998</c:v>
                </c:pt>
                <c:pt idx="841">
                  <c:v>2.9785999999999997</c:v>
                </c:pt>
                <c:pt idx="842">
                  <c:v>2.9720599999999968</c:v>
                </c:pt>
                <c:pt idx="843">
                  <c:v>2.98</c:v>
                </c:pt>
                <c:pt idx="844">
                  <c:v>2.9828999999999981</c:v>
                </c:pt>
                <c:pt idx="845">
                  <c:v>2.9828499999999973</c:v>
                </c:pt>
                <c:pt idx="846">
                  <c:v>2.9851800000000002</c:v>
                </c:pt>
                <c:pt idx="847">
                  <c:v>2.9919199999999981</c:v>
                </c:pt>
                <c:pt idx="848">
                  <c:v>2.9955499999999984</c:v>
                </c:pt>
                <c:pt idx="849">
                  <c:v>2.99491</c:v>
                </c:pt>
                <c:pt idx="850">
                  <c:v>2.9994099999999979</c:v>
                </c:pt>
                <c:pt idx="851">
                  <c:v>2.9883000000000002</c:v>
                </c:pt>
                <c:pt idx="852">
                  <c:v>2.986749999999998</c:v>
                </c:pt>
                <c:pt idx="853">
                  <c:v>2.98</c:v>
                </c:pt>
                <c:pt idx="854">
                  <c:v>2.9889999999999999</c:v>
                </c:pt>
                <c:pt idx="855">
                  <c:v>2.98895</c:v>
                </c:pt>
                <c:pt idx="856">
                  <c:v>2.98</c:v>
                </c:pt>
                <c:pt idx="857">
                  <c:v>2.982409999999998</c:v>
                </c:pt>
                <c:pt idx="858">
                  <c:v>2.9704999999999981</c:v>
                </c:pt>
                <c:pt idx="859">
                  <c:v>2.9544999999999981</c:v>
                </c:pt>
                <c:pt idx="860">
                  <c:v>2.95322</c:v>
                </c:pt>
                <c:pt idx="861">
                  <c:v>2.9509999999999987</c:v>
                </c:pt>
                <c:pt idx="862">
                  <c:v>2.959569999999998</c:v>
                </c:pt>
                <c:pt idx="863">
                  <c:v>2.9592699999999978</c:v>
                </c:pt>
                <c:pt idx="864">
                  <c:v>2.9608499999999984</c:v>
                </c:pt>
                <c:pt idx="865">
                  <c:v>2.9661300000000002</c:v>
                </c:pt>
                <c:pt idx="866">
                  <c:v>2.9380999999999982</c:v>
                </c:pt>
                <c:pt idx="867">
                  <c:v>2.9120699999999968</c:v>
                </c:pt>
                <c:pt idx="868">
                  <c:v>2.9</c:v>
                </c:pt>
                <c:pt idx="869">
                  <c:v>2.8783300000000001</c:v>
                </c:pt>
                <c:pt idx="870">
                  <c:v>2.8749999999999987</c:v>
                </c:pt>
                <c:pt idx="871">
                  <c:v>2.8696499999999978</c:v>
                </c:pt>
                <c:pt idx="872">
                  <c:v>2.87791</c:v>
                </c:pt>
                <c:pt idx="873">
                  <c:v>2.874429999999998</c:v>
                </c:pt>
                <c:pt idx="874">
                  <c:v>2.8821099999999982</c:v>
                </c:pt>
                <c:pt idx="875">
                  <c:v>2.885269999999998</c:v>
                </c:pt>
                <c:pt idx="876">
                  <c:v>2.883</c:v>
                </c:pt>
                <c:pt idx="877">
                  <c:v>2.8843800000000002</c:v>
                </c:pt>
                <c:pt idx="878">
                  <c:v>2.8791999999999982</c:v>
                </c:pt>
                <c:pt idx="879">
                  <c:v>2.88714</c:v>
                </c:pt>
                <c:pt idx="880">
                  <c:v>2.8748299999999984</c:v>
                </c:pt>
                <c:pt idx="881">
                  <c:v>2.8749999999999987</c:v>
                </c:pt>
                <c:pt idx="882">
                  <c:v>2.8757199999999981</c:v>
                </c:pt>
                <c:pt idx="883">
                  <c:v>2.8779300000000001</c:v>
                </c:pt>
                <c:pt idx="884">
                  <c:v>2.8709499999999979</c:v>
                </c:pt>
                <c:pt idx="885">
                  <c:v>2.8726999999999978</c:v>
                </c:pt>
                <c:pt idx="886">
                  <c:v>2.8788099999999979</c:v>
                </c:pt>
                <c:pt idx="887">
                  <c:v>2.8704999999999981</c:v>
                </c:pt>
                <c:pt idx="888">
                  <c:v>2.86199</c:v>
                </c:pt>
                <c:pt idx="889">
                  <c:v>2.870359999999998</c:v>
                </c:pt>
                <c:pt idx="890">
                  <c:v>2.8738299999999981</c:v>
                </c:pt>
                <c:pt idx="891">
                  <c:v>2.87723</c:v>
                </c:pt>
                <c:pt idx="892">
                  <c:v>2.879509999999998</c:v>
                </c:pt>
                <c:pt idx="893">
                  <c:v>2.8794199999999979</c:v>
                </c:pt>
                <c:pt idx="894">
                  <c:v>2.8740999999999981</c:v>
                </c:pt>
                <c:pt idx="895">
                  <c:v>2.8763399999999981</c:v>
                </c:pt>
                <c:pt idx="896">
                  <c:v>2.8810799999999981</c:v>
                </c:pt>
                <c:pt idx="897">
                  <c:v>2.8823999999999987</c:v>
                </c:pt>
                <c:pt idx="898">
                  <c:v>2.8657999999999997</c:v>
                </c:pt>
                <c:pt idx="899">
                  <c:v>2.8609100000000001</c:v>
                </c:pt>
                <c:pt idx="900">
                  <c:v>2.8637800000000002</c:v>
                </c:pt>
                <c:pt idx="901">
                  <c:v>2.8541399999999997</c:v>
                </c:pt>
                <c:pt idx="902">
                  <c:v>2.8566299999999973</c:v>
                </c:pt>
                <c:pt idx="903">
                  <c:v>2.857819999999998</c:v>
                </c:pt>
                <c:pt idx="904">
                  <c:v>2.855039999999998</c:v>
                </c:pt>
                <c:pt idx="905">
                  <c:v>2.8682300000000001</c:v>
                </c:pt>
                <c:pt idx="906">
                  <c:v>2.8624099999999979</c:v>
                </c:pt>
                <c:pt idx="907">
                  <c:v>2.8695999999999997</c:v>
                </c:pt>
                <c:pt idx="908">
                  <c:v>2.8657599999999981</c:v>
                </c:pt>
                <c:pt idx="909">
                  <c:v>2.8712499999999963</c:v>
                </c:pt>
                <c:pt idx="910">
                  <c:v>2.8721299999999981</c:v>
                </c:pt>
                <c:pt idx="911">
                  <c:v>2.8584099999999979</c:v>
                </c:pt>
                <c:pt idx="912">
                  <c:v>2.86151</c:v>
                </c:pt>
                <c:pt idx="913">
                  <c:v>2.8605299999999998</c:v>
                </c:pt>
                <c:pt idx="914">
                  <c:v>2.8645</c:v>
                </c:pt>
                <c:pt idx="915">
                  <c:v>2.8721599999999978</c:v>
                </c:pt>
                <c:pt idx="916">
                  <c:v>2.8749399999999987</c:v>
                </c:pt>
                <c:pt idx="917">
                  <c:v>2.88049</c:v>
                </c:pt>
                <c:pt idx="918">
                  <c:v>2.8697399999999997</c:v>
                </c:pt>
                <c:pt idx="919">
                  <c:v>2.8635700000000002</c:v>
                </c:pt>
                <c:pt idx="920">
                  <c:v>2.8601700000000001</c:v>
                </c:pt>
                <c:pt idx="921">
                  <c:v>2.8582899999999984</c:v>
                </c:pt>
                <c:pt idx="922">
                  <c:v>2.8598399999999979</c:v>
                </c:pt>
                <c:pt idx="923">
                  <c:v>2.8498099999999984</c:v>
                </c:pt>
                <c:pt idx="924">
                  <c:v>2.8598299999999979</c:v>
                </c:pt>
                <c:pt idx="925">
                  <c:v>2.8545599999999984</c:v>
                </c:pt>
                <c:pt idx="926">
                  <c:v>2.8652599999999984</c:v>
                </c:pt>
                <c:pt idx="927">
                  <c:v>2.8604799999999981</c:v>
                </c:pt>
                <c:pt idx="928">
                  <c:v>2.8529699999999973</c:v>
                </c:pt>
                <c:pt idx="929">
                  <c:v>2.8494299999999981</c:v>
                </c:pt>
                <c:pt idx="930">
                  <c:v>2.851719999999998</c:v>
                </c:pt>
                <c:pt idx="931">
                  <c:v>2.86253</c:v>
                </c:pt>
                <c:pt idx="932">
                  <c:v>2.8563599999999973</c:v>
                </c:pt>
                <c:pt idx="933">
                  <c:v>2.8540999999999981</c:v>
                </c:pt>
                <c:pt idx="934">
                  <c:v>2.8613599999999981</c:v>
                </c:pt>
                <c:pt idx="935">
                  <c:v>2.8700499999999973</c:v>
                </c:pt>
                <c:pt idx="936">
                  <c:v>2.8680399999999997</c:v>
                </c:pt>
                <c:pt idx="937">
                  <c:v>2.8787999999999987</c:v>
                </c:pt>
                <c:pt idx="938">
                  <c:v>2.86775</c:v>
                </c:pt>
                <c:pt idx="939">
                  <c:v>2.86063</c:v>
                </c:pt>
                <c:pt idx="940">
                  <c:v>2.8591799999999981</c:v>
                </c:pt>
                <c:pt idx="941">
                  <c:v>2.857279999999998</c:v>
                </c:pt>
                <c:pt idx="942">
                  <c:v>2.8559699999999979</c:v>
                </c:pt>
                <c:pt idx="943">
                  <c:v>2.8562899999999973</c:v>
                </c:pt>
                <c:pt idx="944">
                  <c:v>2.8503099999999981</c:v>
                </c:pt>
                <c:pt idx="945">
                  <c:v>2.8533499999999981</c:v>
                </c:pt>
                <c:pt idx="946">
                  <c:v>2.846769999999998</c:v>
                </c:pt>
                <c:pt idx="947">
                  <c:v>2.8456999999999981</c:v>
                </c:pt>
                <c:pt idx="948">
                  <c:v>2.8369299999999984</c:v>
                </c:pt>
                <c:pt idx="949">
                  <c:v>2.8295399999999997</c:v>
                </c:pt>
                <c:pt idx="950">
                  <c:v>2.8216999999999981</c:v>
                </c:pt>
                <c:pt idx="951">
                  <c:v>2.8313499999999978</c:v>
                </c:pt>
                <c:pt idx="952">
                  <c:v>2.8315399999999982</c:v>
                </c:pt>
                <c:pt idx="953">
                  <c:v>2.8354999999999979</c:v>
                </c:pt>
                <c:pt idx="954">
                  <c:v>2.8330899999999981</c:v>
                </c:pt>
                <c:pt idx="955">
                  <c:v>2.8365199999999984</c:v>
                </c:pt>
                <c:pt idx="956">
                  <c:v>2.8369799999999978</c:v>
                </c:pt>
                <c:pt idx="957">
                  <c:v>2.83778</c:v>
                </c:pt>
                <c:pt idx="958">
                  <c:v>2.82551</c:v>
                </c:pt>
                <c:pt idx="959">
                  <c:v>2.8346699999999974</c:v>
                </c:pt>
                <c:pt idx="960">
                  <c:v>2.8319599999999978</c:v>
                </c:pt>
                <c:pt idx="961">
                  <c:v>2.84009</c:v>
                </c:pt>
                <c:pt idx="962">
                  <c:v>2.8416799999999984</c:v>
                </c:pt>
                <c:pt idx="963">
                  <c:v>2.8449999999999998</c:v>
                </c:pt>
                <c:pt idx="964">
                  <c:v>2.8515399999999982</c:v>
                </c:pt>
                <c:pt idx="965">
                  <c:v>2.8531599999999981</c:v>
                </c:pt>
                <c:pt idx="966">
                  <c:v>2.8525599999999973</c:v>
                </c:pt>
              </c:numCache>
            </c:numRef>
          </c:val>
          <c:extLst xmlns:c16r2="http://schemas.microsoft.com/office/drawing/2015/06/chart">
            <c:ext xmlns:c16="http://schemas.microsoft.com/office/drawing/2014/chart" uri="{C3380CC4-5D6E-409C-BE32-E72D297353CC}">
              <c16:uniqueId val="{00000001-C04E-46A7-B756-BAE151EF47BF}"/>
            </c:ext>
          </c:extLst>
        </c:ser>
        <c:ser>
          <c:idx val="1"/>
          <c:order val="1"/>
          <c:tx>
            <c:strRef>
              <c:f>Feuil1!$D$4</c:f>
              <c:strCache>
                <c:ptCount val="1"/>
                <c:pt idx="0">
                  <c:v>أورو</c:v>
                </c:pt>
              </c:strCache>
            </c:strRef>
          </c:tx>
          <c:spPr>
            <a:ln w="28575" cap="rnd">
              <a:solidFill>
                <a:srgbClr val="00B050"/>
              </a:solidFill>
              <a:round/>
            </a:ln>
            <a:effectLst/>
          </c:spPr>
          <c:marker>
            <c:symbol val="none"/>
          </c:marker>
          <c:dLbls>
            <c:dLbl>
              <c:idx val="941"/>
              <c:layout>
                <c:manualLayout>
                  <c:x val="-6.2978484113686603E-2"/>
                  <c:y val="2.1075234611102295E-2"/>
                </c:manualLayout>
              </c:layout>
              <c:showVal val="1"/>
              <c:extLst xmlns:c16r2="http://schemas.microsoft.com/office/drawing/2015/06/chart">
                <c:ext xmlns:c16="http://schemas.microsoft.com/office/drawing/2014/chart" uri="{C3380CC4-5D6E-409C-BE32-E72D297353CC}">
                  <c16:uniqueId val="{00000002-C04E-46A7-B756-BAE151EF47BF}"/>
                </c:ext>
                <c:ext xmlns:c15="http://schemas.microsoft.com/office/drawing/2012/chart" uri="{CE6537A1-D6FC-4f65-9D91-7224C49458BB}">
                  <c15:layout/>
                </c:ext>
              </c:extLst>
            </c:dLbl>
            <c:delete val="1"/>
            <c:extLst xmlns:c16r2="http://schemas.microsoft.com/office/drawing/2015/06/chart">
              <c:ext xmlns:c15="http://schemas.microsoft.com/office/drawing/2012/chart" uri="{CE6537A1-D6FC-4f65-9D91-7224C49458BB}">
                <c15:showLeaderLines val="0"/>
              </c:ext>
            </c:extLst>
          </c:dLbls>
          <c:cat>
            <c:numRef>
              <c:f>Feuil1!$E$2:$AKJ$2</c:f>
              <c:numCache>
                <c:formatCode>dd/mm/yyyy</c:formatCode>
                <c:ptCount val="967"/>
                <c:pt idx="0">
                  <c:v>42373</c:v>
                </c:pt>
                <c:pt idx="1">
                  <c:v>42374</c:v>
                </c:pt>
                <c:pt idx="2">
                  <c:v>42375</c:v>
                </c:pt>
                <c:pt idx="3">
                  <c:v>42376</c:v>
                </c:pt>
                <c:pt idx="4">
                  <c:v>42377</c:v>
                </c:pt>
                <c:pt idx="5">
                  <c:v>42380</c:v>
                </c:pt>
                <c:pt idx="6">
                  <c:v>42381</c:v>
                </c:pt>
                <c:pt idx="7">
                  <c:v>42382</c:v>
                </c:pt>
                <c:pt idx="8">
                  <c:v>42384</c:v>
                </c:pt>
                <c:pt idx="9">
                  <c:v>42387</c:v>
                </c:pt>
                <c:pt idx="10">
                  <c:v>42388</c:v>
                </c:pt>
                <c:pt idx="11">
                  <c:v>42389</c:v>
                </c:pt>
                <c:pt idx="12">
                  <c:v>42390</c:v>
                </c:pt>
                <c:pt idx="13">
                  <c:v>42391</c:v>
                </c:pt>
                <c:pt idx="14">
                  <c:v>42394</c:v>
                </c:pt>
                <c:pt idx="15">
                  <c:v>42395</c:v>
                </c:pt>
                <c:pt idx="16">
                  <c:v>42396</c:v>
                </c:pt>
                <c:pt idx="17">
                  <c:v>42397</c:v>
                </c:pt>
                <c:pt idx="18">
                  <c:v>42398</c:v>
                </c:pt>
                <c:pt idx="19">
                  <c:v>42401</c:v>
                </c:pt>
                <c:pt idx="20">
                  <c:v>42402</c:v>
                </c:pt>
                <c:pt idx="21">
                  <c:v>42403</c:v>
                </c:pt>
                <c:pt idx="22">
                  <c:v>42404</c:v>
                </c:pt>
                <c:pt idx="23">
                  <c:v>42405</c:v>
                </c:pt>
                <c:pt idx="24">
                  <c:v>42408</c:v>
                </c:pt>
                <c:pt idx="25">
                  <c:v>42409</c:v>
                </c:pt>
                <c:pt idx="26">
                  <c:v>42410</c:v>
                </c:pt>
                <c:pt idx="27">
                  <c:v>42411</c:v>
                </c:pt>
                <c:pt idx="28">
                  <c:v>42412</c:v>
                </c:pt>
                <c:pt idx="29">
                  <c:v>42415</c:v>
                </c:pt>
                <c:pt idx="30">
                  <c:v>42416</c:v>
                </c:pt>
                <c:pt idx="31">
                  <c:v>42417</c:v>
                </c:pt>
                <c:pt idx="32">
                  <c:v>42418</c:v>
                </c:pt>
                <c:pt idx="33">
                  <c:v>42419</c:v>
                </c:pt>
                <c:pt idx="34">
                  <c:v>42422</c:v>
                </c:pt>
                <c:pt idx="35">
                  <c:v>42423</c:v>
                </c:pt>
                <c:pt idx="36">
                  <c:v>42424</c:v>
                </c:pt>
                <c:pt idx="37">
                  <c:v>42425</c:v>
                </c:pt>
                <c:pt idx="38">
                  <c:v>42426</c:v>
                </c:pt>
                <c:pt idx="39">
                  <c:v>42429</c:v>
                </c:pt>
                <c:pt idx="40">
                  <c:v>42430</c:v>
                </c:pt>
                <c:pt idx="41">
                  <c:v>42431</c:v>
                </c:pt>
                <c:pt idx="42">
                  <c:v>42432</c:v>
                </c:pt>
                <c:pt idx="43">
                  <c:v>42433</c:v>
                </c:pt>
                <c:pt idx="44">
                  <c:v>42436</c:v>
                </c:pt>
                <c:pt idx="45">
                  <c:v>42437</c:v>
                </c:pt>
                <c:pt idx="46">
                  <c:v>42438</c:v>
                </c:pt>
                <c:pt idx="47">
                  <c:v>42439</c:v>
                </c:pt>
                <c:pt idx="48">
                  <c:v>42440</c:v>
                </c:pt>
                <c:pt idx="49">
                  <c:v>42443</c:v>
                </c:pt>
                <c:pt idx="50">
                  <c:v>42444</c:v>
                </c:pt>
                <c:pt idx="51">
                  <c:v>42445</c:v>
                </c:pt>
                <c:pt idx="52">
                  <c:v>42446</c:v>
                </c:pt>
                <c:pt idx="53">
                  <c:v>42447</c:v>
                </c:pt>
                <c:pt idx="54">
                  <c:v>42450</c:v>
                </c:pt>
                <c:pt idx="55">
                  <c:v>42451</c:v>
                </c:pt>
                <c:pt idx="56">
                  <c:v>42452</c:v>
                </c:pt>
                <c:pt idx="57">
                  <c:v>42453</c:v>
                </c:pt>
                <c:pt idx="58">
                  <c:v>42454</c:v>
                </c:pt>
                <c:pt idx="59">
                  <c:v>42457</c:v>
                </c:pt>
                <c:pt idx="60">
                  <c:v>42458</c:v>
                </c:pt>
                <c:pt idx="61">
                  <c:v>42459</c:v>
                </c:pt>
                <c:pt idx="62">
                  <c:v>42460</c:v>
                </c:pt>
                <c:pt idx="63">
                  <c:v>42461</c:v>
                </c:pt>
                <c:pt idx="64">
                  <c:v>42464</c:v>
                </c:pt>
                <c:pt idx="65">
                  <c:v>42465</c:v>
                </c:pt>
                <c:pt idx="66">
                  <c:v>42466</c:v>
                </c:pt>
                <c:pt idx="67">
                  <c:v>42467</c:v>
                </c:pt>
                <c:pt idx="68">
                  <c:v>42468</c:v>
                </c:pt>
                <c:pt idx="69">
                  <c:v>42471</c:v>
                </c:pt>
                <c:pt idx="70">
                  <c:v>42472</c:v>
                </c:pt>
                <c:pt idx="71">
                  <c:v>42473</c:v>
                </c:pt>
                <c:pt idx="72">
                  <c:v>42474</c:v>
                </c:pt>
                <c:pt idx="73">
                  <c:v>42475</c:v>
                </c:pt>
                <c:pt idx="74">
                  <c:v>42478</c:v>
                </c:pt>
                <c:pt idx="75">
                  <c:v>42479</c:v>
                </c:pt>
                <c:pt idx="76">
                  <c:v>42480</c:v>
                </c:pt>
                <c:pt idx="77">
                  <c:v>42481</c:v>
                </c:pt>
                <c:pt idx="78">
                  <c:v>42482</c:v>
                </c:pt>
                <c:pt idx="79">
                  <c:v>42485</c:v>
                </c:pt>
                <c:pt idx="80">
                  <c:v>42486</c:v>
                </c:pt>
                <c:pt idx="81">
                  <c:v>42487</c:v>
                </c:pt>
                <c:pt idx="82">
                  <c:v>42488</c:v>
                </c:pt>
                <c:pt idx="83">
                  <c:v>42489</c:v>
                </c:pt>
                <c:pt idx="84">
                  <c:v>42492</c:v>
                </c:pt>
                <c:pt idx="85">
                  <c:v>42493</c:v>
                </c:pt>
                <c:pt idx="86">
                  <c:v>42494</c:v>
                </c:pt>
                <c:pt idx="87">
                  <c:v>42495</c:v>
                </c:pt>
                <c:pt idx="88">
                  <c:v>42496</c:v>
                </c:pt>
                <c:pt idx="89">
                  <c:v>42499</c:v>
                </c:pt>
                <c:pt idx="90">
                  <c:v>42500</c:v>
                </c:pt>
                <c:pt idx="91">
                  <c:v>42501</c:v>
                </c:pt>
                <c:pt idx="92">
                  <c:v>42502</c:v>
                </c:pt>
                <c:pt idx="93">
                  <c:v>42503</c:v>
                </c:pt>
                <c:pt idx="94">
                  <c:v>42506</c:v>
                </c:pt>
                <c:pt idx="95">
                  <c:v>42507</c:v>
                </c:pt>
                <c:pt idx="96">
                  <c:v>42508</c:v>
                </c:pt>
                <c:pt idx="97">
                  <c:v>42509</c:v>
                </c:pt>
                <c:pt idx="98">
                  <c:v>42510</c:v>
                </c:pt>
                <c:pt idx="99">
                  <c:v>42513</c:v>
                </c:pt>
                <c:pt idx="100">
                  <c:v>42514</c:v>
                </c:pt>
                <c:pt idx="101">
                  <c:v>42515</c:v>
                </c:pt>
                <c:pt idx="102">
                  <c:v>42516</c:v>
                </c:pt>
                <c:pt idx="103">
                  <c:v>42517</c:v>
                </c:pt>
                <c:pt idx="104">
                  <c:v>42520</c:v>
                </c:pt>
                <c:pt idx="105">
                  <c:v>42521</c:v>
                </c:pt>
                <c:pt idx="106">
                  <c:v>42522</c:v>
                </c:pt>
                <c:pt idx="107">
                  <c:v>42523</c:v>
                </c:pt>
                <c:pt idx="108">
                  <c:v>42524</c:v>
                </c:pt>
                <c:pt idx="109">
                  <c:v>42527</c:v>
                </c:pt>
                <c:pt idx="110">
                  <c:v>42528</c:v>
                </c:pt>
                <c:pt idx="111">
                  <c:v>42529</c:v>
                </c:pt>
                <c:pt idx="112">
                  <c:v>42530</c:v>
                </c:pt>
                <c:pt idx="113">
                  <c:v>42531</c:v>
                </c:pt>
                <c:pt idx="114">
                  <c:v>42534</c:v>
                </c:pt>
                <c:pt idx="115">
                  <c:v>42535</c:v>
                </c:pt>
                <c:pt idx="116">
                  <c:v>42536</c:v>
                </c:pt>
                <c:pt idx="117">
                  <c:v>42537</c:v>
                </c:pt>
                <c:pt idx="118">
                  <c:v>42538</c:v>
                </c:pt>
                <c:pt idx="119">
                  <c:v>42541</c:v>
                </c:pt>
                <c:pt idx="120">
                  <c:v>42542</c:v>
                </c:pt>
                <c:pt idx="121">
                  <c:v>42543</c:v>
                </c:pt>
                <c:pt idx="122">
                  <c:v>42544</c:v>
                </c:pt>
                <c:pt idx="123">
                  <c:v>42545</c:v>
                </c:pt>
                <c:pt idx="124">
                  <c:v>42548</c:v>
                </c:pt>
                <c:pt idx="125">
                  <c:v>42549</c:v>
                </c:pt>
                <c:pt idx="126">
                  <c:v>42550</c:v>
                </c:pt>
                <c:pt idx="127">
                  <c:v>42551</c:v>
                </c:pt>
                <c:pt idx="128">
                  <c:v>42552</c:v>
                </c:pt>
                <c:pt idx="129">
                  <c:v>42555</c:v>
                </c:pt>
                <c:pt idx="130">
                  <c:v>42559</c:v>
                </c:pt>
                <c:pt idx="131">
                  <c:v>42562</c:v>
                </c:pt>
                <c:pt idx="132">
                  <c:v>42563</c:v>
                </c:pt>
                <c:pt idx="133">
                  <c:v>42564</c:v>
                </c:pt>
                <c:pt idx="134">
                  <c:v>42565</c:v>
                </c:pt>
                <c:pt idx="135">
                  <c:v>42566</c:v>
                </c:pt>
                <c:pt idx="136">
                  <c:v>42569</c:v>
                </c:pt>
                <c:pt idx="137">
                  <c:v>42570</c:v>
                </c:pt>
                <c:pt idx="138">
                  <c:v>42571</c:v>
                </c:pt>
                <c:pt idx="139">
                  <c:v>42572</c:v>
                </c:pt>
                <c:pt idx="140">
                  <c:v>42573</c:v>
                </c:pt>
                <c:pt idx="141">
                  <c:v>42577</c:v>
                </c:pt>
                <c:pt idx="142">
                  <c:v>42578</c:v>
                </c:pt>
                <c:pt idx="143">
                  <c:v>42579</c:v>
                </c:pt>
                <c:pt idx="144">
                  <c:v>42580</c:v>
                </c:pt>
                <c:pt idx="145">
                  <c:v>42583</c:v>
                </c:pt>
                <c:pt idx="146">
                  <c:v>42584</c:v>
                </c:pt>
                <c:pt idx="147">
                  <c:v>42585</c:v>
                </c:pt>
                <c:pt idx="148">
                  <c:v>42586</c:v>
                </c:pt>
                <c:pt idx="149">
                  <c:v>42587</c:v>
                </c:pt>
                <c:pt idx="150">
                  <c:v>42590</c:v>
                </c:pt>
                <c:pt idx="151">
                  <c:v>42591</c:v>
                </c:pt>
                <c:pt idx="152">
                  <c:v>42592</c:v>
                </c:pt>
                <c:pt idx="153">
                  <c:v>42593</c:v>
                </c:pt>
                <c:pt idx="154">
                  <c:v>42594</c:v>
                </c:pt>
                <c:pt idx="155">
                  <c:v>42597</c:v>
                </c:pt>
                <c:pt idx="156">
                  <c:v>42598</c:v>
                </c:pt>
                <c:pt idx="157">
                  <c:v>42599</c:v>
                </c:pt>
                <c:pt idx="158">
                  <c:v>42600</c:v>
                </c:pt>
                <c:pt idx="159">
                  <c:v>42601</c:v>
                </c:pt>
                <c:pt idx="160">
                  <c:v>42604</c:v>
                </c:pt>
                <c:pt idx="161">
                  <c:v>42605</c:v>
                </c:pt>
                <c:pt idx="162">
                  <c:v>42606</c:v>
                </c:pt>
                <c:pt idx="163">
                  <c:v>42607</c:v>
                </c:pt>
                <c:pt idx="164">
                  <c:v>42608</c:v>
                </c:pt>
                <c:pt idx="165">
                  <c:v>42611</c:v>
                </c:pt>
                <c:pt idx="166">
                  <c:v>42612</c:v>
                </c:pt>
                <c:pt idx="167">
                  <c:v>42613</c:v>
                </c:pt>
                <c:pt idx="168">
                  <c:v>42614</c:v>
                </c:pt>
                <c:pt idx="169">
                  <c:v>42615</c:v>
                </c:pt>
                <c:pt idx="170">
                  <c:v>42618</c:v>
                </c:pt>
                <c:pt idx="171">
                  <c:v>42619</c:v>
                </c:pt>
                <c:pt idx="172">
                  <c:v>42620</c:v>
                </c:pt>
                <c:pt idx="173">
                  <c:v>42621</c:v>
                </c:pt>
                <c:pt idx="174">
                  <c:v>42622</c:v>
                </c:pt>
                <c:pt idx="175">
                  <c:v>42627</c:v>
                </c:pt>
                <c:pt idx="176">
                  <c:v>42628</c:v>
                </c:pt>
                <c:pt idx="177">
                  <c:v>42629</c:v>
                </c:pt>
                <c:pt idx="178">
                  <c:v>42632</c:v>
                </c:pt>
                <c:pt idx="179">
                  <c:v>42633</c:v>
                </c:pt>
                <c:pt idx="180">
                  <c:v>42634</c:v>
                </c:pt>
                <c:pt idx="181">
                  <c:v>42635</c:v>
                </c:pt>
                <c:pt idx="182">
                  <c:v>42636</c:v>
                </c:pt>
                <c:pt idx="183">
                  <c:v>42639</c:v>
                </c:pt>
                <c:pt idx="184">
                  <c:v>42640</c:v>
                </c:pt>
                <c:pt idx="185">
                  <c:v>42641</c:v>
                </c:pt>
                <c:pt idx="186">
                  <c:v>42642</c:v>
                </c:pt>
                <c:pt idx="187">
                  <c:v>42643</c:v>
                </c:pt>
                <c:pt idx="188">
                  <c:v>42646</c:v>
                </c:pt>
                <c:pt idx="189">
                  <c:v>42647</c:v>
                </c:pt>
                <c:pt idx="190">
                  <c:v>42648</c:v>
                </c:pt>
                <c:pt idx="191">
                  <c:v>42649</c:v>
                </c:pt>
                <c:pt idx="192">
                  <c:v>42650</c:v>
                </c:pt>
                <c:pt idx="193">
                  <c:v>42653</c:v>
                </c:pt>
                <c:pt idx="194">
                  <c:v>42654</c:v>
                </c:pt>
                <c:pt idx="195">
                  <c:v>42655</c:v>
                </c:pt>
                <c:pt idx="196">
                  <c:v>42656</c:v>
                </c:pt>
                <c:pt idx="197">
                  <c:v>42657</c:v>
                </c:pt>
                <c:pt idx="198">
                  <c:v>42660</c:v>
                </c:pt>
                <c:pt idx="199">
                  <c:v>42661</c:v>
                </c:pt>
                <c:pt idx="200">
                  <c:v>42662</c:v>
                </c:pt>
                <c:pt idx="201">
                  <c:v>42663</c:v>
                </c:pt>
                <c:pt idx="202">
                  <c:v>42664</c:v>
                </c:pt>
                <c:pt idx="203">
                  <c:v>42667</c:v>
                </c:pt>
                <c:pt idx="204">
                  <c:v>42668</c:v>
                </c:pt>
                <c:pt idx="205">
                  <c:v>42669</c:v>
                </c:pt>
                <c:pt idx="206">
                  <c:v>42670</c:v>
                </c:pt>
                <c:pt idx="207">
                  <c:v>42671</c:v>
                </c:pt>
                <c:pt idx="208">
                  <c:v>42674</c:v>
                </c:pt>
                <c:pt idx="209">
                  <c:v>42675</c:v>
                </c:pt>
                <c:pt idx="210">
                  <c:v>42676</c:v>
                </c:pt>
                <c:pt idx="211">
                  <c:v>42677</c:v>
                </c:pt>
                <c:pt idx="212">
                  <c:v>42678</c:v>
                </c:pt>
                <c:pt idx="213">
                  <c:v>42681</c:v>
                </c:pt>
                <c:pt idx="214">
                  <c:v>42682</c:v>
                </c:pt>
                <c:pt idx="215">
                  <c:v>42683</c:v>
                </c:pt>
                <c:pt idx="216">
                  <c:v>42684</c:v>
                </c:pt>
                <c:pt idx="217">
                  <c:v>42685</c:v>
                </c:pt>
                <c:pt idx="218">
                  <c:v>42688</c:v>
                </c:pt>
                <c:pt idx="219">
                  <c:v>42689</c:v>
                </c:pt>
                <c:pt idx="220">
                  <c:v>42690</c:v>
                </c:pt>
                <c:pt idx="221">
                  <c:v>42691</c:v>
                </c:pt>
                <c:pt idx="222">
                  <c:v>42692</c:v>
                </c:pt>
                <c:pt idx="223">
                  <c:v>42695</c:v>
                </c:pt>
                <c:pt idx="224">
                  <c:v>42696</c:v>
                </c:pt>
                <c:pt idx="225">
                  <c:v>42697</c:v>
                </c:pt>
                <c:pt idx="226">
                  <c:v>42698</c:v>
                </c:pt>
                <c:pt idx="227">
                  <c:v>42699</c:v>
                </c:pt>
                <c:pt idx="228">
                  <c:v>42702</c:v>
                </c:pt>
                <c:pt idx="229">
                  <c:v>42703</c:v>
                </c:pt>
                <c:pt idx="230">
                  <c:v>42704</c:v>
                </c:pt>
                <c:pt idx="231">
                  <c:v>42705</c:v>
                </c:pt>
                <c:pt idx="232">
                  <c:v>42706</c:v>
                </c:pt>
                <c:pt idx="233">
                  <c:v>42709</c:v>
                </c:pt>
                <c:pt idx="234">
                  <c:v>42710</c:v>
                </c:pt>
                <c:pt idx="235">
                  <c:v>42711</c:v>
                </c:pt>
                <c:pt idx="236">
                  <c:v>42712</c:v>
                </c:pt>
                <c:pt idx="237">
                  <c:v>42713</c:v>
                </c:pt>
                <c:pt idx="238">
                  <c:v>42717</c:v>
                </c:pt>
                <c:pt idx="239">
                  <c:v>42718</c:v>
                </c:pt>
                <c:pt idx="240">
                  <c:v>42719</c:v>
                </c:pt>
                <c:pt idx="241">
                  <c:v>42720</c:v>
                </c:pt>
                <c:pt idx="242">
                  <c:v>42723</c:v>
                </c:pt>
                <c:pt idx="243">
                  <c:v>42724</c:v>
                </c:pt>
                <c:pt idx="244">
                  <c:v>42725</c:v>
                </c:pt>
                <c:pt idx="245">
                  <c:v>42726</c:v>
                </c:pt>
                <c:pt idx="246">
                  <c:v>42727</c:v>
                </c:pt>
                <c:pt idx="247">
                  <c:v>42730</c:v>
                </c:pt>
                <c:pt idx="248">
                  <c:v>42731</c:v>
                </c:pt>
                <c:pt idx="249">
                  <c:v>42732</c:v>
                </c:pt>
                <c:pt idx="250">
                  <c:v>42733</c:v>
                </c:pt>
                <c:pt idx="251">
                  <c:v>42734</c:v>
                </c:pt>
                <c:pt idx="252">
                  <c:v>42737</c:v>
                </c:pt>
                <c:pt idx="253">
                  <c:v>42738</c:v>
                </c:pt>
                <c:pt idx="254">
                  <c:v>42739</c:v>
                </c:pt>
                <c:pt idx="255">
                  <c:v>42740</c:v>
                </c:pt>
                <c:pt idx="256">
                  <c:v>42741</c:v>
                </c:pt>
                <c:pt idx="257">
                  <c:v>42744</c:v>
                </c:pt>
                <c:pt idx="258">
                  <c:v>42745</c:v>
                </c:pt>
                <c:pt idx="259">
                  <c:v>42746</c:v>
                </c:pt>
                <c:pt idx="260">
                  <c:v>42747</c:v>
                </c:pt>
                <c:pt idx="261">
                  <c:v>42748</c:v>
                </c:pt>
                <c:pt idx="262">
                  <c:v>42751</c:v>
                </c:pt>
                <c:pt idx="263">
                  <c:v>42752</c:v>
                </c:pt>
                <c:pt idx="264">
                  <c:v>42753</c:v>
                </c:pt>
                <c:pt idx="265">
                  <c:v>42754</c:v>
                </c:pt>
                <c:pt idx="266">
                  <c:v>42755</c:v>
                </c:pt>
                <c:pt idx="267">
                  <c:v>42758</c:v>
                </c:pt>
                <c:pt idx="268">
                  <c:v>42759</c:v>
                </c:pt>
                <c:pt idx="269">
                  <c:v>42760</c:v>
                </c:pt>
                <c:pt idx="270">
                  <c:v>42761</c:v>
                </c:pt>
                <c:pt idx="271">
                  <c:v>42762</c:v>
                </c:pt>
                <c:pt idx="272">
                  <c:v>42765</c:v>
                </c:pt>
                <c:pt idx="273">
                  <c:v>42766</c:v>
                </c:pt>
                <c:pt idx="274">
                  <c:v>42767</c:v>
                </c:pt>
                <c:pt idx="275">
                  <c:v>42768</c:v>
                </c:pt>
                <c:pt idx="276">
                  <c:v>42769</c:v>
                </c:pt>
                <c:pt idx="277">
                  <c:v>42772</c:v>
                </c:pt>
                <c:pt idx="278">
                  <c:v>42773</c:v>
                </c:pt>
                <c:pt idx="279">
                  <c:v>42774</c:v>
                </c:pt>
                <c:pt idx="280">
                  <c:v>42775</c:v>
                </c:pt>
                <c:pt idx="281">
                  <c:v>42776</c:v>
                </c:pt>
                <c:pt idx="282">
                  <c:v>42779</c:v>
                </c:pt>
                <c:pt idx="283">
                  <c:v>42780</c:v>
                </c:pt>
                <c:pt idx="284">
                  <c:v>42781</c:v>
                </c:pt>
                <c:pt idx="285">
                  <c:v>42782</c:v>
                </c:pt>
                <c:pt idx="286">
                  <c:v>42783</c:v>
                </c:pt>
                <c:pt idx="287">
                  <c:v>42786</c:v>
                </c:pt>
                <c:pt idx="288">
                  <c:v>42787</c:v>
                </c:pt>
                <c:pt idx="289">
                  <c:v>42788</c:v>
                </c:pt>
                <c:pt idx="290">
                  <c:v>42789</c:v>
                </c:pt>
                <c:pt idx="291">
                  <c:v>42790</c:v>
                </c:pt>
                <c:pt idx="292">
                  <c:v>42793</c:v>
                </c:pt>
                <c:pt idx="293">
                  <c:v>42794</c:v>
                </c:pt>
                <c:pt idx="294">
                  <c:v>42795</c:v>
                </c:pt>
                <c:pt idx="295">
                  <c:v>42796</c:v>
                </c:pt>
                <c:pt idx="296">
                  <c:v>42797</c:v>
                </c:pt>
                <c:pt idx="297">
                  <c:v>42800</c:v>
                </c:pt>
                <c:pt idx="298">
                  <c:v>42801</c:v>
                </c:pt>
                <c:pt idx="299">
                  <c:v>42802</c:v>
                </c:pt>
                <c:pt idx="300">
                  <c:v>42803</c:v>
                </c:pt>
                <c:pt idx="301">
                  <c:v>42804</c:v>
                </c:pt>
                <c:pt idx="302">
                  <c:v>42807</c:v>
                </c:pt>
                <c:pt idx="303">
                  <c:v>42808</c:v>
                </c:pt>
                <c:pt idx="304">
                  <c:v>42809</c:v>
                </c:pt>
                <c:pt idx="305">
                  <c:v>42810</c:v>
                </c:pt>
                <c:pt idx="306">
                  <c:v>42811</c:v>
                </c:pt>
                <c:pt idx="307">
                  <c:v>42815</c:v>
                </c:pt>
                <c:pt idx="308">
                  <c:v>42816</c:v>
                </c:pt>
                <c:pt idx="309">
                  <c:v>42817</c:v>
                </c:pt>
                <c:pt idx="310">
                  <c:v>42818</c:v>
                </c:pt>
                <c:pt idx="311">
                  <c:v>42821</c:v>
                </c:pt>
                <c:pt idx="312">
                  <c:v>42822</c:v>
                </c:pt>
                <c:pt idx="313">
                  <c:v>42823</c:v>
                </c:pt>
                <c:pt idx="314">
                  <c:v>42824</c:v>
                </c:pt>
                <c:pt idx="315">
                  <c:v>42825</c:v>
                </c:pt>
                <c:pt idx="316">
                  <c:v>42828</c:v>
                </c:pt>
                <c:pt idx="317">
                  <c:v>42829</c:v>
                </c:pt>
                <c:pt idx="318">
                  <c:v>42830</c:v>
                </c:pt>
                <c:pt idx="319">
                  <c:v>42831</c:v>
                </c:pt>
                <c:pt idx="320">
                  <c:v>42832</c:v>
                </c:pt>
                <c:pt idx="321">
                  <c:v>42835</c:v>
                </c:pt>
                <c:pt idx="322">
                  <c:v>42836</c:v>
                </c:pt>
                <c:pt idx="323">
                  <c:v>42837</c:v>
                </c:pt>
                <c:pt idx="324">
                  <c:v>42838</c:v>
                </c:pt>
                <c:pt idx="325">
                  <c:v>42839</c:v>
                </c:pt>
                <c:pt idx="326">
                  <c:v>42842</c:v>
                </c:pt>
                <c:pt idx="327">
                  <c:v>42843</c:v>
                </c:pt>
                <c:pt idx="328">
                  <c:v>42844</c:v>
                </c:pt>
                <c:pt idx="329">
                  <c:v>42845</c:v>
                </c:pt>
                <c:pt idx="330">
                  <c:v>42846</c:v>
                </c:pt>
                <c:pt idx="331">
                  <c:v>42849</c:v>
                </c:pt>
                <c:pt idx="332">
                  <c:v>42850</c:v>
                </c:pt>
                <c:pt idx="333">
                  <c:v>42851</c:v>
                </c:pt>
                <c:pt idx="334">
                  <c:v>42852</c:v>
                </c:pt>
                <c:pt idx="335">
                  <c:v>42853</c:v>
                </c:pt>
                <c:pt idx="336">
                  <c:v>42857</c:v>
                </c:pt>
                <c:pt idx="337">
                  <c:v>42858</c:v>
                </c:pt>
                <c:pt idx="338">
                  <c:v>42859</c:v>
                </c:pt>
                <c:pt idx="339">
                  <c:v>42860</c:v>
                </c:pt>
                <c:pt idx="340">
                  <c:v>42863</c:v>
                </c:pt>
                <c:pt idx="341">
                  <c:v>42864</c:v>
                </c:pt>
                <c:pt idx="342">
                  <c:v>42865</c:v>
                </c:pt>
                <c:pt idx="343">
                  <c:v>42866</c:v>
                </c:pt>
                <c:pt idx="344">
                  <c:v>42867</c:v>
                </c:pt>
                <c:pt idx="345">
                  <c:v>42870</c:v>
                </c:pt>
                <c:pt idx="346">
                  <c:v>42871</c:v>
                </c:pt>
                <c:pt idx="347">
                  <c:v>42872</c:v>
                </c:pt>
                <c:pt idx="348">
                  <c:v>42873</c:v>
                </c:pt>
                <c:pt idx="349">
                  <c:v>42874</c:v>
                </c:pt>
                <c:pt idx="350">
                  <c:v>42877</c:v>
                </c:pt>
                <c:pt idx="351">
                  <c:v>42878</c:v>
                </c:pt>
                <c:pt idx="352">
                  <c:v>42879</c:v>
                </c:pt>
                <c:pt idx="353">
                  <c:v>42880</c:v>
                </c:pt>
                <c:pt idx="354">
                  <c:v>42881</c:v>
                </c:pt>
                <c:pt idx="355">
                  <c:v>42884</c:v>
                </c:pt>
                <c:pt idx="356">
                  <c:v>42885</c:v>
                </c:pt>
                <c:pt idx="357">
                  <c:v>42886</c:v>
                </c:pt>
                <c:pt idx="358">
                  <c:v>42887</c:v>
                </c:pt>
                <c:pt idx="359">
                  <c:v>42888</c:v>
                </c:pt>
                <c:pt idx="360">
                  <c:v>42891</c:v>
                </c:pt>
                <c:pt idx="361">
                  <c:v>42892</c:v>
                </c:pt>
                <c:pt idx="362">
                  <c:v>42893</c:v>
                </c:pt>
                <c:pt idx="363">
                  <c:v>42894</c:v>
                </c:pt>
                <c:pt idx="364">
                  <c:v>42895</c:v>
                </c:pt>
                <c:pt idx="365">
                  <c:v>42898</c:v>
                </c:pt>
                <c:pt idx="366">
                  <c:v>42899</c:v>
                </c:pt>
                <c:pt idx="367">
                  <c:v>42900</c:v>
                </c:pt>
                <c:pt idx="368">
                  <c:v>42901</c:v>
                </c:pt>
                <c:pt idx="369">
                  <c:v>42902</c:v>
                </c:pt>
                <c:pt idx="370">
                  <c:v>42905</c:v>
                </c:pt>
                <c:pt idx="371">
                  <c:v>42906</c:v>
                </c:pt>
                <c:pt idx="372">
                  <c:v>42907</c:v>
                </c:pt>
                <c:pt idx="373">
                  <c:v>42908</c:v>
                </c:pt>
                <c:pt idx="374">
                  <c:v>42909</c:v>
                </c:pt>
                <c:pt idx="375">
                  <c:v>42914</c:v>
                </c:pt>
                <c:pt idx="376">
                  <c:v>42915</c:v>
                </c:pt>
                <c:pt idx="377">
                  <c:v>42916</c:v>
                </c:pt>
                <c:pt idx="378">
                  <c:v>42919</c:v>
                </c:pt>
                <c:pt idx="379">
                  <c:v>42920</c:v>
                </c:pt>
                <c:pt idx="380">
                  <c:v>42921</c:v>
                </c:pt>
                <c:pt idx="381">
                  <c:v>42922</c:v>
                </c:pt>
                <c:pt idx="382">
                  <c:v>42923</c:v>
                </c:pt>
                <c:pt idx="383">
                  <c:v>42926</c:v>
                </c:pt>
                <c:pt idx="384">
                  <c:v>42927</c:v>
                </c:pt>
                <c:pt idx="385">
                  <c:v>42928</c:v>
                </c:pt>
                <c:pt idx="386">
                  <c:v>42929</c:v>
                </c:pt>
                <c:pt idx="387">
                  <c:v>42930</c:v>
                </c:pt>
                <c:pt idx="388">
                  <c:v>42933</c:v>
                </c:pt>
                <c:pt idx="389">
                  <c:v>42934</c:v>
                </c:pt>
                <c:pt idx="390">
                  <c:v>42935</c:v>
                </c:pt>
                <c:pt idx="391">
                  <c:v>42936</c:v>
                </c:pt>
                <c:pt idx="392">
                  <c:v>42937</c:v>
                </c:pt>
                <c:pt idx="393">
                  <c:v>42940</c:v>
                </c:pt>
                <c:pt idx="394">
                  <c:v>42942</c:v>
                </c:pt>
                <c:pt idx="395">
                  <c:v>42943</c:v>
                </c:pt>
                <c:pt idx="396">
                  <c:v>42944</c:v>
                </c:pt>
                <c:pt idx="397">
                  <c:v>42947</c:v>
                </c:pt>
                <c:pt idx="398">
                  <c:v>42948</c:v>
                </c:pt>
                <c:pt idx="399">
                  <c:v>42949</c:v>
                </c:pt>
                <c:pt idx="400">
                  <c:v>42950</c:v>
                </c:pt>
                <c:pt idx="401">
                  <c:v>42951</c:v>
                </c:pt>
                <c:pt idx="402">
                  <c:v>42954</c:v>
                </c:pt>
                <c:pt idx="403">
                  <c:v>42955</c:v>
                </c:pt>
                <c:pt idx="404">
                  <c:v>42956</c:v>
                </c:pt>
                <c:pt idx="405">
                  <c:v>42957</c:v>
                </c:pt>
                <c:pt idx="406">
                  <c:v>42958</c:v>
                </c:pt>
                <c:pt idx="407">
                  <c:v>42961</c:v>
                </c:pt>
                <c:pt idx="408">
                  <c:v>42962</c:v>
                </c:pt>
                <c:pt idx="409">
                  <c:v>42963</c:v>
                </c:pt>
                <c:pt idx="410">
                  <c:v>42964</c:v>
                </c:pt>
                <c:pt idx="411">
                  <c:v>42965</c:v>
                </c:pt>
                <c:pt idx="412">
                  <c:v>42968</c:v>
                </c:pt>
                <c:pt idx="413">
                  <c:v>42969</c:v>
                </c:pt>
                <c:pt idx="414">
                  <c:v>42970</c:v>
                </c:pt>
                <c:pt idx="415">
                  <c:v>42971</c:v>
                </c:pt>
                <c:pt idx="416">
                  <c:v>42972</c:v>
                </c:pt>
                <c:pt idx="417">
                  <c:v>42975</c:v>
                </c:pt>
                <c:pt idx="418">
                  <c:v>42976</c:v>
                </c:pt>
                <c:pt idx="419">
                  <c:v>42977</c:v>
                </c:pt>
                <c:pt idx="420">
                  <c:v>42978</c:v>
                </c:pt>
                <c:pt idx="421">
                  <c:v>42982</c:v>
                </c:pt>
                <c:pt idx="422">
                  <c:v>42983</c:v>
                </c:pt>
                <c:pt idx="423">
                  <c:v>42984</c:v>
                </c:pt>
                <c:pt idx="424">
                  <c:v>42985</c:v>
                </c:pt>
                <c:pt idx="425">
                  <c:v>42986</c:v>
                </c:pt>
                <c:pt idx="426">
                  <c:v>42989</c:v>
                </c:pt>
                <c:pt idx="427">
                  <c:v>42990</c:v>
                </c:pt>
                <c:pt idx="428">
                  <c:v>42991</c:v>
                </c:pt>
                <c:pt idx="429">
                  <c:v>42992</c:v>
                </c:pt>
                <c:pt idx="430">
                  <c:v>42993</c:v>
                </c:pt>
                <c:pt idx="431">
                  <c:v>42996</c:v>
                </c:pt>
                <c:pt idx="432">
                  <c:v>42997</c:v>
                </c:pt>
                <c:pt idx="433">
                  <c:v>42998</c:v>
                </c:pt>
                <c:pt idx="434">
                  <c:v>43000</c:v>
                </c:pt>
                <c:pt idx="435">
                  <c:v>43003</c:v>
                </c:pt>
                <c:pt idx="436">
                  <c:v>43004</c:v>
                </c:pt>
                <c:pt idx="437">
                  <c:v>43005</c:v>
                </c:pt>
                <c:pt idx="438">
                  <c:v>43006</c:v>
                </c:pt>
                <c:pt idx="439">
                  <c:v>43007</c:v>
                </c:pt>
                <c:pt idx="440">
                  <c:v>43010</c:v>
                </c:pt>
                <c:pt idx="441">
                  <c:v>43011</c:v>
                </c:pt>
                <c:pt idx="442">
                  <c:v>43012</c:v>
                </c:pt>
                <c:pt idx="443">
                  <c:v>43013</c:v>
                </c:pt>
                <c:pt idx="444">
                  <c:v>43014</c:v>
                </c:pt>
                <c:pt idx="445">
                  <c:v>43017</c:v>
                </c:pt>
                <c:pt idx="446">
                  <c:v>43018</c:v>
                </c:pt>
                <c:pt idx="447">
                  <c:v>43019</c:v>
                </c:pt>
                <c:pt idx="448">
                  <c:v>43020</c:v>
                </c:pt>
                <c:pt idx="449">
                  <c:v>43021</c:v>
                </c:pt>
                <c:pt idx="450">
                  <c:v>43024</c:v>
                </c:pt>
                <c:pt idx="451">
                  <c:v>43025</c:v>
                </c:pt>
                <c:pt idx="452">
                  <c:v>43026</c:v>
                </c:pt>
                <c:pt idx="453">
                  <c:v>43027</c:v>
                </c:pt>
                <c:pt idx="454">
                  <c:v>43028</c:v>
                </c:pt>
                <c:pt idx="455">
                  <c:v>43031</c:v>
                </c:pt>
                <c:pt idx="456">
                  <c:v>43032</c:v>
                </c:pt>
                <c:pt idx="457">
                  <c:v>43033</c:v>
                </c:pt>
                <c:pt idx="458">
                  <c:v>43034</c:v>
                </c:pt>
                <c:pt idx="459">
                  <c:v>43035</c:v>
                </c:pt>
                <c:pt idx="460">
                  <c:v>43038</c:v>
                </c:pt>
                <c:pt idx="461">
                  <c:v>43039</c:v>
                </c:pt>
                <c:pt idx="462">
                  <c:v>43040</c:v>
                </c:pt>
                <c:pt idx="463">
                  <c:v>43041</c:v>
                </c:pt>
                <c:pt idx="464">
                  <c:v>43042</c:v>
                </c:pt>
                <c:pt idx="465">
                  <c:v>43045</c:v>
                </c:pt>
                <c:pt idx="466">
                  <c:v>43046</c:v>
                </c:pt>
                <c:pt idx="467">
                  <c:v>43047</c:v>
                </c:pt>
                <c:pt idx="468">
                  <c:v>43048</c:v>
                </c:pt>
                <c:pt idx="469">
                  <c:v>43049</c:v>
                </c:pt>
                <c:pt idx="470">
                  <c:v>43052</c:v>
                </c:pt>
                <c:pt idx="471">
                  <c:v>43053</c:v>
                </c:pt>
                <c:pt idx="472">
                  <c:v>43054</c:v>
                </c:pt>
                <c:pt idx="473">
                  <c:v>43055</c:v>
                </c:pt>
                <c:pt idx="474">
                  <c:v>43056</c:v>
                </c:pt>
                <c:pt idx="475">
                  <c:v>43059</c:v>
                </c:pt>
                <c:pt idx="476">
                  <c:v>43060</c:v>
                </c:pt>
                <c:pt idx="477">
                  <c:v>43061</c:v>
                </c:pt>
                <c:pt idx="478">
                  <c:v>43062</c:v>
                </c:pt>
                <c:pt idx="479">
                  <c:v>43063</c:v>
                </c:pt>
                <c:pt idx="480">
                  <c:v>43066</c:v>
                </c:pt>
                <c:pt idx="481">
                  <c:v>43067</c:v>
                </c:pt>
                <c:pt idx="482">
                  <c:v>43068</c:v>
                </c:pt>
                <c:pt idx="483">
                  <c:v>43069</c:v>
                </c:pt>
                <c:pt idx="484">
                  <c:v>43073</c:v>
                </c:pt>
                <c:pt idx="485">
                  <c:v>43074</c:v>
                </c:pt>
                <c:pt idx="486">
                  <c:v>43075</c:v>
                </c:pt>
                <c:pt idx="487">
                  <c:v>43076</c:v>
                </c:pt>
                <c:pt idx="488">
                  <c:v>43077</c:v>
                </c:pt>
                <c:pt idx="489">
                  <c:v>43080</c:v>
                </c:pt>
                <c:pt idx="490">
                  <c:v>43081</c:v>
                </c:pt>
                <c:pt idx="491">
                  <c:v>43082</c:v>
                </c:pt>
                <c:pt idx="492">
                  <c:v>43083</c:v>
                </c:pt>
                <c:pt idx="493">
                  <c:v>43084</c:v>
                </c:pt>
                <c:pt idx="494">
                  <c:v>43087</c:v>
                </c:pt>
                <c:pt idx="495">
                  <c:v>43088</c:v>
                </c:pt>
                <c:pt idx="496">
                  <c:v>43089</c:v>
                </c:pt>
                <c:pt idx="497">
                  <c:v>43090</c:v>
                </c:pt>
                <c:pt idx="498">
                  <c:v>43091</c:v>
                </c:pt>
                <c:pt idx="499">
                  <c:v>43094</c:v>
                </c:pt>
                <c:pt idx="500">
                  <c:v>43095</c:v>
                </c:pt>
                <c:pt idx="501">
                  <c:v>43096</c:v>
                </c:pt>
                <c:pt idx="502">
                  <c:v>43097</c:v>
                </c:pt>
                <c:pt idx="503">
                  <c:v>43098</c:v>
                </c:pt>
                <c:pt idx="504">
                  <c:v>43102</c:v>
                </c:pt>
                <c:pt idx="505">
                  <c:v>43103</c:v>
                </c:pt>
                <c:pt idx="506">
                  <c:v>43104</c:v>
                </c:pt>
                <c:pt idx="507">
                  <c:v>43105</c:v>
                </c:pt>
                <c:pt idx="508">
                  <c:v>43108</c:v>
                </c:pt>
                <c:pt idx="509">
                  <c:v>43109</c:v>
                </c:pt>
                <c:pt idx="510">
                  <c:v>43110</c:v>
                </c:pt>
                <c:pt idx="511">
                  <c:v>43111</c:v>
                </c:pt>
                <c:pt idx="512">
                  <c:v>43112</c:v>
                </c:pt>
                <c:pt idx="513">
                  <c:v>43115</c:v>
                </c:pt>
                <c:pt idx="514">
                  <c:v>43116</c:v>
                </c:pt>
                <c:pt idx="515">
                  <c:v>43117</c:v>
                </c:pt>
                <c:pt idx="516">
                  <c:v>43118</c:v>
                </c:pt>
                <c:pt idx="517">
                  <c:v>43119</c:v>
                </c:pt>
                <c:pt idx="518">
                  <c:v>43122</c:v>
                </c:pt>
                <c:pt idx="519">
                  <c:v>43123</c:v>
                </c:pt>
                <c:pt idx="520">
                  <c:v>43124</c:v>
                </c:pt>
                <c:pt idx="521">
                  <c:v>43125</c:v>
                </c:pt>
                <c:pt idx="522">
                  <c:v>43126</c:v>
                </c:pt>
                <c:pt idx="523">
                  <c:v>43129</c:v>
                </c:pt>
                <c:pt idx="524">
                  <c:v>43130</c:v>
                </c:pt>
                <c:pt idx="525">
                  <c:v>43131</c:v>
                </c:pt>
                <c:pt idx="526">
                  <c:v>43132</c:v>
                </c:pt>
                <c:pt idx="527">
                  <c:v>43133</c:v>
                </c:pt>
                <c:pt idx="528">
                  <c:v>43136</c:v>
                </c:pt>
                <c:pt idx="529">
                  <c:v>43137</c:v>
                </c:pt>
                <c:pt idx="530">
                  <c:v>43138</c:v>
                </c:pt>
                <c:pt idx="531">
                  <c:v>43139</c:v>
                </c:pt>
                <c:pt idx="532">
                  <c:v>43140</c:v>
                </c:pt>
                <c:pt idx="533">
                  <c:v>43143</c:v>
                </c:pt>
                <c:pt idx="534">
                  <c:v>43144</c:v>
                </c:pt>
                <c:pt idx="535">
                  <c:v>43145</c:v>
                </c:pt>
                <c:pt idx="536">
                  <c:v>43146</c:v>
                </c:pt>
                <c:pt idx="537">
                  <c:v>43147</c:v>
                </c:pt>
                <c:pt idx="538">
                  <c:v>43150</c:v>
                </c:pt>
                <c:pt idx="539">
                  <c:v>43151</c:v>
                </c:pt>
                <c:pt idx="540">
                  <c:v>43152</c:v>
                </c:pt>
                <c:pt idx="541">
                  <c:v>43153</c:v>
                </c:pt>
                <c:pt idx="542">
                  <c:v>43154</c:v>
                </c:pt>
                <c:pt idx="543">
                  <c:v>43157</c:v>
                </c:pt>
                <c:pt idx="544">
                  <c:v>43158</c:v>
                </c:pt>
                <c:pt idx="545">
                  <c:v>43159</c:v>
                </c:pt>
                <c:pt idx="546">
                  <c:v>43160</c:v>
                </c:pt>
                <c:pt idx="547">
                  <c:v>43161</c:v>
                </c:pt>
                <c:pt idx="548">
                  <c:v>43164</c:v>
                </c:pt>
                <c:pt idx="549">
                  <c:v>43165</c:v>
                </c:pt>
                <c:pt idx="550">
                  <c:v>43166</c:v>
                </c:pt>
                <c:pt idx="551">
                  <c:v>43167</c:v>
                </c:pt>
                <c:pt idx="552">
                  <c:v>43168</c:v>
                </c:pt>
                <c:pt idx="553">
                  <c:v>43171</c:v>
                </c:pt>
                <c:pt idx="554">
                  <c:v>43172</c:v>
                </c:pt>
                <c:pt idx="555">
                  <c:v>43173</c:v>
                </c:pt>
                <c:pt idx="556">
                  <c:v>43174</c:v>
                </c:pt>
                <c:pt idx="557">
                  <c:v>43175</c:v>
                </c:pt>
                <c:pt idx="558">
                  <c:v>43178</c:v>
                </c:pt>
                <c:pt idx="559">
                  <c:v>43180</c:v>
                </c:pt>
                <c:pt idx="560">
                  <c:v>43181</c:v>
                </c:pt>
                <c:pt idx="561">
                  <c:v>43182</c:v>
                </c:pt>
                <c:pt idx="562">
                  <c:v>43185</c:v>
                </c:pt>
                <c:pt idx="563">
                  <c:v>43186</c:v>
                </c:pt>
                <c:pt idx="564">
                  <c:v>43187</c:v>
                </c:pt>
                <c:pt idx="565">
                  <c:v>43188</c:v>
                </c:pt>
                <c:pt idx="566">
                  <c:v>43189</c:v>
                </c:pt>
                <c:pt idx="567">
                  <c:v>43192</c:v>
                </c:pt>
                <c:pt idx="568">
                  <c:v>43193</c:v>
                </c:pt>
                <c:pt idx="569">
                  <c:v>43194</c:v>
                </c:pt>
                <c:pt idx="570">
                  <c:v>43195</c:v>
                </c:pt>
                <c:pt idx="571">
                  <c:v>43196</c:v>
                </c:pt>
                <c:pt idx="572">
                  <c:v>43200</c:v>
                </c:pt>
                <c:pt idx="573">
                  <c:v>43201</c:v>
                </c:pt>
                <c:pt idx="574">
                  <c:v>43202</c:v>
                </c:pt>
                <c:pt idx="575">
                  <c:v>43203</c:v>
                </c:pt>
                <c:pt idx="576">
                  <c:v>43206</c:v>
                </c:pt>
                <c:pt idx="577">
                  <c:v>43207</c:v>
                </c:pt>
                <c:pt idx="578">
                  <c:v>43208</c:v>
                </c:pt>
                <c:pt idx="579">
                  <c:v>43209</c:v>
                </c:pt>
                <c:pt idx="580">
                  <c:v>43210</c:v>
                </c:pt>
                <c:pt idx="581">
                  <c:v>43213</c:v>
                </c:pt>
                <c:pt idx="582">
                  <c:v>43214</c:v>
                </c:pt>
                <c:pt idx="583">
                  <c:v>43215</c:v>
                </c:pt>
                <c:pt idx="584">
                  <c:v>43216</c:v>
                </c:pt>
                <c:pt idx="585">
                  <c:v>43217</c:v>
                </c:pt>
                <c:pt idx="586">
                  <c:v>43220</c:v>
                </c:pt>
                <c:pt idx="587">
                  <c:v>43222</c:v>
                </c:pt>
                <c:pt idx="588">
                  <c:v>43223</c:v>
                </c:pt>
                <c:pt idx="589">
                  <c:v>43224</c:v>
                </c:pt>
                <c:pt idx="590">
                  <c:v>43227</c:v>
                </c:pt>
                <c:pt idx="591">
                  <c:v>43228</c:v>
                </c:pt>
                <c:pt idx="592">
                  <c:v>43229</c:v>
                </c:pt>
                <c:pt idx="593">
                  <c:v>43230</c:v>
                </c:pt>
                <c:pt idx="594">
                  <c:v>43231</c:v>
                </c:pt>
                <c:pt idx="595">
                  <c:v>43234</c:v>
                </c:pt>
                <c:pt idx="596">
                  <c:v>43235</c:v>
                </c:pt>
                <c:pt idx="597">
                  <c:v>43236</c:v>
                </c:pt>
                <c:pt idx="598">
                  <c:v>43237</c:v>
                </c:pt>
                <c:pt idx="599">
                  <c:v>43238</c:v>
                </c:pt>
                <c:pt idx="600">
                  <c:v>43241</c:v>
                </c:pt>
                <c:pt idx="601">
                  <c:v>43242</c:v>
                </c:pt>
                <c:pt idx="602">
                  <c:v>43243</c:v>
                </c:pt>
                <c:pt idx="603">
                  <c:v>43244</c:v>
                </c:pt>
                <c:pt idx="604">
                  <c:v>43245</c:v>
                </c:pt>
                <c:pt idx="605">
                  <c:v>43248</c:v>
                </c:pt>
                <c:pt idx="606">
                  <c:v>43249</c:v>
                </c:pt>
                <c:pt idx="607">
                  <c:v>43250</c:v>
                </c:pt>
                <c:pt idx="608">
                  <c:v>43251</c:v>
                </c:pt>
                <c:pt idx="609">
                  <c:v>43252</c:v>
                </c:pt>
                <c:pt idx="610">
                  <c:v>43255</c:v>
                </c:pt>
                <c:pt idx="611">
                  <c:v>43256</c:v>
                </c:pt>
                <c:pt idx="612">
                  <c:v>43257</c:v>
                </c:pt>
                <c:pt idx="613">
                  <c:v>43258</c:v>
                </c:pt>
                <c:pt idx="614">
                  <c:v>43259</c:v>
                </c:pt>
                <c:pt idx="615">
                  <c:v>43262</c:v>
                </c:pt>
                <c:pt idx="616">
                  <c:v>43263</c:v>
                </c:pt>
                <c:pt idx="617">
                  <c:v>43264</c:v>
                </c:pt>
                <c:pt idx="618">
                  <c:v>43265</c:v>
                </c:pt>
                <c:pt idx="619">
                  <c:v>43269</c:v>
                </c:pt>
                <c:pt idx="620">
                  <c:v>43270</c:v>
                </c:pt>
                <c:pt idx="621">
                  <c:v>43271</c:v>
                </c:pt>
                <c:pt idx="622">
                  <c:v>43272</c:v>
                </c:pt>
                <c:pt idx="623">
                  <c:v>43273</c:v>
                </c:pt>
                <c:pt idx="624">
                  <c:v>43276</c:v>
                </c:pt>
                <c:pt idx="625">
                  <c:v>43277</c:v>
                </c:pt>
                <c:pt idx="626">
                  <c:v>43278</c:v>
                </c:pt>
                <c:pt idx="627">
                  <c:v>43279</c:v>
                </c:pt>
                <c:pt idx="628">
                  <c:v>43280</c:v>
                </c:pt>
                <c:pt idx="629">
                  <c:v>43283</c:v>
                </c:pt>
                <c:pt idx="630">
                  <c:v>43284</c:v>
                </c:pt>
                <c:pt idx="631">
                  <c:v>43285</c:v>
                </c:pt>
                <c:pt idx="632">
                  <c:v>43286</c:v>
                </c:pt>
                <c:pt idx="633">
                  <c:v>43287</c:v>
                </c:pt>
                <c:pt idx="634">
                  <c:v>43290</c:v>
                </c:pt>
                <c:pt idx="635">
                  <c:v>43291</c:v>
                </c:pt>
                <c:pt idx="636">
                  <c:v>43292</c:v>
                </c:pt>
                <c:pt idx="637">
                  <c:v>43293</c:v>
                </c:pt>
                <c:pt idx="638">
                  <c:v>43294</c:v>
                </c:pt>
                <c:pt idx="639">
                  <c:v>43297</c:v>
                </c:pt>
                <c:pt idx="640">
                  <c:v>43298</c:v>
                </c:pt>
                <c:pt idx="641">
                  <c:v>43299</c:v>
                </c:pt>
                <c:pt idx="642">
                  <c:v>43300</c:v>
                </c:pt>
                <c:pt idx="643">
                  <c:v>43301</c:v>
                </c:pt>
                <c:pt idx="644">
                  <c:v>43304</c:v>
                </c:pt>
                <c:pt idx="645">
                  <c:v>43305</c:v>
                </c:pt>
                <c:pt idx="646">
                  <c:v>43307</c:v>
                </c:pt>
                <c:pt idx="647">
                  <c:v>43308</c:v>
                </c:pt>
                <c:pt idx="648">
                  <c:v>43311</c:v>
                </c:pt>
                <c:pt idx="649">
                  <c:v>43312</c:v>
                </c:pt>
                <c:pt idx="650">
                  <c:v>43313</c:v>
                </c:pt>
                <c:pt idx="651">
                  <c:v>43314</c:v>
                </c:pt>
                <c:pt idx="652">
                  <c:v>43315</c:v>
                </c:pt>
                <c:pt idx="653">
                  <c:v>43318</c:v>
                </c:pt>
                <c:pt idx="654">
                  <c:v>43319</c:v>
                </c:pt>
                <c:pt idx="655">
                  <c:v>43320</c:v>
                </c:pt>
                <c:pt idx="656">
                  <c:v>43321</c:v>
                </c:pt>
                <c:pt idx="657">
                  <c:v>43322</c:v>
                </c:pt>
                <c:pt idx="658">
                  <c:v>43326</c:v>
                </c:pt>
                <c:pt idx="659">
                  <c:v>43327</c:v>
                </c:pt>
                <c:pt idx="660">
                  <c:v>43328</c:v>
                </c:pt>
                <c:pt idx="661">
                  <c:v>43329</c:v>
                </c:pt>
                <c:pt idx="662">
                  <c:v>43332</c:v>
                </c:pt>
                <c:pt idx="663">
                  <c:v>43335</c:v>
                </c:pt>
                <c:pt idx="664">
                  <c:v>43336</c:v>
                </c:pt>
                <c:pt idx="665">
                  <c:v>43339</c:v>
                </c:pt>
                <c:pt idx="666">
                  <c:v>43340</c:v>
                </c:pt>
                <c:pt idx="667">
                  <c:v>43341</c:v>
                </c:pt>
                <c:pt idx="668">
                  <c:v>43342</c:v>
                </c:pt>
                <c:pt idx="669">
                  <c:v>43343</c:v>
                </c:pt>
                <c:pt idx="670">
                  <c:v>43346</c:v>
                </c:pt>
                <c:pt idx="671">
                  <c:v>43347</c:v>
                </c:pt>
                <c:pt idx="672">
                  <c:v>43348</c:v>
                </c:pt>
                <c:pt idx="673">
                  <c:v>43349</c:v>
                </c:pt>
                <c:pt idx="674">
                  <c:v>43350</c:v>
                </c:pt>
                <c:pt idx="675">
                  <c:v>43353</c:v>
                </c:pt>
                <c:pt idx="676">
                  <c:v>43355</c:v>
                </c:pt>
                <c:pt idx="677">
                  <c:v>43356</c:v>
                </c:pt>
                <c:pt idx="678">
                  <c:v>43357</c:v>
                </c:pt>
                <c:pt idx="679">
                  <c:v>43360</c:v>
                </c:pt>
                <c:pt idx="680">
                  <c:v>43361</c:v>
                </c:pt>
                <c:pt idx="681">
                  <c:v>43362</c:v>
                </c:pt>
                <c:pt idx="682">
                  <c:v>43363</c:v>
                </c:pt>
                <c:pt idx="683">
                  <c:v>43364</c:v>
                </c:pt>
                <c:pt idx="684">
                  <c:v>43367</c:v>
                </c:pt>
                <c:pt idx="685">
                  <c:v>43368</c:v>
                </c:pt>
                <c:pt idx="686">
                  <c:v>43369</c:v>
                </c:pt>
                <c:pt idx="687">
                  <c:v>43370</c:v>
                </c:pt>
                <c:pt idx="688">
                  <c:v>43371</c:v>
                </c:pt>
                <c:pt idx="689">
                  <c:v>43374</c:v>
                </c:pt>
                <c:pt idx="690">
                  <c:v>43375</c:v>
                </c:pt>
                <c:pt idx="691">
                  <c:v>43376</c:v>
                </c:pt>
                <c:pt idx="692">
                  <c:v>43377</c:v>
                </c:pt>
                <c:pt idx="693">
                  <c:v>43378</c:v>
                </c:pt>
                <c:pt idx="694">
                  <c:v>43381</c:v>
                </c:pt>
                <c:pt idx="695">
                  <c:v>43382</c:v>
                </c:pt>
                <c:pt idx="696">
                  <c:v>43383</c:v>
                </c:pt>
                <c:pt idx="697">
                  <c:v>43384</c:v>
                </c:pt>
                <c:pt idx="698">
                  <c:v>43385</c:v>
                </c:pt>
                <c:pt idx="699">
                  <c:v>43389</c:v>
                </c:pt>
                <c:pt idx="700">
                  <c:v>43390</c:v>
                </c:pt>
                <c:pt idx="701">
                  <c:v>43391</c:v>
                </c:pt>
                <c:pt idx="702">
                  <c:v>43392</c:v>
                </c:pt>
                <c:pt idx="703">
                  <c:v>43395</c:v>
                </c:pt>
                <c:pt idx="704">
                  <c:v>43396</c:v>
                </c:pt>
                <c:pt idx="705">
                  <c:v>43397</c:v>
                </c:pt>
                <c:pt idx="706">
                  <c:v>43398</c:v>
                </c:pt>
                <c:pt idx="707">
                  <c:v>43399</c:v>
                </c:pt>
                <c:pt idx="708">
                  <c:v>43402</c:v>
                </c:pt>
                <c:pt idx="709">
                  <c:v>43403</c:v>
                </c:pt>
                <c:pt idx="710">
                  <c:v>43404</c:v>
                </c:pt>
                <c:pt idx="711">
                  <c:v>43405</c:v>
                </c:pt>
                <c:pt idx="712">
                  <c:v>43406</c:v>
                </c:pt>
                <c:pt idx="713">
                  <c:v>43409</c:v>
                </c:pt>
                <c:pt idx="714">
                  <c:v>43410</c:v>
                </c:pt>
                <c:pt idx="715">
                  <c:v>43411</c:v>
                </c:pt>
                <c:pt idx="716">
                  <c:v>43412</c:v>
                </c:pt>
                <c:pt idx="717">
                  <c:v>43413</c:v>
                </c:pt>
                <c:pt idx="718">
                  <c:v>43416</c:v>
                </c:pt>
                <c:pt idx="719">
                  <c:v>43417</c:v>
                </c:pt>
                <c:pt idx="720">
                  <c:v>43418</c:v>
                </c:pt>
                <c:pt idx="721">
                  <c:v>43419</c:v>
                </c:pt>
                <c:pt idx="722">
                  <c:v>43420</c:v>
                </c:pt>
                <c:pt idx="723">
                  <c:v>43423</c:v>
                </c:pt>
                <c:pt idx="724">
                  <c:v>43425</c:v>
                </c:pt>
                <c:pt idx="725">
                  <c:v>43426</c:v>
                </c:pt>
                <c:pt idx="726">
                  <c:v>43427</c:v>
                </c:pt>
                <c:pt idx="727">
                  <c:v>43430</c:v>
                </c:pt>
                <c:pt idx="728">
                  <c:v>43431</c:v>
                </c:pt>
                <c:pt idx="729">
                  <c:v>43432</c:v>
                </c:pt>
                <c:pt idx="730">
                  <c:v>43433</c:v>
                </c:pt>
                <c:pt idx="731">
                  <c:v>43434</c:v>
                </c:pt>
                <c:pt idx="732">
                  <c:v>43437</c:v>
                </c:pt>
                <c:pt idx="733">
                  <c:v>43438</c:v>
                </c:pt>
                <c:pt idx="734">
                  <c:v>43439</c:v>
                </c:pt>
                <c:pt idx="735">
                  <c:v>43440</c:v>
                </c:pt>
                <c:pt idx="736">
                  <c:v>43441</c:v>
                </c:pt>
                <c:pt idx="737">
                  <c:v>43444</c:v>
                </c:pt>
                <c:pt idx="738">
                  <c:v>43445</c:v>
                </c:pt>
                <c:pt idx="739">
                  <c:v>43446</c:v>
                </c:pt>
                <c:pt idx="740">
                  <c:v>43447</c:v>
                </c:pt>
                <c:pt idx="741">
                  <c:v>43448</c:v>
                </c:pt>
                <c:pt idx="742">
                  <c:v>43451</c:v>
                </c:pt>
                <c:pt idx="743">
                  <c:v>43452</c:v>
                </c:pt>
                <c:pt idx="744">
                  <c:v>43453</c:v>
                </c:pt>
                <c:pt idx="745">
                  <c:v>43454</c:v>
                </c:pt>
                <c:pt idx="746">
                  <c:v>43455</c:v>
                </c:pt>
                <c:pt idx="747">
                  <c:v>43458</c:v>
                </c:pt>
                <c:pt idx="748">
                  <c:v>43459</c:v>
                </c:pt>
                <c:pt idx="749">
                  <c:v>43460</c:v>
                </c:pt>
                <c:pt idx="750">
                  <c:v>43461</c:v>
                </c:pt>
                <c:pt idx="751">
                  <c:v>43462</c:v>
                </c:pt>
                <c:pt idx="752">
                  <c:v>43465</c:v>
                </c:pt>
                <c:pt idx="753">
                  <c:v>43467</c:v>
                </c:pt>
                <c:pt idx="754">
                  <c:v>43468</c:v>
                </c:pt>
                <c:pt idx="755">
                  <c:v>43469</c:v>
                </c:pt>
                <c:pt idx="756">
                  <c:v>43472</c:v>
                </c:pt>
                <c:pt idx="757">
                  <c:v>43473</c:v>
                </c:pt>
                <c:pt idx="758">
                  <c:v>43474</c:v>
                </c:pt>
                <c:pt idx="759">
                  <c:v>43475</c:v>
                </c:pt>
                <c:pt idx="760">
                  <c:v>43476</c:v>
                </c:pt>
                <c:pt idx="761">
                  <c:v>43480</c:v>
                </c:pt>
                <c:pt idx="762">
                  <c:v>43481</c:v>
                </c:pt>
                <c:pt idx="763">
                  <c:v>43482</c:v>
                </c:pt>
                <c:pt idx="764">
                  <c:v>43483</c:v>
                </c:pt>
                <c:pt idx="765">
                  <c:v>43486</c:v>
                </c:pt>
                <c:pt idx="766">
                  <c:v>43487</c:v>
                </c:pt>
                <c:pt idx="767">
                  <c:v>43488</c:v>
                </c:pt>
                <c:pt idx="768">
                  <c:v>43489</c:v>
                </c:pt>
                <c:pt idx="769">
                  <c:v>43490</c:v>
                </c:pt>
                <c:pt idx="770">
                  <c:v>43493</c:v>
                </c:pt>
                <c:pt idx="771">
                  <c:v>43494</c:v>
                </c:pt>
                <c:pt idx="772">
                  <c:v>43495</c:v>
                </c:pt>
                <c:pt idx="773">
                  <c:v>43496</c:v>
                </c:pt>
                <c:pt idx="774">
                  <c:v>43497</c:v>
                </c:pt>
                <c:pt idx="775">
                  <c:v>43500</c:v>
                </c:pt>
                <c:pt idx="776">
                  <c:v>43501</c:v>
                </c:pt>
                <c:pt idx="777">
                  <c:v>43502</c:v>
                </c:pt>
                <c:pt idx="778">
                  <c:v>43503</c:v>
                </c:pt>
                <c:pt idx="779">
                  <c:v>43504</c:v>
                </c:pt>
                <c:pt idx="780">
                  <c:v>43507</c:v>
                </c:pt>
                <c:pt idx="781">
                  <c:v>43508</c:v>
                </c:pt>
                <c:pt idx="782">
                  <c:v>43509</c:v>
                </c:pt>
                <c:pt idx="783">
                  <c:v>43510</c:v>
                </c:pt>
                <c:pt idx="784">
                  <c:v>43511</c:v>
                </c:pt>
                <c:pt idx="785">
                  <c:v>43514</c:v>
                </c:pt>
                <c:pt idx="786">
                  <c:v>43515</c:v>
                </c:pt>
                <c:pt idx="787">
                  <c:v>43516</c:v>
                </c:pt>
                <c:pt idx="788">
                  <c:v>43517</c:v>
                </c:pt>
                <c:pt idx="789">
                  <c:v>43518</c:v>
                </c:pt>
                <c:pt idx="790">
                  <c:v>43521</c:v>
                </c:pt>
                <c:pt idx="791">
                  <c:v>43522</c:v>
                </c:pt>
                <c:pt idx="792">
                  <c:v>43523</c:v>
                </c:pt>
                <c:pt idx="793">
                  <c:v>43524</c:v>
                </c:pt>
                <c:pt idx="794">
                  <c:v>43525</c:v>
                </c:pt>
                <c:pt idx="795">
                  <c:v>43528</c:v>
                </c:pt>
                <c:pt idx="796">
                  <c:v>43529</c:v>
                </c:pt>
                <c:pt idx="797">
                  <c:v>43530</c:v>
                </c:pt>
                <c:pt idx="798">
                  <c:v>43531</c:v>
                </c:pt>
                <c:pt idx="799">
                  <c:v>43532</c:v>
                </c:pt>
                <c:pt idx="800">
                  <c:v>43535</c:v>
                </c:pt>
                <c:pt idx="801">
                  <c:v>43536</c:v>
                </c:pt>
                <c:pt idx="802">
                  <c:v>43537</c:v>
                </c:pt>
                <c:pt idx="803">
                  <c:v>43538</c:v>
                </c:pt>
                <c:pt idx="804">
                  <c:v>43539</c:v>
                </c:pt>
                <c:pt idx="805">
                  <c:v>43542</c:v>
                </c:pt>
                <c:pt idx="806">
                  <c:v>43543</c:v>
                </c:pt>
                <c:pt idx="807">
                  <c:v>43545</c:v>
                </c:pt>
                <c:pt idx="808">
                  <c:v>43546</c:v>
                </c:pt>
                <c:pt idx="809">
                  <c:v>43549</c:v>
                </c:pt>
                <c:pt idx="810">
                  <c:v>43550</c:v>
                </c:pt>
                <c:pt idx="811">
                  <c:v>43551</c:v>
                </c:pt>
                <c:pt idx="812">
                  <c:v>43552</c:v>
                </c:pt>
                <c:pt idx="813">
                  <c:v>43553</c:v>
                </c:pt>
                <c:pt idx="814">
                  <c:v>43556</c:v>
                </c:pt>
                <c:pt idx="815">
                  <c:v>43557</c:v>
                </c:pt>
                <c:pt idx="816">
                  <c:v>43558</c:v>
                </c:pt>
                <c:pt idx="817">
                  <c:v>43559</c:v>
                </c:pt>
                <c:pt idx="818">
                  <c:v>43560</c:v>
                </c:pt>
                <c:pt idx="819">
                  <c:v>43563</c:v>
                </c:pt>
                <c:pt idx="820">
                  <c:v>43565</c:v>
                </c:pt>
                <c:pt idx="821">
                  <c:v>43566</c:v>
                </c:pt>
                <c:pt idx="822">
                  <c:v>43567</c:v>
                </c:pt>
                <c:pt idx="823">
                  <c:v>43570</c:v>
                </c:pt>
                <c:pt idx="824">
                  <c:v>43571</c:v>
                </c:pt>
                <c:pt idx="825">
                  <c:v>43572</c:v>
                </c:pt>
                <c:pt idx="826">
                  <c:v>43573</c:v>
                </c:pt>
                <c:pt idx="827">
                  <c:v>43574</c:v>
                </c:pt>
                <c:pt idx="828">
                  <c:v>43577</c:v>
                </c:pt>
                <c:pt idx="829">
                  <c:v>43578</c:v>
                </c:pt>
                <c:pt idx="830">
                  <c:v>43579</c:v>
                </c:pt>
                <c:pt idx="831">
                  <c:v>43580</c:v>
                </c:pt>
                <c:pt idx="832">
                  <c:v>43581</c:v>
                </c:pt>
                <c:pt idx="833">
                  <c:v>43584</c:v>
                </c:pt>
                <c:pt idx="834">
                  <c:v>43585</c:v>
                </c:pt>
                <c:pt idx="835">
                  <c:v>43587</c:v>
                </c:pt>
                <c:pt idx="836">
                  <c:v>43588</c:v>
                </c:pt>
                <c:pt idx="837">
                  <c:v>43591</c:v>
                </c:pt>
                <c:pt idx="838">
                  <c:v>43592</c:v>
                </c:pt>
                <c:pt idx="839">
                  <c:v>43593</c:v>
                </c:pt>
                <c:pt idx="840">
                  <c:v>43594</c:v>
                </c:pt>
                <c:pt idx="841">
                  <c:v>43595</c:v>
                </c:pt>
                <c:pt idx="842">
                  <c:v>43598</c:v>
                </c:pt>
                <c:pt idx="843">
                  <c:v>43599</c:v>
                </c:pt>
                <c:pt idx="844">
                  <c:v>43600</c:v>
                </c:pt>
                <c:pt idx="845">
                  <c:v>43601</c:v>
                </c:pt>
                <c:pt idx="846">
                  <c:v>43602</c:v>
                </c:pt>
                <c:pt idx="847">
                  <c:v>43605</c:v>
                </c:pt>
                <c:pt idx="848">
                  <c:v>43606</c:v>
                </c:pt>
                <c:pt idx="849">
                  <c:v>43607</c:v>
                </c:pt>
                <c:pt idx="850">
                  <c:v>43608</c:v>
                </c:pt>
                <c:pt idx="851">
                  <c:v>43609</c:v>
                </c:pt>
                <c:pt idx="852">
                  <c:v>43612</c:v>
                </c:pt>
                <c:pt idx="853">
                  <c:v>43613</c:v>
                </c:pt>
                <c:pt idx="854">
                  <c:v>43614</c:v>
                </c:pt>
                <c:pt idx="855">
                  <c:v>43615</c:v>
                </c:pt>
                <c:pt idx="856">
                  <c:v>43616</c:v>
                </c:pt>
                <c:pt idx="857">
                  <c:v>43619</c:v>
                </c:pt>
                <c:pt idx="858">
                  <c:v>43623</c:v>
                </c:pt>
                <c:pt idx="859">
                  <c:v>43626</c:v>
                </c:pt>
                <c:pt idx="860">
                  <c:v>43627</c:v>
                </c:pt>
                <c:pt idx="861">
                  <c:v>43628</c:v>
                </c:pt>
                <c:pt idx="862">
                  <c:v>43629</c:v>
                </c:pt>
                <c:pt idx="863">
                  <c:v>43630</c:v>
                </c:pt>
                <c:pt idx="864">
                  <c:v>43633</c:v>
                </c:pt>
                <c:pt idx="865">
                  <c:v>43634</c:v>
                </c:pt>
                <c:pt idx="866">
                  <c:v>43635</c:v>
                </c:pt>
                <c:pt idx="867">
                  <c:v>43636</c:v>
                </c:pt>
                <c:pt idx="868">
                  <c:v>43637</c:v>
                </c:pt>
                <c:pt idx="869">
                  <c:v>43640</c:v>
                </c:pt>
                <c:pt idx="870">
                  <c:v>43641</c:v>
                </c:pt>
                <c:pt idx="871">
                  <c:v>43642</c:v>
                </c:pt>
                <c:pt idx="872">
                  <c:v>43643</c:v>
                </c:pt>
                <c:pt idx="873">
                  <c:v>43644</c:v>
                </c:pt>
                <c:pt idx="874">
                  <c:v>43647</c:v>
                </c:pt>
                <c:pt idx="875">
                  <c:v>43648</c:v>
                </c:pt>
                <c:pt idx="876">
                  <c:v>43649</c:v>
                </c:pt>
                <c:pt idx="877">
                  <c:v>43650</c:v>
                </c:pt>
                <c:pt idx="878">
                  <c:v>43651</c:v>
                </c:pt>
                <c:pt idx="879">
                  <c:v>43654</c:v>
                </c:pt>
                <c:pt idx="880">
                  <c:v>43655</c:v>
                </c:pt>
                <c:pt idx="881">
                  <c:v>43656</c:v>
                </c:pt>
                <c:pt idx="882">
                  <c:v>43657</c:v>
                </c:pt>
                <c:pt idx="883">
                  <c:v>43658</c:v>
                </c:pt>
                <c:pt idx="884">
                  <c:v>43661</c:v>
                </c:pt>
                <c:pt idx="885">
                  <c:v>43662</c:v>
                </c:pt>
                <c:pt idx="886">
                  <c:v>43663</c:v>
                </c:pt>
                <c:pt idx="887">
                  <c:v>43664</c:v>
                </c:pt>
                <c:pt idx="888">
                  <c:v>43665</c:v>
                </c:pt>
                <c:pt idx="889">
                  <c:v>43668</c:v>
                </c:pt>
                <c:pt idx="890">
                  <c:v>43669</c:v>
                </c:pt>
                <c:pt idx="891">
                  <c:v>43670</c:v>
                </c:pt>
                <c:pt idx="892">
                  <c:v>43672</c:v>
                </c:pt>
                <c:pt idx="893">
                  <c:v>43675</c:v>
                </c:pt>
                <c:pt idx="894">
                  <c:v>43676</c:v>
                </c:pt>
                <c:pt idx="895">
                  <c:v>43677</c:v>
                </c:pt>
                <c:pt idx="896">
                  <c:v>43678</c:v>
                </c:pt>
                <c:pt idx="897">
                  <c:v>43679</c:v>
                </c:pt>
                <c:pt idx="898">
                  <c:v>43682</c:v>
                </c:pt>
                <c:pt idx="899">
                  <c:v>43683</c:v>
                </c:pt>
                <c:pt idx="900">
                  <c:v>43684</c:v>
                </c:pt>
                <c:pt idx="901">
                  <c:v>43685</c:v>
                </c:pt>
                <c:pt idx="902">
                  <c:v>43686</c:v>
                </c:pt>
                <c:pt idx="903">
                  <c:v>43691</c:v>
                </c:pt>
                <c:pt idx="904">
                  <c:v>43692</c:v>
                </c:pt>
                <c:pt idx="905">
                  <c:v>43693</c:v>
                </c:pt>
                <c:pt idx="906">
                  <c:v>43696</c:v>
                </c:pt>
                <c:pt idx="907">
                  <c:v>43697</c:v>
                </c:pt>
                <c:pt idx="908">
                  <c:v>43698</c:v>
                </c:pt>
                <c:pt idx="909">
                  <c:v>43699</c:v>
                </c:pt>
                <c:pt idx="910">
                  <c:v>43700</c:v>
                </c:pt>
                <c:pt idx="911">
                  <c:v>43703</c:v>
                </c:pt>
                <c:pt idx="912">
                  <c:v>43704</c:v>
                </c:pt>
                <c:pt idx="913">
                  <c:v>43705</c:v>
                </c:pt>
                <c:pt idx="914">
                  <c:v>43706</c:v>
                </c:pt>
                <c:pt idx="915">
                  <c:v>43707</c:v>
                </c:pt>
                <c:pt idx="916">
                  <c:v>43710</c:v>
                </c:pt>
                <c:pt idx="917">
                  <c:v>43711</c:v>
                </c:pt>
                <c:pt idx="918">
                  <c:v>43712</c:v>
                </c:pt>
                <c:pt idx="919">
                  <c:v>43713</c:v>
                </c:pt>
                <c:pt idx="920">
                  <c:v>43714</c:v>
                </c:pt>
                <c:pt idx="921">
                  <c:v>43717</c:v>
                </c:pt>
                <c:pt idx="922">
                  <c:v>43718</c:v>
                </c:pt>
                <c:pt idx="923">
                  <c:v>43719</c:v>
                </c:pt>
                <c:pt idx="924">
                  <c:v>43720</c:v>
                </c:pt>
                <c:pt idx="925">
                  <c:v>43721</c:v>
                </c:pt>
                <c:pt idx="926">
                  <c:v>43724</c:v>
                </c:pt>
                <c:pt idx="927">
                  <c:v>43725</c:v>
                </c:pt>
                <c:pt idx="928">
                  <c:v>43726</c:v>
                </c:pt>
                <c:pt idx="929">
                  <c:v>43727</c:v>
                </c:pt>
                <c:pt idx="930">
                  <c:v>43728</c:v>
                </c:pt>
                <c:pt idx="931">
                  <c:v>43731</c:v>
                </c:pt>
                <c:pt idx="932">
                  <c:v>43732</c:v>
                </c:pt>
                <c:pt idx="933">
                  <c:v>43733</c:v>
                </c:pt>
                <c:pt idx="934">
                  <c:v>43734</c:v>
                </c:pt>
                <c:pt idx="935">
                  <c:v>43735</c:v>
                </c:pt>
                <c:pt idx="936">
                  <c:v>43738</c:v>
                </c:pt>
                <c:pt idx="937">
                  <c:v>43739</c:v>
                </c:pt>
                <c:pt idx="938">
                  <c:v>43740</c:v>
                </c:pt>
                <c:pt idx="939">
                  <c:v>43741</c:v>
                </c:pt>
                <c:pt idx="940">
                  <c:v>43742</c:v>
                </c:pt>
                <c:pt idx="941">
                  <c:v>43745</c:v>
                </c:pt>
                <c:pt idx="942">
                  <c:v>43746</c:v>
                </c:pt>
                <c:pt idx="943">
                  <c:v>43747</c:v>
                </c:pt>
                <c:pt idx="944">
                  <c:v>43748</c:v>
                </c:pt>
                <c:pt idx="945">
                  <c:v>43749</c:v>
                </c:pt>
                <c:pt idx="946">
                  <c:v>43752</c:v>
                </c:pt>
                <c:pt idx="947">
                  <c:v>43754</c:v>
                </c:pt>
                <c:pt idx="948">
                  <c:v>43755</c:v>
                </c:pt>
                <c:pt idx="949">
                  <c:v>43756</c:v>
                </c:pt>
                <c:pt idx="950">
                  <c:v>43759</c:v>
                </c:pt>
                <c:pt idx="951">
                  <c:v>43760</c:v>
                </c:pt>
                <c:pt idx="952">
                  <c:v>43761</c:v>
                </c:pt>
                <c:pt idx="953">
                  <c:v>43762</c:v>
                </c:pt>
                <c:pt idx="954">
                  <c:v>43763</c:v>
                </c:pt>
                <c:pt idx="955">
                  <c:v>43766</c:v>
                </c:pt>
                <c:pt idx="956">
                  <c:v>43767</c:v>
                </c:pt>
                <c:pt idx="957">
                  <c:v>43768</c:v>
                </c:pt>
                <c:pt idx="958">
                  <c:v>43769</c:v>
                </c:pt>
                <c:pt idx="959">
                  <c:v>43770</c:v>
                </c:pt>
                <c:pt idx="960">
                  <c:v>43773</c:v>
                </c:pt>
                <c:pt idx="961">
                  <c:v>43774</c:v>
                </c:pt>
                <c:pt idx="962">
                  <c:v>43775</c:v>
                </c:pt>
                <c:pt idx="963">
                  <c:v>43776</c:v>
                </c:pt>
                <c:pt idx="964">
                  <c:v>43777</c:v>
                </c:pt>
                <c:pt idx="965">
                  <c:v>43780</c:v>
                </c:pt>
                <c:pt idx="966">
                  <c:v>43781</c:v>
                </c:pt>
              </c:numCache>
            </c:numRef>
          </c:cat>
          <c:val>
            <c:numRef>
              <c:f>Feuil1!$E$4:$AKJ$4</c:f>
              <c:numCache>
                <c:formatCode>General</c:formatCode>
                <c:ptCount val="967"/>
                <c:pt idx="0">
                  <c:v>2.2186399999999997</c:v>
                </c:pt>
                <c:pt idx="1">
                  <c:v>2.20967</c:v>
                </c:pt>
                <c:pt idx="2">
                  <c:v>2.2098900000000001</c:v>
                </c:pt>
                <c:pt idx="3">
                  <c:v>2.21271</c:v>
                </c:pt>
                <c:pt idx="4">
                  <c:v>2.2195999999999998</c:v>
                </c:pt>
                <c:pt idx="5">
                  <c:v>2.2199200000000001</c:v>
                </c:pt>
                <c:pt idx="6">
                  <c:v>2.2191700000000001</c:v>
                </c:pt>
                <c:pt idx="7">
                  <c:v>2.2134900000000002</c:v>
                </c:pt>
                <c:pt idx="8">
                  <c:v>2.2253099999999999</c:v>
                </c:pt>
                <c:pt idx="9">
                  <c:v>2.2225600000000001</c:v>
                </c:pt>
                <c:pt idx="10">
                  <c:v>2.2217199999999999</c:v>
                </c:pt>
                <c:pt idx="11">
                  <c:v>2.2249599999999998</c:v>
                </c:pt>
                <c:pt idx="12">
                  <c:v>2.2216399999999998</c:v>
                </c:pt>
                <c:pt idx="13">
                  <c:v>2.2207900000000018</c:v>
                </c:pt>
                <c:pt idx="14">
                  <c:v>2.2191999999999998</c:v>
                </c:pt>
                <c:pt idx="15">
                  <c:v>2.21848</c:v>
                </c:pt>
                <c:pt idx="16">
                  <c:v>2.2200899999999999</c:v>
                </c:pt>
                <c:pt idx="17">
                  <c:v>2.2257799999999999</c:v>
                </c:pt>
                <c:pt idx="18">
                  <c:v>2.22214</c:v>
                </c:pt>
                <c:pt idx="19">
                  <c:v>2.2227399999999999</c:v>
                </c:pt>
                <c:pt idx="20">
                  <c:v>2.2259899999999999</c:v>
                </c:pt>
                <c:pt idx="21">
                  <c:v>2.2257699999999998</c:v>
                </c:pt>
                <c:pt idx="22">
                  <c:v>2.2387600000000001</c:v>
                </c:pt>
                <c:pt idx="23">
                  <c:v>2.2521300000000002</c:v>
                </c:pt>
                <c:pt idx="24">
                  <c:v>2.2514399999999997</c:v>
                </c:pt>
                <c:pt idx="25">
                  <c:v>2.2569599999999981</c:v>
                </c:pt>
                <c:pt idx="26">
                  <c:v>2.2463899999999999</c:v>
                </c:pt>
                <c:pt idx="27">
                  <c:v>2.2633300000000021</c:v>
                </c:pt>
                <c:pt idx="28">
                  <c:v>2.2616000000000001</c:v>
                </c:pt>
                <c:pt idx="29">
                  <c:v>2.2521599999999982</c:v>
                </c:pt>
                <c:pt idx="30">
                  <c:v>2.2490000000000001</c:v>
                </c:pt>
                <c:pt idx="31">
                  <c:v>2.2473500000000017</c:v>
                </c:pt>
                <c:pt idx="32">
                  <c:v>2.2478799999999999</c:v>
                </c:pt>
                <c:pt idx="33">
                  <c:v>2.2456499999999981</c:v>
                </c:pt>
                <c:pt idx="34">
                  <c:v>2.2441499999999999</c:v>
                </c:pt>
                <c:pt idx="35">
                  <c:v>2.2423299999999999</c:v>
                </c:pt>
                <c:pt idx="36">
                  <c:v>2.2385600000000001</c:v>
                </c:pt>
                <c:pt idx="37">
                  <c:v>2.2391299999999998</c:v>
                </c:pt>
                <c:pt idx="38">
                  <c:v>2.23956</c:v>
                </c:pt>
                <c:pt idx="39">
                  <c:v>2.2270900000000018</c:v>
                </c:pt>
                <c:pt idx="40">
                  <c:v>2.2288999999999999</c:v>
                </c:pt>
                <c:pt idx="41">
                  <c:v>2.2283700000000017</c:v>
                </c:pt>
                <c:pt idx="42">
                  <c:v>2.2322399999999987</c:v>
                </c:pt>
                <c:pt idx="43">
                  <c:v>2.2397499999999981</c:v>
                </c:pt>
                <c:pt idx="44">
                  <c:v>2.2386399999999997</c:v>
                </c:pt>
                <c:pt idx="45">
                  <c:v>2.2324299999999981</c:v>
                </c:pt>
                <c:pt idx="46">
                  <c:v>2.2380100000000001</c:v>
                </c:pt>
                <c:pt idx="47">
                  <c:v>2.2409599999999998</c:v>
                </c:pt>
                <c:pt idx="48">
                  <c:v>2.2480699999999998</c:v>
                </c:pt>
                <c:pt idx="49">
                  <c:v>2.2476400000000001</c:v>
                </c:pt>
                <c:pt idx="50">
                  <c:v>2.2456100000000001</c:v>
                </c:pt>
                <c:pt idx="51">
                  <c:v>2.2445800000000018</c:v>
                </c:pt>
                <c:pt idx="52">
                  <c:v>2.2622800000000001</c:v>
                </c:pt>
                <c:pt idx="53">
                  <c:v>2.2618299999999998</c:v>
                </c:pt>
                <c:pt idx="54">
                  <c:v>2.2645400000000002</c:v>
                </c:pt>
                <c:pt idx="55">
                  <c:v>2.2642899999999999</c:v>
                </c:pt>
                <c:pt idx="56">
                  <c:v>2.2641000000000018</c:v>
                </c:pt>
                <c:pt idx="57">
                  <c:v>2.2671600000000018</c:v>
                </c:pt>
                <c:pt idx="58">
                  <c:v>2.2713199999999998</c:v>
                </c:pt>
                <c:pt idx="59">
                  <c:v>2.272879999999998</c:v>
                </c:pt>
                <c:pt idx="60">
                  <c:v>2.27461</c:v>
                </c:pt>
                <c:pt idx="61">
                  <c:v>2.2867899999999999</c:v>
                </c:pt>
                <c:pt idx="62">
                  <c:v>2.2953000000000001</c:v>
                </c:pt>
                <c:pt idx="63">
                  <c:v>2.27765</c:v>
                </c:pt>
                <c:pt idx="64">
                  <c:v>2.2840500000000001</c:v>
                </c:pt>
                <c:pt idx="65">
                  <c:v>2.2851599999999999</c:v>
                </c:pt>
                <c:pt idx="66">
                  <c:v>2.2853599999999998</c:v>
                </c:pt>
                <c:pt idx="67">
                  <c:v>2.2822900000000002</c:v>
                </c:pt>
                <c:pt idx="68">
                  <c:v>2.29183</c:v>
                </c:pt>
                <c:pt idx="69">
                  <c:v>2.2784399999999998</c:v>
                </c:pt>
                <c:pt idx="70">
                  <c:v>2.2807200000000019</c:v>
                </c:pt>
                <c:pt idx="71">
                  <c:v>2.2689400000000002</c:v>
                </c:pt>
                <c:pt idx="72">
                  <c:v>2.2721399999999998</c:v>
                </c:pt>
                <c:pt idx="73">
                  <c:v>2.2719100000000001</c:v>
                </c:pt>
                <c:pt idx="74">
                  <c:v>2.275659999999998</c:v>
                </c:pt>
                <c:pt idx="75">
                  <c:v>2.2689900000000018</c:v>
                </c:pt>
                <c:pt idx="76">
                  <c:v>2.2816800000000002</c:v>
                </c:pt>
                <c:pt idx="77">
                  <c:v>2.2812800000000002</c:v>
                </c:pt>
                <c:pt idx="78">
                  <c:v>2.27678</c:v>
                </c:pt>
                <c:pt idx="79">
                  <c:v>2.2761</c:v>
                </c:pt>
                <c:pt idx="80">
                  <c:v>2.27183</c:v>
                </c:pt>
                <c:pt idx="81">
                  <c:v>2.2819699999999998</c:v>
                </c:pt>
                <c:pt idx="82">
                  <c:v>2.2855900000000018</c:v>
                </c:pt>
                <c:pt idx="83">
                  <c:v>2.2922399999999987</c:v>
                </c:pt>
                <c:pt idx="84">
                  <c:v>2.2965300000000002</c:v>
                </c:pt>
                <c:pt idx="85">
                  <c:v>2.29847</c:v>
                </c:pt>
                <c:pt idx="86">
                  <c:v>2.2971699999999999</c:v>
                </c:pt>
                <c:pt idx="87">
                  <c:v>2.2943899999999999</c:v>
                </c:pt>
                <c:pt idx="88">
                  <c:v>2.2986200000000001</c:v>
                </c:pt>
                <c:pt idx="89">
                  <c:v>2.30023</c:v>
                </c:pt>
                <c:pt idx="90">
                  <c:v>2.3007900000000001</c:v>
                </c:pt>
                <c:pt idx="91">
                  <c:v>2.2974100000000002</c:v>
                </c:pt>
                <c:pt idx="92">
                  <c:v>2.30776</c:v>
                </c:pt>
                <c:pt idx="93">
                  <c:v>2.32023</c:v>
                </c:pt>
                <c:pt idx="94">
                  <c:v>2.3266199999999979</c:v>
                </c:pt>
                <c:pt idx="95">
                  <c:v>2.3334099999999984</c:v>
                </c:pt>
                <c:pt idx="96">
                  <c:v>2.325889999999998</c:v>
                </c:pt>
                <c:pt idx="97">
                  <c:v>2.3228999999999984</c:v>
                </c:pt>
                <c:pt idx="98">
                  <c:v>2.3257699999999981</c:v>
                </c:pt>
                <c:pt idx="99">
                  <c:v>2.32382</c:v>
                </c:pt>
                <c:pt idx="100">
                  <c:v>2.3236300000000001</c:v>
                </c:pt>
                <c:pt idx="101">
                  <c:v>2.3274599999999981</c:v>
                </c:pt>
                <c:pt idx="102">
                  <c:v>2.3345199999999982</c:v>
                </c:pt>
                <c:pt idx="103">
                  <c:v>2.3381699999999981</c:v>
                </c:pt>
                <c:pt idx="104">
                  <c:v>2.34172</c:v>
                </c:pt>
                <c:pt idx="105">
                  <c:v>2.3557399999999982</c:v>
                </c:pt>
                <c:pt idx="106">
                  <c:v>2.3500599999999978</c:v>
                </c:pt>
                <c:pt idx="107">
                  <c:v>2.3807399999999999</c:v>
                </c:pt>
                <c:pt idx="108">
                  <c:v>2.3994599999999968</c:v>
                </c:pt>
                <c:pt idx="109">
                  <c:v>2.4151199999999982</c:v>
                </c:pt>
                <c:pt idx="110">
                  <c:v>2.4126999999999978</c:v>
                </c:pt>
                <c:pt idx="111">
                  <c:v>2.4333200000000001</c:v>
                </c:pt>
                <c:pt idx="112">
                  <c:v>2.4379399999999998</c:v>
                </c:pt>
                <c:pt idx="113">
                  <c:v>2.4364199999999978</c:v>
                </c:pt>
                <c:pt idx="114">
                  <c:v>2.4726599999999963</c:v>
                </c:pt>
                <c:pt idx="115">
                  <c:v>2.4325699999999979</c:v>
                </c:pt>
                <c:pt idx="116">
                  <c:v>2.4255100000000001</c:v>
                </c:pt>
                <c:pt idx="117">
                  <c:v>2.4292499999999979</c:v>
                </c:pt>
                <c:pt idx="118">
                  <c:v>2.42781</c:v>
                </c:pt>
                <c:pt idx="119">
                  <c:v>2.4356899999999979</c:v>
                </c:pt>
                <c:pt idx="120">
                  <c:v>2.4418899999999981</c:v>
                </c:pt>
                <c:pt idx="121">
                  <c:v>2.43709</c:v>
                </c:pt>
                <c:pt idx="122">
                  <c:v>2.44041</c:v>
                </c:pt>
                <c:pt idx="123">
                  <c:v>2.4524299999999979</c:v>
                </c:pt>
                <c:pt idx="124">
                  <c:v>2.44963</c:v>
                </c:pt>
                <c:pt idx="125">
                  <c:v>2.4593999999999987</c:v>
                </c:pt>
                <c:pt idx="126">
                  <c:v>2.4531299999999998</c:v>
                </c:pt>
                <c:pt idx="127">
                  <c:v>2.4380199999999981</c:v>
                </c:pt>
                <c:pt idx="128">
                  <c:v>2.4390199999999984</c:v>
                </c:pt>
                <c:pt idx="129">
                  <c:v>2.4430399999999999</c:v>
                </c:pt>
                <c:pt idx="130">
                  <c:v>2.4418399999999987</c:v>
                </c:pt>
                <c:pt idx="131">
                  <c:v>2.4337999999999997</c:v>
                </c:pt>
                <c:pt idx="132">
                  <c:v>2.4494499999999979</c:v>
                </c:pt>
                <c:pt idx="133">
                  <c:v>2.4506799999999984</c:v>
                </c:pt>
                <c:pt idx="134">
                  <c:v>2.4549799999999982</c:v>
                </c:pt>
                <c:pt idx="135">
                  <c:v>2.45119</c:v>
                </c:pt>
                <c:pt idx="136">
                  <c:v>2.4561399999999987</c:v>
                </c:pt>
                <c:pt idx="137">
                  <c:v>2.4584399999999982</c:v>
                </c:pt>
                <c:pt idx="138">
                  <c:v>2.44848</c:v>
                </c:pt>
                <c:pt idx="139">
                  <c:v>2.46075</c:v>
                </c:pt>
                <c:pt idx="140">
                  <c:v>2.4630100000000001</c:v>
                </c:pt>
                <c:pt idx="141">
                  <c:v>2.4500499999999978</c:v>
                </c:pt>
                <c:pt idx="142">
                  <c:v>2.4603999999999999</c:v>
                </c:pt>
                <c:pt idx="143">
                  <c:v>2.46868</c:v>
                </c:pt>
                <c:pt idx="144">
                  <c:v>2.46746</c:v>
                </c:pt>
                <c:pt idx="145">
                  <c:v>2.471429999999998</c:v>
                </c:pt>
                <c:pt idx="146">
                  <c:v>2.4719799999999981</c:v>
                </c:pt>
                <c:pt idx="147">
                  <c:v>2.4713499999999984</c:v>
                </c:pt>
                <c:pt idx="148">
                  <c:v>2.4641199999999999</c:v>
                </c:pt>
                <c:pt idx="149">
                  <c:v>2.4636499999999981</c:v>
                </c:pt>
                <c:pt idx="150">
                  <c:v>2.4603000000000002</c:v>
                </c:pt>
                <c:pt idx="151">
                  <c:v>2.45899</c:v>
                </c:pt>
                <c:pt idx="152">
                  <c:v>2.46305</c:v>
                </c:pt>
                <c:pt idx="153">
                  <c:v>2.4638800000000001</c:v>
                </c:pt>
                <c:pt idx="154">
                  <c:v>2.4595799999999981</c:v>
                </c:pt>
                <c:pt idx="155">
                  <c:v>2.4637199999999999</c:v>
                </c:pt>
                <c:pt idx="156">
                  <c:v>2.4717399999999987</c:v>
                </c:pt>
                <c:pt idx="157">
                  <c:v>2.472639999999998</c:v>
                </c:pt>
                <c:pt idx="158">
                  <c:v>2.4769599999999978</c:v>
                </c:pt>
                <c:pt idx="159">
                  <c:v>2.4773499999999982</c:v>
                </c:pt>
                <c:pt idx="160">
                  <c:v>2.4753499999999984</c:v>
                </c:pt>
                <c:pt idx="161">
                  <c:v>2.479769999999998</c:v>
                </c:pt>
                <c:pt idx="162">
                  <c:v>2.4758799999999979</c:v>
                </c:pt>
                <c:pt idx="163">
                  <c:v>2.4742899999999981</c:v>
                </c:pt>
                <c:pt idx="164">
                  <c:v>2.4755199999999982</c:v>
                </c:pt>
                <c:pt idx="165">
                  <c:v>2.4672200000000002</c:v>
                </c:pt>
                <c:pt idx="166">
                  <c:v>2.4660699999999984</c:v>
                </c:pt>
                <c:pt idx="167">
                  <c:v>2.4644399999999997</c:v>
                </c:pt>
                <c:pt idx="168">
                  <c:v>2.4639199999999999</c:v>
                </c:pt>
                <c:pt idx="169">
                  <c:v>2.4659599999999982</c:v>
                </c:pt>
                <c:pt idx="170">
                  <c:v>2.4652499999999984</c:v>
                </c:pt>
                <c:pt idx="171">
                  <c:v>2.46861</c:v>
                </c:pt>
                <c:pt idx="172">
                  <c:v>2.4639799999999998</c:v>
                </c:pt>
                <c:pt idx="173">
                  <c:v>2.4749599999999981</c:v>
                </c:pt>
                <c:pt idx="174">
                  <c:v>2.4744899999999981</c:v>
                </c:pt>
                <c:pt idx="175">
                  <c:v>2.471969999999998</c:v>
                </c:pt>
                <c:pt idx="176">
                  <c:v>2.472719999999998</c:v>
                </c:pt>
                <c:pt idx="177">
                  <c:v>2.4694499999999984</c:v>
                </c:pt>
                <c:pt idx="178">
                  <c:v>2.4683199999999998</c:v>
                </c:pt>
                <c:pt idx="179">
                  <c:v>2.4687800000000002</c:v>
                </c:pt>
                <c:pt idx="180">
                  <c:v>2.459299999999998</c:v>
                </c:pt>
                <c:pt idx="181">
                  <c:v>2.4748099999999984</c:v>
                </c:pt>
                <c:pt idx="182">
                  <c:v>2.4593099999999981</c:v>
                </c:pt>
                <c:pt idx="183">
                  <c:v>2.47376</c:v>
                </c:pt>
                <c:pt idx="184">
                  <c:v>2.4706399999999982</c:v>
                </c:pt>
                <c:pt idx="185">
                  <c:v>2.4706999999999981</c:v>
                </c:pt>
                <c:pt idx="186">
                  <c:v>2.4714699999999978</c:v>
                </c:pt>
                <c:pt idx="187">
                  <c:v>2.472179999999998</c:v>
                </c:pt>
                <c:pt idx="188">
                  <c:v>2.4636399999999998</c:v>
                </c:pt>
                <c:pt idx="189">
                  <c:v>2.4691000000000001</c:v>
                </c:pt>
                <c:pt idx="190">
                  <c:v>2.4725099999999984</c:v>
                </c:pt>
                <c:pt idx="191">
                  <c:v>2.47098</c:v>
                </c:pt>
                <c:pt idx="192">
                  <c:v>2.4687100000000002</c:v>
                </c:pt>
                <c:pt idx="193">
                  <c:v>2.472439999999998</c:v>
                </c:pt>
                <c:pt idx="194">
                  <c:v>2.4678599999999982</c:v>
                </c:pt>
                <c:pt idx="195">
                  <c:v>2.4605000000000001</c:v>
                </c:pt>
                <c:pt idx="196">
                  <c:v>2.4681700000000002</c:v>
                </c:pt>
                <c:pt idx="197">
                  <c:v>2.46787</c:v>
                </c:pt>
                <c:pt idx="198">
                  <c:v>2.4563999999999981</c:v>
                </c:pt>
                <c:pt idx="199">
                  <c:v>2.4693499999999982</c:v>
                </c:pt>
                <c:pt idx="200">
                  <c:v>2.4676300000000002</c:v>
                </c:pt>
                <c:pt idx="201">
                  <c:v>2.4519599999999984</c:v>
                </c:pt>
                <c:pt idx="202">
                  <c:v>2.4628099999999984</c:v>
                </c:pt>
                <c:pt idx="203">
                  <c:v>2.4633200000000017</c:v>
                </c:pt>
                <c:pt idx="204">
                  <c:v>2.46191</c:v>
                </c:pt>
                <c:pt idx="205">
                  <c:v>2.4508499999999973</c:v>
                </c:pt>
                <c:pt idx="206">
                  <c:v>2.46347</c:v>
                </c:pt>
                <c:pt idx="207">
                  <c:v>2.4643700000000002</c:v>
                </c:pt>
                <c:pt idx="208">
                  <c:v>2.4681999999999999</c:v>
                </c:pt>
                <c:pt idx="209">
                  <c:v>2.4555199999999981</c:v>
                </c:pt>
                <c:pt idx="210">
                  <c:v>2.4761599999999984</c:v>
                </c:pt>
                <c:pt idx="211">
                  <c:v>2.4771299999999998</c:v>
                </c:pt>
                <c:pt idx="212">
                  <c:v>2.4618799999999981</c:v>
                </c:pt>
                <c:pt idx="213">
                  <c:v>2.4758899999999984</c:v>
                </c:pt>
                <c:pt idx="214">
                  <c:v>2.476379999999998</c:v>
                </c:pt>
                <c:pt idx="215">
                  <c:v>2.48054</c:v>
                </c:pt>
                <c:pt idx="216">
                  <c:v>2.4689399999999999</c:v>
                </c:pt>
                <c:pt idx="217">
                  <c:v>2.4719999999999982</c:v>
                </c:pt>
                <c:pt idx="218">
                  <c:v>2.4419999999999997</c:v>
                </c:pt>
                <c:pt idx="219">
                  <c:v>2.44278</c:v>
                </c:pt>
                <c:pt idx="220">
                  <c:v>2.450009999999998</c:v>
                </c:pt>
                <c:pt idx="221">
                  <c:v>2.4492099999999981</c:v>
                </c:pt>
                <c:pt idx="222">
                  <c:v>2.42794</c:v>
                </c:pt>
                <c:pt idx="223">
                  <c:v>2.42821</c:v>
                </c:pt>
                <c:pt idx="224">
                  <c:v>2.4311499999999984</c:v>
                </c:pt>
                <c:pt idx="225">
                  <c:v>2.4397799999999981</c:v>
                </c:pt>
                <c:pt idx="226">
                  <c:v>2.4381200000000001</c:v>
                </c:pt>
                <c:pt idx="227">
                  <c:v>2.4429699999999981</c:v>
                </c:pt>
                <c:pt idx="228">
                  <c:v>2.4510199999999984</c:v>
                </c:pt>
                <c:pt idx="229">
                  <c:v>2.4362599999999963</c:v>
                </c:pt>
                <c:pt idx="230">
                  <c:v>2.4554899999999984</c:v>
                </c:pt>
                <c:pt idx="231">
                  <c:v>2.4453100000000001</c:v>
                </c:pt>
                <c:pt idx="232">
                  <c:v>2.4610499999999984</c:v>
                </c:pt>
                <c:pt idx="233">
                  <c:v>2.44191</c:v>
                </c:pt>
                <c:pt idx="234">
                  <c:v>2.456989999999998</c:v>
                </c:pt>
                <c:pt idx="235">
                  <c:v>2.4725999999999981</c:v>
                </c:pt>
                <c:pt idx="236">
                  <c:v>2.4630000000000001</c:v>
                </c:pt>
                <c:pt idx="237">
                  <c:v>2.4495100000000001</c:v>
                </c:pt>
                <c:pt idx="238">
                  <c:v>2.44346</c:v>
                </c:pt>
                <c:pt idx="239">
                  <c:v>2.4403700000000002</c:v>
                </c:pt>
                <c:pt idx="240">
                  <c:v>2.4331200000000002</c:v>
                </c:pt>
                <c:pt idx="241">
                  <c:v>2.4257900000000001</c:v>
                </c:pt>
                <c:pt idx="242">
                  <c:v>2.42211</c:v>
                </c:pt>
                <c:pt idx="243">
                  <c:v>2.4194899999999984</c:v>
                </c:pt>
                <c:pt idx="244">
                  <c:v>2.41703</c:v>
                </c:pt>
                <c:pt idx="245">
                  <c:v>2.422149999999998</c:v>
                </c:pt>
                <c:pt idx="246">
                  <c:v>2.4255</c:v>
                </c:pt>
                <c:pt idx="247">
                  <c:v>2.4217200000000001</c:v>
                </c:pt>
                <c:pt idx="248">
                  <c:v>2.431099999999998</c:v>
                </c:pt>
                <c:pt idx="249">
                  <c:v>2.4316599999999968</c:v>
                </c:pt>
                <c:pt idx="250">
                  <c:v>2.4376799999999981</c:v>
                </c:pt>
                <c:pt idx="251">
                  <c:v>2.4300999999999982</c:v>
                </c:pt>
                <c:pt idx="252">
                  <c:v>2.459839999999998</c:v>
                </c:pt>
                <c:pt idx="253">
                  <c:v>2.453809999999998</c:v>
                </c:pt>
                <c:pt idx="254">
                  <c:v>2.4567299999999981</c:v>
                </c:pt>
                <c:pt idx="255">
                  <c:v>2.4349999999999987</c:v>
                </c:pt>
                <c:pt idx="256">
                  <c:v>2.4670800000000002</c:v>
                </c:pt>
                <c:pt idx="257">
                  <c:v>2.46652</c:v>
                </c:pt>
                <c:pt idx="258">
                  <c:v>2.4721399999999987</c:v>
                </c:pt>
                <c:pt idx="259">
                  <c:v>2.4420699999999984</c:v>
                </c:pt>
                <c:pt idx="260">
                  <c:v>2.4541599999999981</c:v>
                </c:pt>
                <c:pt idx="261">
                  <c:v>2.46096</c:v>
                </c:pt>
                <c:pt idx="262">
                  <c:v>2.4694199999999982</c:v>
                </c:pt>
                <c:pt idx="263">
                  <c:v>2.470009999999998</c:v>
                </c:pt>
                <c:pt idx="264">
                  <c:v>2.4697900000000002</c:v>
                </c:pt>
                <c:pt idx="265">
                  <c:v>2.4687600000000001</c:v>
                </c:pt>
                <c:pt idx="266">
                  <c:v>2.4714699999999978</c:v>
                </c:pt>
                <c:pt idx="267">
                  <c:v>2.4759599999999984</c:v>
                </c:pt>
                <c:pt idx="268">
                  <c:v>2.4751999999999987</c:v>
                </c:pt>
                <c:pt idx="269">
                  <c:v>2.4741</c:v>
                </c:pt>
                <c:pt idx="270">
                  <c:v>2.4731900000000002</c:v>
                </c:pt>
                <c:pt idx="271">
                  <c:v>2.4718799999999979</c:v>
                </c:pt>
                <c:pt idx="272">
                  <c:v>2.4722599999999963</c:v>
                </c:pt>
                <c:pt idx="273">
                  <c:v>2.4691800000000002</c:v>
                </c:pt>
                <c:pt idx="274">
                  <c:v>2.462819999999998</c:v>
                </c:pt>
                <c:pt idx="275">
                  <c:v>2.4650499999999984</c:v>
                </c:pt>
                <c:pt idx="276">
                  <c:v>2.4553099999999981</c:v>
                </c:pt>
                <c:pt idx="277">
                  <c:v>2.44963</c:v>
                </c:pt>
                <c:pt idx="278">
                  <c:v>2.4412099999999981</c:v>
                </c:pt>
                <c:pt idx="279">
                  <c:v>2.4321299999999981</c:v>
                </c:pt>
                <c:pt idx="280">
                  <c:v>2.43479</c:v>
                </c:pt>
                <c:pt idx="281">
                  <c:v>2.4260099999999984</c:v>
                </c:pt>
                <c:pt idx="282">
                  <c:v>2.42821</c:v>
                </c:pt>
                <c:pt idx="283">
                  <c:v>2.422829999999998</c:v>
                </c:pt>
                <c:pt idx="284">
                  <c:v>2.4226299999999981</c:v>
                </c:pt>
                <c:pt idx="285">
                  <c:v>2.4219200000000001</c:v>
                </c:pt>
                <c:pt idx="286">
                  <c:v>2.4308699999999979</c:v>
                </c:pt>
                <c:pt idx="287">
                  <c:v>2.4271799999999999</c:v>
                </c:pt>
                <c:pt idx="288">
                  <c:v>2.4173300000000002</c:v>
                </c:pt>
                <c:pt idx="289">
                  <c:v>2.410149999999998</c:v>
                </c:pt>
                <c:pt idx="290">
                  <c:v>2.4150799999999979</c:v>
                </c:pt>
                <c:pt idx="291">
                  <c:v>2.4333800000000001</c:v>
                </c:pt>
                <c:pt idx="292">
                  <c:v>2.4250599999999984</c:v>
                </c:pt>
                <c:pt idx="293">
                  <c:v>2.4211800000000001</c:v>
                </c:pt>
                <c:pt idx="294">
                  <c:v>2.4292399999999987</c:v>
                </c:pt>
                <c:pt idx="295">
                  <c:v>2.4195999999999982</c:v>
                </c:pt>
                <c:pt idx="296">
                  <c:v>2.4282900000000001</c:v>
                </c:pt>
                <c:pt idx="297">
                  <c:v>2.4256199999999981</c:v>
                </c:pt>
                <c:pt idx="298">
                  <c:v>2.4337499999999981</c:v>
                </c:pt>
                <c:pt idx="299">
                  <c:v>2.42449</c:v>
                </c:pt>
                <c:pt idx="300">
                  <c:v>2.4384299999999981</c:v>
                </c:pt>
                <c:pt idx="301">
                  <c:v>2.436589999999998</c:v>
                </c:pt>
                <c:pt idx="302">
                  <c:v>2.44469</c:v>
                </c:pt>
                <c:pt idx="303">
                  <c:v>2.4330699999999981</c:v>
                </c:pt>
                <c:pt idx="304">
                  <c:v>2.4513999999999987</c:v>
                </c:pt>
                <c:pt idx="305">
                  <c:v>2.4388799999999984</c:v>
                </c:pt>
                <c:pt idx="306">
                  <c:v>2.4443600000000001</c:v>
                </c:pt>
                <c:pt idx="307">
                  <c:v>2.4401199999999998</c:v>
                </c:pt>
                <c:pt idx="308">
                  <c:v>2.4586299999999981</c:v>
                </c:pt>
                <c:pt idx="309">
                  <c:v>2.4473600000000002</c:v>
                </c:pt>
                <c:pt idx="310">
                  <c:v>2.4410699999999981</c:v>
                </c:pt>
                <c:pt idx="311">
                  <c:v>2.4486599999999981</c:v>
                </c:pt>
                <c:pt idx="312">
                  <c:v>2.453059999999998</c:v>
                </c:pt>
                <c:pt idx="313">
                  <c:v>2.4681600000000001</c:v>
                </c:pt>
                <c:pt idx="314">
                  <c:v>2.48047</c:v>
                </c:pt>
                <c:pt idx="315">
                  <c:v>2.50299</c:v>
                </c:pt>
                <c:pt idx="316">
                  <c:v>2.4429399999999997</c:v>
                </c:pt>
                <c:pt idx="317">
                  <c:v>2.4464299999999981</c:v>
                </c:pt>
                <c:pt idx="318">
                  <c:v>2.46401</c:v>
                </c:pt>
                <c:pt idx="319">
                  <c:v>2.4676300000000002</c:v>
                </c:pt>
                <c:pt idx="320">
                  <c:v>2.4749399999999997</c:v>
                </c:pt>
                <c:pt idx="321">
                  <c:v>2.4843799999999998</c:v>
                </c:pt>
                <c:pt idx="322">
                  <c:v>2.4845100000000002</c:v>
                </c:pt>
                <c:pt idx="323">
                  <c:v>2.49559</c:v>
                </c:pt>
                <c:pt idx="324">
                  <c:v>2.4920499999999963</c:v>
                </c:pt>
                <c:pt idx="325">
                  <c:v>2.495699999999998</c:v>
                </c:pt>
                <c:pt idx="326">
                  <c:v>2.5087100000000002</c:v>
                </c:pt>
                <c:pt idx="327">
                  <c:v>2.5304199999999981</c:v>
                </c:pt>
                <c:pt idx="328">
                  <c:v>2.5667399999999998</c:v>
                </c:pt>
                <c:pt idx="329">
                  <c:v>2.5949</c:v>
                </c:pt>
                <c:pt idx="330">
                  <c:v>2.6038899999999998</c:v>
                </c:pt>
                <c:pt idx="331">
                  <c:v>2.61016</c:v>
                </c:pt>
                <c:pt idx="332">
                  <c:v>2.6001400000000001</c:v>
                </c:pt>
                <c:pt idx="333">
                  <c:v>2.61137</c:v>
                </c:pt>
                <c:pt idx="334">
                  <c:v>2.62785</c:v>
                </c:pt>
                <c:pt idx="335">
                  <c:v>2.6217199999999998</c:v>
                </c:pt>
                <c:pt idx="336">
                  <c:v>2.6305999999999998</c:v>
                </c:pt>
                <c:pt idx="337">
                  <c:v>2.6349499999999981</c:v>
                </c:pt>
                <c:pt idx="338">
                  <c:v>2.67631</c:v>
                </c:pt>
                <c:pt idx="339">
                  <c:v>2.6903999999999999</c:v>
                </c:pt>
                <c:pt idx="340">
                  <c:v>2.6966499999999973</c:v>
                </c:pt>
                <c:pt idx="341">
                  <c:v>2.6884700000000001</c:v>
                </c:pt>
                <c:pt idx="342">
                  <c:v>2.7039900000000019</c:v>
                </c:pt>
                <c:pt idx="343">
                  <c:v>2.7134399999999999</c:v>
                </c:pt>
                <c:pt idx="344">
                  <c:v>2.73055</c:v>
                </c:pt>
                <c:pt idx="345">
                  <c:v>2.7316499999999979</c:v>
                </c:pt>
                <c:pt idx="346">
                  <c:v>2.7526699999999984</c:v>
                </c:pt>
                <c:pt idx="347">
                  <c:v>2.7559999999999998</c:v>
                </c:pt>
                <c:pt idx="348">
                  <c:v>2.7386599999999981</c:v>
                </c:pt>
                <c:pt idx="349">
                  <c:v>2.7149999999999999</c:v>
                </c:pt>
                <c:pt idx="350">
                  <c:v>2.73075</c:v>
                </c:pt>
                <c:pt idx="351">
                  <c:v>2.7440899999999999</c:v>
                </c:pt>
                <c:pt idx="352">
                  <c:v>2.7443499999999998</c:v>
                </c:pt>
                <c:pt idx="353">
                  <c:v>2.74594</c:v>
                </c:pt>
                <c:pt idx="354">
                  <c:v>2.7580200000000001</c:v>
                </c:pt>
                <c:pt idx="355">
                  <c:v>2.7250000000000001</c:v>
                </c:pt>
                <c:pt idx="356">
                  <c:v>2.7271200000000029</c:v>
                </c:pt>
                <c:pt idx="357">
                  <c:v>2.7343899999999999</c:v>
                </c:pt>
                <c:pt idx="358">
                  <c:v>2.7438500000000001</c:v>
                </c:pt>
                <c:pt idx="359">
                  <c:v>2.7427000000000001</c:v>
                </c:pt>
                <c:pt idx="360">
                  <c:v>2.7440799999999999</c:v>
                </c:pt>
                <c:pt idx="361">
                  <c:v>2.75</c:v>
                </c:pt>
                <c:pt idx="362">
                  <c:v>2.7550399999999997</c:v>
                </c:pt>
                <c:pt idx="363">
                  <c:v>2.7524699999999984</c:v>
                </c:pt>
                <c:pt idx="364">
                  <c:v>2.7537099999999999</c:v>
                </c:pt>
                <c:pt idx="365">
                  <c:v>2.7554399999999997</c:v>
                </c:pt>
                <c:pt idx="366">
                  <c:v>2.7563300000000002</c:v>
                </c:pt>
                <c:pt idx="367">
                  <c:v>2.7578999999999998</c:v>
                </c:pt>
                <c:pt idx="368">
                  <c:v>2.7603300000000019</c:v>
                </c:pt>
                <c:pt idx="369">
                  <c:v>2.7610299999999999</c:v>
                </c:pt>
                <c:pt idx="370">
                  <c:v>2.7635900000000029</c:v>
                </c:pt>
                <c:pt idx="371">
                  <c:v>2.766849999999998</c:v>
                </c:pt>
                <c:pt idx="372">
                  <c:v>2.7681499999999999</c:v>
                </c:pt>
                <c:pt idx="373">
                  <c:v>2.7692100000000002</c:v>
                </c:pt>
                <c:pt idx="374">
                  <c:v>2.7709100000000002</c:v>
                </c:pt>
                <c:pt idx="375">
                  <c:v>2.7736200000000002</c:v>
                </c:pt>
                <c:pt idx="376">
                  <c:v>2.7739799999999999</c:v>
                </c:pt>
                <c:pt idx="377">
                  <c:v>2.7753700000000001</c:v>
                </c:pt>
                <c:pt idx="378">
                  <c:v>2.776069999999998</c:v>
                </c:pt>
                <c:pt idx="379">
                  <c:v>2.7779600000000002</c:v>
                </c:pt>
                <c:pt idx="380">
                  <c:v>2.7799900000000002</c:v>
                </c:pt>
                <c:pt idx="381">
                  <c:v>2.7831800000000029</c:v>
                </c:pt>
                <c:pt idx="382">
                  <c:v>2.7690999999999999</c:v>
                </c:pt>
                <c:pt idx="383">
                  <c:v>2.7841800000000019</c:v>
                </c:pt>
                <c:pt idx="384">
                  <c:v>2.7891200000000018</c:v>
                </c:pt>
                <c:pt idx="385">
                  <c:v>2.7894600000000001</c:v>
                </c:pt>
                <c:pt idx="386">
                  <c:v>2.7905099999999998</c:v>
                </c:pt>
                <c:pt idx="387">
                  <c:v>2.7949999999999999</c:v>
                </c:pt>
                <c:pt idx="388">
                  <c:v>2.7962499999999979</c:v>
                </c:pt>
                <c:pt idx="389">
                  <c:v>2.7978999999999998</c:v>
                </c:pt>
                <c:pt idx="390">
                  <c:v>2.7996300000000001</c:v>
                </c:pt>
                <c:pt idx="391">
                  <c:v>2.803049999999998</c:v>
                </c:pt>
                <c:pt idx="392">
                  <c:v>2.8071899999999999</c:v>
                </c:pt>
                <c:pt idx="393">
                  <c:v>2.8075000000000001</c:v>
                </c:pt>
                <c:pt idx="394">
                  <c:v>2.8083</c:v>
                </c:pt>
                <c:pt idx="395">
                  <c:v>2.810639999999998</c:v>
                </c:pt>
                <c:pt idx="396">
                  <c:v>2.8133999999999997</c:v>
                </c:pt>
                <c:pt idx="397">
                  <c:v>2.8161899999999984</c:v>
                </c:pt>
                <c:pt idx="398">
                  <c:v>2.8220399999999981</c:v>
                </c:pt>
                <c:pt idx="399">
                  <c:v>2.8247</c:v>
                </c:pt>
                <c:pt idx="400">
                  <c:v>2.82857</c:v>
                </c:pt>
                <c:pt idx="401">
                  <c:v>2.8302499999999968</c:v>
                </c:pt>
                <c:pt idx="402">
                  <c:v>2.8331200000000001</c:v>
                </c:pt>
                <c:pt idx="403">
                  <c:v>2.8358699999999963</c:v>
                </c:pt>
                <c:pt idx="404">
                  <c:v>2.836799999999998</c:v>
                </c:pt>
                <c:pt idx="405">
                  <c:v>2.8384899999999984</c:v>
                </c:pt>
                <c:pt idx="406">
                  <c:v>2.8416999999999981</c:v>
                </c:pt>
                <c:pt idx="407">
                  <c:v>2.8439899999999998</c:v>
                </c:pt>
                <c:pt idx="408">
                  <c:v>2.8432599999999981</c:v>
                </c:pt>
                <c:pt idx="409">
                  <c:v>2.8476900000000001</c:v>
                </c:pt>
                <c:pt idx="410">
                  <c:v>2.85012</c:v>
                </c:pt>
                <c:pt idx="411">
                  <c:v>2.8531200000000001</c:v>
                </c:pt>
                <c:pt idx="412">
                  <c:v>2.8601999999999999</c:v>
                </c:pt>
                <c:pt idx="413">
                  <c:v>2.8712899999999979</c:v>
                </c:pt>
                <c:pt idx="414">
                  <c:v>2.8767599999999973</c:v>
                </c:pt>
                <c:pt idx="415">
                  <c:v>2.8809800000000001</c:v>
                </c:pt>
                <c:pt idx="416">
                  <c:v>2.8814199999999981</c:v>
                </c:pt>
                <c:pt idx="417">
                  <c:v>2.8958599999999963</c:v>
                </c:pt>
                <c:pt idx="418">
                  <c:v>2.9021999999999997</c:v>
                </c:pt>
                <c:pt idx="419">
                  <c:v>2.9033799999999998</c:v>
                </c:pt>
                <c:pt idx="420">
                  <c:v>2.8980599999999979</c:v>
                </c:pt>
                <c:pt idx="421">
                  <c:v>2.8933399999999998</c:v>
                </c:pt>
                <c:pt idx="422">
                  <c:v>2.90341</c:v>
                </c:pt>
                <c:pt idx="423">
                  <c:v>2.9041999999999999</c:v>
                </c:pt>
                <c:pt idx="424">
                  <c:v>2.9077099999999998</c:v>
                </c:pt>
                <c:pt idx="425">
                  <c:v>2.9156999999999984</c:v>
                </c:pt>
                <c:pt idx="426">
                  <c:v>2.9055</c:v>
                </c:pt>
                <c:pt idx="427">
                  <c:v>2.910419999999998</c:v>
                </c:pt>
                <c:pt idx="428">
                  <c:v>2.9111599999999984</c:v>
                </c:pt>
                <c:pt idx="429">
                  <c:v>2.9119999999999981</c:v>
                </c:pt>
                <c:pt idx="430">
                  <c:v>2.9081199999999998</c:v>
                </c:pt>
                <c:pt idx="431">
                  <c:v>2.9150399999999981</c:v>
                </c:pt>
                <c:pt idx="432">
                  <c:v>2.9165399999999981</c:v>
                </c:pt>
                <c:pt idx="433">
                  <c:v>2.9215</c:v>
                </c:pt>
                <c:pt idx="434">
                  <c:v>2.92075</c:v>
                </c:pt>
                <c:pt idx="435">
                  <c:v>2.9193199999999981</c:v>
                </c:pt>
                <c:pt idx="436">
                  <c:v>2.9103599999999981</c:v>
                </c:pt>
                <c:pt idx="437">
                  <c:v>2.9061300000000001</c:v>
                </c:pt>
                <c:pt idx="438">
                  <c:v>2.9066599999999974</c:v>
                </c:pt>
                <c:pt idx="439">
                  <c:v>2.9116099999999978</c:v>
                </c:pt>
                <c:pt idx="440">
                  <c:v>2.9111399999999987</c:v>
                </c:pt>
                <c:pt idx="441">
                  <c:v>2.9071600000000002</c:v>
                </c:pt>
                <c:pt idx="442">
                  <c:v>2.9166099999999968</c:v>
                </c:pt>
                <c:pt idx="443">
                  <c:v>2.9133100000000001</c:v>
                </c:pt>
                <c:pt idx="444">
                  <c:v>2.9106299999999981</c:v>
                </c:pt>
                <c:pt idx="445">
                  <c:v>2.907849999999998</c:v>
                </c:pt>
                <c:pt idx="446">
                  <c:v>2.917469999999998</c:v>
                </c:pt>
                <c:pt idx="447">
                  <c:v>2.9226099999999984</c:v>
                </c:pt>
                <c:pt idx="448">
                  <c:v>2.9251900000000002</c:v>
                </c:pt>
                <c:pt idx="449">
                  <c:v>2.9249200000000002</c:v>
                </c:pt>
                <c:pt idx="450">
                  <c:v>2.9227699999999981</c:v>
                </c:pt>
                <c:pt idx="451">
                  <c:v>2.9215300000000002</c:v>
                </c:pt>
                <c:pt idx="452">
                  <c:v>2.9200699999999982</c:v>
                </c:pt>
                <c:pt idx="453">
                  <c:v>2.9205100000000002</c:v>
                </c:pt>
                <c:pt idx="454">
                  <c:v>2.9224999999999981</c:v>
                </c:pt>
                <c:pt idx="455">
                  <c:v>2.9259200000000001</c:v>
                </c:pt>
                <c:pt idx="456">
                  <c:v>2.9209700000000001</c:v>
                </c:pt>
                <c:pt idx="457">
                  <c:v>2.9190199999999984</c:v>
                </c:pt>
                <c:pt idx="458">
                  <c:v>2.9197399999999987</c:v>
                </c:pt>
                <c:pt idx="459">
                  <c:v>2.9065499999999984</c:v>
                </c:pt>
                <c:pt idx="460">
                  <c:v>2.9102399999999982</c:v>
                </c:pt>
                <c:pt idx="461">
                  <c:v>2.9149999999999987</c:v>
                </c:pt>
                <c:pt idx="462">
                  <c:v>2.9100699999999984</c:v>
                </c:pt>
                <c:pt idx="463">
                  <c:v>2.9112499999999963</c:v>
                </c:pt>
                <c:pt idx="464">
                  <c:v>2.9125199999999984</c:v>
                </c:pt>
                <c:pt idx="465">
                  <c:v>2.9102099999999984</c:v>
                </c:pt>
                <c:pt idx="466">
                  <c:v>2.9102699999999979</c:v>
                </c:pt>
                <c:pt idx="467">
                  <c:v>2.9097200000000001</c:v>
                </c:pt>
                <c:pt idx="468">
                  <c:v>2.9116499999999963</c:v>
                </c:pt>
                <c:pt idx="469">
                  <c:v>2.918559999999998</c:v>
                </c:pt>
                <c:pt idx="470">
                  <c:v>2.9192799999999979</c:v>
                </c:pt>
                <c:pt idx="471">
                  <c:v>2.9251100000000001</c:v>
                </c:pt>
                <c:pt idx="472">
                  <c:v>2.9315399999999987</c:v>
                </c:pt>
                <c:pt idx="473">
                  <c:v>2.9304799999999984</c:v>
                </c:pt>
                <c:pt idx="474">
                  <c:v>2.9318999999999984</c:v>
                </c:pt>
                <c:pt idx="475">
                  <c:v>2.9295300000000002</c:v>
                </c:pt>
                <c:pt idx="476">
                  <c:v>2.9221699999999982</c:v>
                </c:pt>
                <c:pt idx="477">
                  <c:v>2.9283199999999998</c:v>
                </c:pt>
                <c:pt idx="478">
                  <c:v>2.9327199999999984</c:v>
                </c:pt>
                <c:pt idx="479">
                  <c:v>2.9348899999999984</c:v>
                </c:pt>
                <c:pt idx="480">
                  <c:v>2.9375499999999981</c:v>
                </c:pt>
                <c:pt idx="481">
                  <c:v>2.9388399999999981</c:v>
                </c:pt>
                <c:pt idx="482">
                  <c:v>2.9374399999999987</c:v>
                </c:pt>
                <c:pt idx="483">
                  <c:v>2.93377</c:v>
                </c:pt>
                <c:pt idx="484">
                  <c:v>2.9329999999999981</c:v>
                </c:pt>
                <c:pt idx="485">
                  <c:v>2.9338299999999982</c:v>
                </c:pt>
                <c:pt idx="486">
                  <c:v>2.9365099999999984</c:v>
                </c:pt>
                <c:pt idx="487">
                  <c:v>2.934149999999998</c:v>
                </c:pt>
                <c:pt idx="488">
                  <c:v>2.9324499999999962</c:v>
                </c:pt>
                <c:pt idx="489">
                  <c:v>2.9374799999999981</c:v>
                </c:pt>
                <c:pt idx="490">
                  <c:v>2.9334799999999981</c:v>
                </c:pt>
                <c:pt idx="491">
                  <c:v>2.9354999999999984</c:v>
                </c:pt>
                <c:pt idx="492">
                  <c:v>2.9391399999999988</c:v>
                </c:pt>
                <c:pt idx="493">
                  <c:v>2.9388099999999984</c:v>
                </c:pt>
                <c:pt idx="494">
                  <c:v>2.93099</c:v>
                </c:pt>
                <c:pt idx="495">
                  <c:v>2.9352499999999968</c:v>
                </c:pt>
                <c:pt idx="496">
                  <c:v>2.93499</c:v>
                </c:pt>
                <c:pt idx="497">
                  <c:v>2.9386999999999981</c:v>
                </c:pt>
                <c:pt idx="498">
                  <c:v>2.9362599999999963</c:v>
                </c:pt>
                <c:pt idx="499">
                  <c:v>2.93791</c:v>
                </c:pt>
                <c:pt idx="500">
                  <c:v>2.9399299999999982</c:v>
                </c:pt>
                <c:pt idx="501">
                  <c:v>2.9402599999999981</c:v>
                </c:pt>
                <c:pt idx="502">
                  <c:v>2.946759999999998</c:v>
                </c:pt>
                <c:pt idx="503">
                  <c:v>2.9477899999999999</c:v>
                </c:pt>
                <c:pt idx="504">
                  <c:v>2.9551799999999981</c:v>
                </c:pt>
                <c:pt idx="505">
                  <c:v>2.9562999999999984</c:v>
                </c:pt>
                <c:pt idx="506">
                  <c:v>2.9573200000000002</c:v>
                </c:pt>
                <c:pt idx="507">
                  <c:v>2.9588799999999984</c:v>
                </c:pt>
                <c:pt idx="508">
                  <c:v>2.9537999999999998</c:v>
                </c:pt>
                <c:pt idx="509">
                  <c:v>2.9502499999999978</c:v>
                </c:pt>
                <c:pt idx="510">
                  <c:v>2.9540299999999982</c:v>
                </c:pt>
                <c:pt idx="511">
                  <c:v>2.95322</c:v>
                </c:pt>
                <c:pt idx="512">
                  <c:v>2.9595399999999987</c:v>
                </c:pt>
                <c:pt idx="513">
                  <c:v>2.9632499999999982</c:v>
                </c:pt>
                <c:pt idx="514">
                  <c:v>2.95831</c:v>
                </c:pt>
                <c:pt idx="515">
                  <c:v>2.9625399999999997</c:v>
                </c:pt>
                <c:pt idx="516">
                  <c:v>2.95831</c:v>
                </c:pt>
                <c:pt idx="517">
                  <c:v>2.96089</c:v>
                </c:pt>
                <c:pt idx="518">
                  <c:v>2.9604200000000001</c:v>
                </c:pt>
                <c:pt idx="519">
                  <c:v>2.958279999999998</c:v>
                </c:pt>
                <c:pt idx="520">
                  <c:v>2.9633600000000002</c:v>
                </c:pt>
                <c:pt idx="521">
                  <c:v>2.9649000000000001</c:v>
                </c:pt>
                <c:pt idx="522">
                  <c:v>2.9672299999999998</c:v>
                </c:pt>
                <c:pt idx="523">
                  <c:v>2.9667699999999981</c:v>
                </c:pt>
                <c:pt idx="524">
                  <c:v>2.9685000000000001</c:v>
                </c:pt>
                <c:pt idx="525">
                  <c:v>2.9712099999999979</c:v>
                </c:pt>
                <c:pt idx="526">
                  <c:v>2.9728799999999973</c:v>
                </c:pt>
                <c:pt idx="527">
                  <c:v>2.97377</c:v>
                </c:pt>
                <c:pt idx="528">
                  <c:v>2.9742899999999981</c:v>
                </c:pt>
                <c:pt idx="529">
                  <c:v>2.9737300000000002</c:v>
                </c:pt>
                <c:pt idx="530">
                  <c:v>2.9726199999999978</c:v>
                </c:pt>
                <c:pt idx="531">
                  <c:v>2.97018</c:v>
                </c:pt>
                <c:pt idx="532">
                  <c:v>2.9712999999999981</c:v>
                </c:pt>
                <c:pt idx="533">
                  <c:v>2.974619999999998</c:v>
                </c:pt>
                <c:pt idx="534">
                  <c:v>2.97716</c:v>
                </c:pt>
                <c:pt idx="535">
                  <c:v>2.9778799999999981</c:v>
                </c:pt>
                <c:pt idx="536">
                  <c:v>2.9798299999999984</c:v>
                </c:pt>
                <c:pt idx="537">
                  <c:v>2.9788299999999981</c:v>
                </c:pt>
                <c:pt idx="538">
                  <c:v>2.9752899999999984</c:v>
                </c:pt>
                <c:pt idx="539">
                  <c:v>2.9771299999999998</c:v>
                </c:pt>
                <c:pt idx="540">
                  <c:v>2.9767599999999979</c:v>
                </c:pt>
                <c:pt idx="541">
                  <c:v>2.9779599999999982</c:v>
                </c:pt>
                <c:pt idx="542">
                  <c:v>2.9786299999999981</c:v>
                </c:pt>
                <c:pt idx="543">
                  <c:v>2.9795799999999981</c:v>
                </c:pt>
                <c:pt idx="544">
                  <c:v>2.98129</c:v>
                </c:pt>
                <c:pt idx="545">
                  <c:v>2.9786699999999984</c:v>
                </c:pt>
                <c:pt idx="546">
                  <c:v>2.9777</c:v>
                </c:pt>
                <c:pt idx="547">
                  <c:v>2.9787599999999981</c:v>
                </c:pt>
                <c:pt idx="548">
                  <c:v>2.9805600000000001</c:v>
                </c:pt>
                <c:pt idx="549">
                  <c:v>2.9812699999999981</c:v>
                </c:pt>
                <c:pt idx="550">
                  <c:v>2.98231</c:v>
                </c:pt>
                <c:pt idx="551">
                  <c:v>2.98306</c:v>
                </c:pt>
                <c:pt idx="552">
                  <c:v>2.9838100000000001</c:v>
                </c:pt>
                <c:pt idx="553">
                  <c:v>2.9842200000000001</c:v>
                </c:pt>
                <c:pt idx="554">
                  <c:v>2.9846699999999982</c:v>
                </c:pt>
                <c:pt idx="555">
                  <c:v>2.9834499999999982</c:v>
                </c:pt>
                <c:pt idx="556">
                  <c:v>2.9828699999999979</c:v>
                </c:pt>
                <c:pt idx="557">
                  <c:v>2.98061</c:v>
                </c:pt>
                <c:pt idx="558">
                  <c:v>2.9800800000000001</c:v>
                </c:pt>
                <c:pt idx="559">
                  <c:v>2.978889999999998</c:v>
                </c:pt>
                <c:pt idx="560">
                  <c:v>2.9784999999999981</c:v>
                </c:pt>
                <c:pt idx="561">
                  <c:v>2.9791699999999981</c:v>
                </c:pt>
                <c:pt idx="562">
                  <c:v>2.9797599999999984</c:v>
                </c:pt>
                <c:pt idx="563">
                  <c:v>2.9783200000000001</c:v>
                </c:pt>
                <c:pt idx="564">
                  <c:v>2.9789999999999988</c:v>
                </c:pt>
                <c:pt idx="565">
                  <c:v>2.9845899999999999</c:v>
                </c:pt>
                <c:pt idx="566">
                  <c:v>2.9883299999999999</c:v>
                </c:pt>
                <c:pt idx="567">
                  <c:v>2.9903200000000001</c:v>
                </c:pt>
                <c:pt idx="568">
                  <c:v>2.9919999999999987</c:v>
                </c:pt>
                <c:pt idx="569">
                  <c:v>2.9938199999999981</c:v>
                </c:pt>
                <c:pt idx="570">
                  <c:v>2.9929799999999984</c:v>
                </c:pt>
                <c:pt idx="571">
                  <c:v>2.9915799999999981</c:v>
                </c:pt>
                <c:pt idx="572">
                  <c:v>2.9926499999999963</c:v>
                </c:pt>
                <c:pt idx="573">
                  <c:v>2.9937800000000001</c:v>
                </c:pt>
                <c:pt idx="574">
                  <c:v>2.99491</c:v>
                </c:pt>
                <c:pt idx="575">
                  <c:v>2.9956099999999979</c:v>
                </c:pt>
                <c:pt idx="576">
                  <c:v>2.9969499999999973</c:v>
                </c:pt>
                <c:pt idx="577">
                  <c:v>2.9964899999999979</c:v>
                </c:pt>
                <c:pt idx="578">
                  <c:v>2.9963199999999981</c:v>
                </c:pt>
                <c:pt idx="579">
                  <c:v>2.9977200000000002</c:v>
                </c:pt>
                <c:pt idx="580">
                  <c:v>2.9936699999999981</c:v>
                </c:pt>
                <c:pt idx="581">
                  <c:v>2.9941599999999982</c:v>
                </c:pt>
                <c:pt idx="582">
                  <c:v>2.9927999999999981</c:v>
                </c:pt>
                <c:pt idx="583">
                  <c:v>2.9932799999999982</c:v>
                </c:pt>
                <c:pt idx="584">
                  <c:v>2.9940899999999981</c:v>
                </c:pt>
                <c:pt idx="585">
                  <c:v>3.0012300000000001</c:v>
                </c:pt>
                <c:pt idx="586">
                  <c:v>3.0017399999999999</c:v>
                </c:pt>
                <c:pt idx="587">
                  <c:v>3.0001899999999999</c:v>
                </c:pt>
                <c:pt idx="588">
                  <c:v>3.0007899999999998</c:v>
                </c:pt>
                <c:pt idx="589">
                  <c:v>3.0009800000000002</c:v>
                </c:pt>
                <c:pt idx="590">
                  <c:v>3.00251</c:v>
                </c:pt>
                <c:pt idx="591">
                  <c:v>3.0103200000000001</c:v>
                </c:pt>
                <c:pt idx="592">
                  <c:v>3.0117499999999984</c:v>
                </c:pt>
                <c:pt idx="593">
                  <c:v>3.0135000000000001</c:v>
                </c:pt>
                <c:pt idx="594">
                  <c:v>3.0208900000000001</c:v>
                </c:pt>
                <c:pt idx="595">
                  <c:v>3.0224599999999984</c:v>
                </c:pt>
                <c:pt idx="596">
                  <c:v>3.0246599999999981</c:v>
                </c:pt>
                <c:pt idx="597">
                  <c:v>3.0263300000000002</c:v>
                </c:pt>
                <c:pt idx="598">
                  <c:v>3.02847</c:v>
                </c:pt>
                <c:pt idx="599">
                  <c:v>3.0301</c:v>
                </c:pt>
                <c:pt idx="600">
                  <c:v>3.0320799999999979</c:v>
                </c:pt>
                <c:pt idx="601">
                  <c:v>3.03857</c:v>
                </c:pt>
                <c:pt idx="602">
                  <c:v>3.0355699999999981</c:v>
                </c:pt>
                <c:pt idx="603">
                  <c:v>3.03769</c:v>
                </c:pt>
                <c:pt idx="604">
                  <c:v>3.0438200000000002</c:v>
                </c:pt>
                <c:pt idx="605">
                  <c:v>3.0406499999999981</c:v>
                </c:pt>
                <c:pt idx="606">
                  <c:v>3.042469999999998</c:v>
                </c:pt>
                <c:pt idx="607">
                  <c:v>3.0485799999999998</c:v>
                </c:pt>
                <c:pt idx="608">
                  <c:v>3.0546799999999981</c:v>
                </c:pt>
                <c:pt idx="609">
                  <c:v>3.0562799999999979</c:v>
                </c:pt>
                <c:pt idx="610">
                  <c:v>3.06081</c:v>
                </c:pt>
                <c:pt idx="611">
                  <c:v>3.0591599999999981</c:v>
                </c:pt>
                <c:pt idx="612">
                  <c:v>3.06698</c:v>
                </c:pt>
                <c:pt idx="613">
                  <c:v>3.0716399999999981</c:v>
                </c:pt>
                <c:pt idx="614">
                  <c:v>3.0721999999999987</c:v>
                </c:pt>
                <c:pt idx="615">
                  <c:v>3.0783299999999998</c:v>
                </c:pt>
                <c:pt idx="616">
                  <c:v>3.0798599999999978</c:v>
                </c:pt>
                <c:pt idx="617">
                  <c:v>3.0829</c:v>
                </c:pt>
                <c:pt idx="618">
                  <c:v>3.0875400000000002</c:v>
                </c:pt>
                <c:pt idx="619">
                  <c:v>3.0927399999999987</c:v>
                </c:pt>
                <c:pt idx="620">
                  <c:v>3.0950899999999981</c:v>
                </c:pt>
                <c:pt idx="621">
                  <c:v>3.0997599999999981</c:v>
                </c:pt>
                <c:pt idx="622">
                  <c:v>3.1029100000000001</c:v>
                </c:pt>
                <c:pt idx="623">
                  <c:v>3.1121499999999984</c:v>
                </c:pt>
                <c:pt idx="624">
                  <c:v>3.1215199999999999</c:v>
                </c:pt>
                <c:pt idx="625">
                  <c:v>3.1245500000000002</c:v>
                </c:pt>
                <c:pt idx="626">
                  <c:v>3.13096</c:v>
                </c:pt>
                <c:pt idx="627">
                  <c:v>3.1377799999999998</c:v>
                </c:pt>
                <c:pt idx="628">
                  <c:v>3.1383000000000001</c:v>
                </c:pt>
                <c:pt idx="629">
                  <c:v>3.1389</c:v>
                </c:pt>
                <c:pt idx="630">
                  <c:v>3.139479999999998</c:v>
                </c:pt>
                <c:pt idx="631">
                  <c:v>3.1406499999999982</c:v>
                </c:pt>
                <c:pt idx="632">
                  <c:v>3.1414900000000001</c:v>
                </c:pt>
                <c:pt idx="633">
                  <c:v>3.1402000000000001</c:v>
                </c:pt>
                <c:pt idx="634">
                  <c:v>3.1410999999999998</c:v>
                </c:pt>
                <c:pt idx="635">
                  <c:v>3.1389</c:v>
                </c:pt>
                <c:pt idx="636">
                  <c:v>3.137</c:v>
                </c:pt>
                <c:pt idx="637">
                  <c:v>3.13483</c:v>
                </c:pt>
                <c:pt idx="638">
                  <c:v>3.1320999999999981</c:v>
                </c:pt>
                <c:pt idx="639">
                  <c:v>3.1381999999999999</c:v>
                </c:pt>
                <c:pt idx="640">
                  <c:v>3.1402199999999998</c:v>
                </c:pt>
                <c:pt idx="641">
                  <c:v>3.1385000000000001</c:v>
                </c:pt>
                <c:pt idx="642">
                  <c:v>3.1369599999999984</c:v>
                </c:pt>
                <c:pt idx="643">
                  <c:v>3.1378300000000001</c:v>
                </c:pt>
                <c:pt idx="644">
                  <c:v>3.1411099999999998</c:v>
                </c:pt>
                <c:pt idx="645">
                  <c:v>3.1405699999999999</c:v>
                </c:pt>
                <c:pt idx="646">
                  <c:v>3.1414200000000001</c:v>
                </c:pt>
                <c:pt idx="647">
                  <c:v>3.1404000000000001</c:v>
                </c:pt>
                <c:pt idx="648">
                  <c:v>3.1422399999999997</c:v>
                </c:pt>
                <c:pt idx="649">
                  <c:v>3.1473100000000018</c:v>
                </c:pt>
                <c:pt idx="650">
                  <c:v>3.1488999999999998</c:v>
                </c:pt>
                <c:pt idx="651">
                  <c:v>3.1482899999999998</c:v>
                </c:pt>
                <c:pt idx="652">
                  <c:v>3.1476999999999999</c:v>
                </c:pt>
                <c:pt idx="653">
                  <c:v>3.1497999999999999</c:v>
                </c:pt>
                <c:pt idx="654">
                  <c:v>3.1514499999999979</c:v>
                </c:pt>
                <c:pt idx="655">
                  <c:v>3.1652399999999998</c:v>
                </c:pt>
                <c:pt idx="656">
                  <c:v>3.1644000000000001</c:v>
                </c:pt>
                <c:pt idx="657">
                  <c:v>3.1591999999999998</c:v>
                </c:pt>
                <c:pt idx="658">
                  <c:v>3.1553</c:v>
                </c:pt>
                <c:pt idx="659">
                  <c:v>3.1521999999999997</c:v>
                </c:pt>
                <c:pt idx="660">
                  <c:v>3.1533000000000002</c:v>
                </c:pt>
                <c:pt idx="661">
                  <c:v>3.1583999999999999</c:v>
                </c:pt>
                <c:pt idx="662">
                  <c:v>3.1665999999999999</c:v>
                </c:pt>
                <c:pt idx="663">
                  <c:v>3.1840999999999999</c:v>
                </c:pt>
                <c:pt idx="664">
                  <c:v>3.1873600000000017</c:v>
                </c:pt>
                <c:pt idx="665">
                  <c:v>3.194</c:v>
                </c:pt>
                <c:pt idx="666">
                  <c:v>3.2099899999999999</c:v>
                </c:pt>
                <c:pt idx="667">
                  <c:v>3.2063999999999999</c:v>
                </c:pt>
                <c:pt idx="668">
                  <c:v>3.2080000000000002</c:v>
                </c:pt>
                <c:pt idx="669">
                  <c:v>3.2056</c:v>
                </c:pt>
                <c:pt idx="670">
                  <c:v>3.2061000000000002</c:v>
                </c:pt>
                <c:pt idx="671">
                  <c:v>3.2000999999999999</c:v>
                </c:pt>
                <c:pt idx="672">
                  <c:v>3.2087300000000019</c:v>
                </c:pt>
                <c:pt idx="673">
                  <c:v>3.2193000000000001</c:v>
                </c:pt>
                <c:pt idx="674">
                  <c:v>3.2138800000000001</c:v>
                </c:pt>
                <c:pt idx="675">
                  <c:v>3.2250000000000001</c:v>
                </c:pt>
                <c:pt idx="676">
                  <c:v>3.2282999999999999</c:v>
                </c:pt>
                <c:pt idx="677">
                  <c:v>3.23386</c:v>
                </c:pt>
                <c:pt idx="678">
                  <c:v>3.2313000000000001</c:v>
                </c:pt>
                <c:pt idx="679">
                  <c:v>3.2381500000000001</c:v>
                </c:pt>
                <c:pt idx="680">
                  <c:v>3.2415099999999999</c:v>
                </c:pt>
                <c:pt idx="681">
                  <c:v>3.2412999999999998</c:v>
                </c:pt>
                <c:pt idx="682">
                  <c:v>3.2556799999999981</c:v>
                </c:pt>
                <c:pt idx="683">
                  <c:v>3.2607699999999999</c:v>
                </c:pt>
                <c:pt idx="684">
                  <c:v>3.2621000000000002</c:v>
                </c:pt>
                <c:pt idx="685">
                  <c:v>3.2696800000000001</c:v>
                </c:pt>
                <c:pt idx="686">
                  <c:v>3.2654000000000001</c:v>
                </c:pt>
                <c:pt idx="687">
                  <c:v>3.2624</c:v>
                </c:pt>
                <c:pt idx="688">
                  <c:v>3.2478300000000018</c:v>
                </c:pt>
                <c:pt idx="689">
                  <c:v>3.2486999999999999</c:v>
                </c:pt>
                <c:pt idx="690">
                  <c:v>3.2455300000000018</c:v>
                </c:pt>
                <c:pt idx="691">
                  <c:v>3.2434900000000018</c:v>
                </c:pt>
                <c:pt idx="692">
                  <c:v>3.2465000000000002</c:v>
                </c:pt>
                <c:pt idx="693">
                  <c:v>3.2486999999999999</c:v>
                </c:pt>
                <c:pt idx="694">
                  <c:v>3.2458999999999998</c:v>
                </c:pt>
                <c:pt idx="695">
                  <c:v>3.2477000000000018</c:v>
                </c:pt>
                <c:pt idx="696">
                  <c:v>3.2573900000000018</c:v>
                </c:pt>
                <c:pt idx="697">
                  <c:v>3.2631000000000019</c:v>
                </c:pt>
                <c:pt idx="698">
                  <c:v>3.2971699999999999</c:v>
                </c:pt>
                <c:pt idx="699">
                  <c:v>3.2673300000000021</c:v>
                </c:pt>
                <c:pt idx="700">
                  <c:v>3.2650000000000001</c:v>
                </c:pt>
                <c:pt idx="701">
                  <c:v>3.25989</c:v>
                </c:pt>
                <c:pt idx="702">
                  <c:v>3.2587000000000002</c:v>
                </c:pt>
                <c:pt idx="703">
                  <c:v>3.2601499999999999</c:v>
                </c:pt>
                <c:pt idx="704">
                  <c:v>3.2604199999999999</c:v>
                </c:pt>
                <c:pt idx="705">
                  <c:v>3.2549999999999999</c:v>
                </c:pt>
                <c:pt idx="706">
                  <c:v>3.2558099999999981</c:v>
                </c:pt>
                <c:pt idx="707">
                  <c:v>3.2583000000000002</c:v>
                </c:pt>
                <c:pt idx="708">
                  <c:v>3.2650299999999999</c:v>
                </c:pt>
                <c:pt idx="709">
                  <c:v>3.2639000000000018</c:v>
                </c:pt>
                <c:pt idx="710">
                  <c:v>3.2629700000000001</c:v>
                </c:pt>
                <c:pt idx="711">
                  <c:v>3.2808000000000002</c:v>
                </c:pt>
                <c:pt idx="712">
                  <c:v>3.2890000000000001</c:v>
                </c:pt>
                <c:pt idx="713">
                  <c:v>3.2893699999999999</c:v>
                </c:pt>
                <c:pt idx="714">
                  <c:v>3.2955100000000002</c:v>
                </c:pt>
                <c:pt idx="715">
                  <c:v>3.3044899999999982</c:v>
                </c:pt>
                <c:pt idx="716">
                  <c:v>3.3031100000000002</c:v>
                </c:pt>
                <c:pt idx="717">
                  <c:v>3.2995999999999999</c:v>
                </c:pt>
                <c:pt idx="718">
                  <c:v>3.2927</c:v>
                </c:pt>
                <c:pt idx="719">
                  <c:v>3.2861799999999999</c:v>
                </c:pt>
                <c:pt idx="720">
                  <c:v>3.2957999999999998</c:v>
                </c:pt>
                <c:pt idx="721">
                  <c:v>3.2955999999999999</c:v>
                </c:pt>
                <c:pt idx="722">
                  <c:v>3.3111199999999981</c:v>
                </c:pt>
                <c:pt idx="723">
                  <c:v>3.3180999999999981</c:v>
                </c:pt>
                <c:pt idx="724">
                  <c:v>3.3172999999999981</c:v>
                </c:pt>
                <c:pt idx="725">
                  <c:v>3.3227999999999982</c:v>
                </c:pt>
                <c:pt idx="726">
                  <c:v>3.318299999999998</c:v>
                </c:pt>
                <c:pt idx="727">
                  <c:v>3.3247</c:v>
                </c:pt>
                <c:pt idx="728">
                  <c:v>3.3239000000000001</c:v>
                </c:pt>
                <c:pt idx="729">
                  <c:v>3.3189599999999979</c:v>
                </c:pt>
                <c:pt idx="730">
                  <c:v>3.3349999999999982</c:v>
                </c:pt>
                <c:pt idx="731">
                  <c:v>3.3394999999999979</c:v>
                </c:pt>
                <c:pt idx="732">
                  <c:v>3.3418999999999981</c:v>
                </c:pt>
                <c:pt idx="733">
                  <c:v>3.3527499999999963</c:v>
                </c:pt>
                <c:pt idx="734">
                  <c:v>3.350699999999998</c:v>
                </c:pt>
                <c:pt idx="735">
                  <c:v>3.3607</c:v>
                </c:pt>
                <c:pt idx="736">
                  <c:v>3.3633999999999999</c:v>
                </c:pt>
                <c:pt idx="737">
                  <c:v>3.3695999999999997</c:v>
                </c:pt>
                <c:pt idx="738">
                  <c:v>3.3697999999999997</c:v>
                </c:pt>
                <c:pt idx="739">
                  <c:v>3.3687900000000002</c:v>
                </c:pt>
                <c:pt idx="740">
                  <c:v>3.3734999999999982</c:v>
                </c:pt>
                <c:pt idx="741">
                  <c:v>3.3630599999999982</c:v>
                </c:pt>
                <c:pt idx="742">
                  <c:v>3.374899999999998</c:v>
                </c:pt>
                <c:pt idx="743">
                  <c:v>3.3839800000000002</c:v>
                </c:pt>
                <c:pt idx="744">
                  <c:v>3.3951999999999987</c:v>
                </c:pt>
                <c:pt idx="745">
                  <c:v>3.4037099999999998</c:v>
                </c:pt>
                <c:pt idx="746">
                  <c:v>3.4099699999999982</c:v>
                </c:pt>
                <c:pt idx="747">
                  <c:v>3.4093</c:v>
                </c:pt>
                <c:pt idx="748">
                  <c:v>3.4024499999999973</c:v>
                </c:pt>
                <c:pt idx="749">
                  <c:v>3.41133</c:v>
                </c:pt>
                <c:pt idx="750">
                  <c:v>3.4164599999999963</c:v>
                </c:pt>
                <c:pt idx="751">
                  <c:v>3.4268399999999981</c:v>
                </c:pt>
                <c:pt idx="752">
                  <c:v>3.4271600000000002</c:v>
                </c:pt>
                <c:pt idx="753">
                  <c:v>3.4203999999999999</c:v>
                </c:pt>
                <c:pt idx="754">
                  <c:v>3.4438200000000001</c:v>
                </c:pt>
                <c:pt idx="755">
                  <c:v>3.4365799999999984</c:v>
                </c:pt>
                <c:pt idx="756">
                  <c:v>3.4426499999999973</c:v>
                </c:pt>
                <c:pt idx="757">
                  <c:v>3.4360199999999979</c:v>
                </c:pt>
                <c:pt idx="758">
                  <c:v>3.44</c:v>
                </c:pt>
                <c:pt idx="759">
                  <c:v>3.445809999999998</c:v>
                </c:pt>
                <c:pt idx="760">
                  <c:v>3.4401000000000002</c:v>
                </c:pt>
                <c:pt idx="761">
                  <c:v>3.4406599999999981</c:v>
                </c:pt>
                <c:pt idx="762">
                  <c:v>3.4415</c:v>
                </c:pt>
                <c:pt idx="763">
                  <c:v>3.4417</c:v>
                </c:pt>
                <c:pt idx="764">
                  <c:v>3.4489899999999998</c:v>
                </c:pt>
                <c:pt idx="765">
                  <c:v>3.4497</c:v>
                </c:pt>
                <c:pt idx="766">
                  <c:v>3.450009999999998</c:v>
                </c:pt>
                <c:pt idx="767">
                  <c:v>3.45099</c:v>
                </c:pt>
                <c:pt idx="768">
                  <c:v>3.4517599999999984</c:v>
                </c:pt>
                <c:pt idx="769">
                  <c:v>3.4506599999999978</c:v>
                </c:pt>
                <c:pt idx="770">
                  <c:v>3.4559599999999984</c:v>
                </c:pt>
                <c:pt idx="771">
                  <c:v>3.4613399999999999</c:v>
                </c:pt>
                <c:pt idx="772">
                  <c:v>3.4632200000000002</c:v>
                </c:pt>
                <c:pt idx="773">
                  <c:v>3.4710499999999973</c:v>
                </c:pt>
                <c:pt idx="774">
                  <c:v>3.4674999999999998</c:v>
                </c:pt>
                <c:pt idx="775">
                  <c:v>3.4672200000000002</c:v>
                </c:pt>
                <c:pt idx="776">
                  <c:v>3.4666299999999981</c:v>
                </c:pt>
                <c:pt idx="777">
                  <c:v>3.4647700000000001</c:v>
                </c:pt>
                <c:pt idx="778">
                  <c:v>3.4655</c:v>
                </c:pt>
                <c:pt idx="779">
                  <c:v>3.4664999999999981</c:v>
                </c:pt>
                <c:pt idx="780">
                  <c:v>3.4630200000000002</c:v>
                </c:pt>
                <c:pt idx="781">
                  <c:v>3.4613399999999999</c:v>
                </c:pt>
                <c:pt idx="782">
                  <c:v>3.46461</c:v>
                </c:pt>
                <c:pt idx="783">
                  <c:v>3.4579</c:v>
                </c:pt>
                <c:pt idx="784">
                  <c:v>3.45878</c:v>
                </c:pt>
                <c:pt idx="785">
                  <c:v>3.4636</c:v>
                </c:pt>
                <c:pt idx="786">
                  <c:v>3.46516</c:v>
                </c:pt>
                <c:pt idx="787">
                  <c:v>3.4679300000000017</c:v>
                </c:pt>
                <c:pt idx="788">
                  <c:v>3.4690399999999997</c:v>
                </c:pt>
                <c:pt idx="789">
                  <c:v>3.4681299999999999</c:v>
                </c:pt>
                <c:pt idx="790">
                  <c:v>3.4688499999999984</c:v>
                </c:pt>
                <c:pt idx="791">
                  <c:v>3.4695</c:v>
                </c:pt>
                <c:pt idx="792">
                  <c:v>3.46258</c:v>
                </c:pt>
                <c:pt idx="793">
                  <c:v>3.4557399999999987</c:v>
                </c:pt>
                <c:pt idx="794">
                  <c:v>3.4634900000000002</c:v>
                </c:pt>
                <c:pt idx="795">
                  <c:v>3.4582899999999981</c:v>
                </c:pt>
                <c:pt idx="796">
                  <c:v>3.4579999999999997</c:v>
                </c:pt>
                <c:pt idx="797">
                  <c:v>3.45702</c:v>
                </c:pt>
                <c:pt idx="798">
                  <c:v>3.4575</c:v>
                </c:pt>
                <c:pt idx="799">
                  <c:v>3.4529999999999981</c:v>
                </c:pt>
                <c:pt idx="800">
                  <c:v>3.4559999999999982</c:v>
                </c:pt>
                <c:pt idx="801">
                  <c:v>3.4571299999999998</c:v>
                </c:pt>
                <c:pt idx="802">
                  <c:v>3.456789999999998</c:v>
                </c:pt>
                <c:pt idx="803">
                  <c:v>3.4585900000000001</c:v>
                </c:pt>
                <c:pt idx="804">
                  <c:v>3.4593699999999981</c:v>
                </c:pt>
                <c:pt idx="805">
                  <c:v>3.4597599999999984</c:v>
                </c:pt>
                <c:pt idx="806">
                  <c:v>3.4606599999999981</c:v>
                </c:pt>
                <c:pt idx="807">
                  <c:v>3.464649999999998</c:v>
                </c:pt>
                <c:pt idx="808">
                  <c:v>3.4596999999999984</c:v>
                </c:pt>
                <c:pt idx="809">
                  <c:v>3.454959999999998</c:v>
                </c:pt>
                <c:pt idx="810">
                  <c:v>3.454689999999998</c:v>
                </c:pt>
                <c:pt idx="811">
                  <c:v>3.4512899999999984</c:v>
                </c:pt>
                <c:pt idx="812">
                  <c:v>3.44428</c:v>
                </c:pt>
                <c:pt idx="813">
                  <c:v>3.4408300000000001</c:v>
                </c:pt>
                <c:pt idx="814">
                  <c:v>3.4356299999999984</c:v>
                </c:pt>
                <c:pt idx="815">
                  <c:v>3.43432</c:v>
                </c:pt>
                <c:pt idx="816">
                  <c:v>3.43859</c:v>
                </c:pt>
                <c:pt idx="817">
                  <c:v>3.43832</c:v>
                </c:pt>
                <c:pt idx="818">
                  <c:v>3.439839999999998</c:v>
                </c:pt>
                <c:pt idx="819">
                  <c:v>3.4376199999999981</c:v>
                </c:pt>
                <c:pt idx="820">
                  <c:v>3.4406099999999982</c:v>
                </c:pt>
                <c:pt idx="821">
                  <c:v>3.4392099999999979</c:v>
                </c:pt>
                <c:pt idx="822">
                  <c:v>3.4387999999999987</c:v>
                </c:pt>
                <c:pt idx="823">
                  <c:v>3.4355999999999987</c:v>
                </c:pt>
                <c:pt idx="824">
                  <c:v>3.4286499999999984</c:v>
                </c:pt>
                <c:pt idx="825">
                  <c:v>3.4240900000000001</c:v>
                </c:pt>
                <c:pt idx="826">
                  <c:v>3.41378</c:v>
                </c:pt>
                <c:pt idx="827">
                  <c:v>3.4002699999999981</c:v>
                </c:pt>
                <c:pt idx="828">
                  <c:v>3.3865099999999981</c:v>
                </c:pt>
                <c:pt idx="829">
                  <c:v>3.3633500000000001</c:v>
                </c:pt>
                <c:pt idx="830">
                  <c:v>3.366499999999998</c:v>
                </c:pt>
                <c:pt idx="831">
                  <c:v>3.3628799999999979</c:v>
                </c:pt>
                <c:pt idx="832">
                  <c:v>3.3601800000000002</c:v>
                </c:pt>
                <c:pt idx="833">
                  <c:v>3.3488599999999984</c:v>
                </c:pt>
                <c:pt idx="834">
                  <c:v>3.3519999999999981</c:v>
                </c:pt>
                <c:pt idx="835">
                  <c:v>3.354699999999998</c:v>
                </c:pt>
                <c:pt idx="836">
                  <c:v>3.3541499999999984</c:v>
                </c:pt>
                <c:pt idx="837">
                  <c:v>3.36</c:v>
                </c:pt>
                <c:pt idx="838">
                  <c:v>3.3489399999999998</c:v>
                </c:pt>
                <c:pt idx="839">
                  <c:v>3.3495399999999997</c:v>
                </c:pt>
                <c:pt idx="840">
                  <c:v>3.3440300000000001</c:v>
                </c:pt>
                <c:pt idx="841">
                  <c:v>3.3459999999999988</c:v>
                </c:pt>
                <c:pt idx="842">
                  <c:v>3.3479399999999999</c:v>
                </c:pt>
                <c:pt idx="843">
                  <c:v>3.3449999999999998</c:v>
                </c:pt>
                <c:pt idx="844">
                  <c:v>3.3416899999999981</c:v>
                </c:pt>
                <c:pt idx="845">
                  <c:v>3.3439199999999998</c:v>
                </c:pt>
                <c:pt idx="846">
                  <c:v>3.3394099999999973</c:v>
                </c:pt>
                <c:pt idx="847">
                  <c:v>3.3365499999999964</c:v>
                </c:pt>
                <c:pt idx="848">
                  <c:v>3.3390899999999979</c:v>
                </c:pt>
                <c:pt idx="849">
                  <c:v>3.3371200000000001</c:v>
                </c:pt>
                <c:pt idx="850">
                  <c:v>3.3388799999999978</c:v>
                </c:pt>
                <c:pt idx="851">
                  <c:v>3.34</c:v>
                </c:pt>
                <c:pt idx="852">
                  <c:v>3.3435999999999999</c:v>
                </c:pt>
                <c:pt idx="853">
                  <c:v>3.3352499999999963</c:v>
                </c:pt>
                <c:pt idx="854">
                  <c:v>3.336329999999998</c:v>
                </c:pt>
                <c:pt idx="855">
                  <c:v>3.3319099999999984</c:v>
                </c:pt>
                <c:pt idx="856">
                  <c:v>3.3281000000000001</c:v>
                </c:pt>
                <c:pt idx="857">
                  <c:v>3.3294499999999974</c:v>
                </c:pt>
                <c:pt idx="858">
                  <c:v>3.3392199999999979</c:v>
                </c:pt>
                <c:pt idx="859">
                  <c:v>3.3391299999999982</c:v>
                </c:pt>
                <c:pt idx="860">
                  <c:v>3.34</c:v>
                </c:pt>
                <c:pt idx="861">
                  <c:v>3.34409</c:v>
                </c:pt>
                <c:pt idx="862">
                  <c:v>3.3439100000000002</c:v>
                </c:pt>
                <c:pt idx="863">
                  <c:v>3.3401900000000002</c:v>
                </c:pt>
                <c:pt idx="864">
                  <c:v>3.3360899999999973</c:v>
                </c:pt>
                <c:pt idx="865">
                  <c:v>3.3302499999999968</c:v>
                </c:pt>
                <c:pt idx="866">
                  <c:v>3.3085399999999998</c:v>
                </c:pt>
                <c:pt idx="867">
                  <c:v>3.3090599999999979</c:v>
                </c:pt>
                <c:pt idx="868">
                  <c:v>3.3034399999999997</c:v>
                </c:pt>
                <c:pt idx="869">
                  <c:v>3.2976399999999999</c:v>
                </c:pt>
                <c:pt idx="870">
                  <c:v>3.2763</c:v>
                </c:pt>
                <c:pt idx="871">
                  <c:v>3.27196</c:v>
                </c:pt>
                <c:pt idx="872">
                  <c:v>3.27094</c:v>
                </c:pt>
                <c:pt idx="873">
                  <c:v>3.2730100000000002</c:v>
                </c:pt>
                <c:pt idx="874">
                  <c:v>3.270849999999998</c:v>
                </c:pt>
                <c:pt idx="875">
                  <c:v>3.2634699999999999</c:v>
                </c:pt>
                <c:pt idx="876">
                  <c:v>3.2570600000000001</c:v>
                </c:pt>
                <c:pt idx="877">
                  <c:v>3.2552300000000001</c:v>
                </c:pt>
                <c:pt idx="878">
                  <c:v>3.2501699999999998</c:v>
                </c:pt>
                <c:pt idx="879">
                  <c:v>3.2432900000000018</c:v>
                </c:pt>
                <c:pt idx="880">
                  <c:v>3.2420399999999998</c:v>
                </c:pt>
                <c:pt idx="881">
                  <c:v>3.2396099999999981</c:v>
                </c:pt>
                <c:pt idx="882">
                  <c:v>3.2378900000000002</c:v>
                </c:pt>
                <c:pt idx="883">
                  <c:v>3.2404000000000002</c:v>
                </c:pt>
                <c:pt idx="884">
                  <c:v>3.2372800000000002</c:v>
                </c:pt>
                <c:pt idx="885">
                  <c:v>3.2304300000000001</c:v>
                </c:pt>
                <c:pt idx="886">
                  <c:v>3.2287900000000018</c:v>
                </c:pt>
                <c:pt idx="887">
                  <c:v>3.2263999999999999</c:v>
                </c:pt>
                <c:pt idx="888">
                  <c:v>3.22201</c:v>
                </c:pt>
                <c:pt idx="889">
                  <c:v>3.2196199999999982</c:v>
                </c:pt>
                <c:pt idx="890">
                  <c:v>3.2137799999999999</c:v>
                </c:pt>
                <c:pt idx="891">
                  <c:v>3.20574</c:v>
                </c:pt>
                <c:pt idx="892">
                  <c:v>3.2059199999999999</c:v>
                </c:pt>
                <c:pt idx="893">
                  <c:v>3.20364</c:v>
                </c:pt>
                <c:pt idx="894">
                  <c:v>3.2094100000000001</c:v>
                </c:pt>
                <c:pt idx="895">
                  <c:v>3.2086199999999998</c:v>
                </c:pt>
                <c:pt idx="896">
                  <c:v>3.1966099999999984</c:v>
                </c:pt>
                <c:pt idx="897">
                  <c:v>3.19916</c:v>
                </c:pt>
                <c:pt idx="898">
                  <c:v>3.2056900000000002</c:v>
                </c:pt>
                <c:pt idx="899">
                  <c:v>3.20675</c:v>
                </c:pt>
                <c:pt idx="900">
                  <c:v>3.20187</c:v>
                </c:pt>
                <c:pt idx="901">
                  <c:v>3.2018300000000002</c:v>
                </c:pt>
                <c:pt idx="902">
                  <c:v>3.19869</c:v>
                </c:pt>
                <c:pt idx="903">
                  <c:v>3.1946499999999984</c:v>
                </c:pt>
                <c:pt idx="904">
                  <c:v>3.1907999999999999</c:v>
                </c:pt>
                <c:pt idx="905">
                  <c:v>3.1796899999999981</c:v>
                </c:pt>
                <c:pt idx="906">
                  <c:v>3.1842999999999999</c:v>
                </c:pt>
                <c:pt idx="907">
                  <c:v>3.1801100000000018</c:v>
                </c:pt>
                <c:pt idx="908">
                  <c:v>3.18221</c:v>
                </c:pt>
                <c:pt idx="909">
                  <c:v>3.1773799999999999</c:v>
                </c:pt>
                <c:pt idx="910">
                  <c:v>3.1749399999999999</c:v>
                </c:pt>
                <c:pt idx="911">
                  <c:v>3.17991</c:v>
                </c:pt>
                <c:pt idx="912">
                  <c:v>3.1779600000000001</c:v>
                </c:pt>
                <c:pt idx="913">
                  <c:v>3.1736599999999981</c:v>
                </c:pt>
                <c:pt idx="914">
                  <c:v>3.1716299999999982</c:v>
                </c:pt>
                <c:pt idx="915">
                  <c:v>3.1695000000000002</c:v>
                </c:pt>
                <c:pt idx="916">
                  <c:v>3.15489</c:v>
                </c:pt>
                <c:pt idx="917">
                  <c:v>3.15951</c:v>
                </c:pt>
                <c:pt idx="918">
                  <c:v>3.1592799999999981</c:v>
                </c:pt>
                <c:pt idx="919">
                  <c:v>3.1603200000000018</c:v>
                </c:pt>
                <c:pt idx="920">
                  <c:v>3.1619100000000002</c:v>
                </c:pt>
                <c:pt idx="921">
                  <c:v>3.1601699999999999</c:v>
                </c:pt>
                <c:pt idx="922">
                  <c:v>3.1579299999999999</c:v>
                </c:pt>
                <c:pt idx="923">
                  <c:v>3.1526499999999973</c:v>
                </c:pt>
                <c:pt idx="924">
                  <c:v>3.1591399999999998</c:v>
                </c:pt>
                <c:pt idx="925">
                  <c:v>3.16</c:v>
                </c:pt>
                <c:pt idx="926">
                  <c:v>3.1517200000000001</c:v>
                </c:pt>
                <c:pt idx="927">
                  <c:v>3.1557300000000001</c:v>
                </c:pt>
                <c:pt idx="928">
                  <c:v>3.15463</c:v>
                </c:pt>
                <c:pt idx="929">
                  <c:v>3.1504399999999997</c:v>
                </c:pt>
                <c:pt idx="930">
                  <c:v>3.1487699999999998</c:v>
                </c:pt>
                <c:pt idx="931">
                  <c:v>3.1403699999999999</c:v>
                </c:pt>
                <c:pt idx="932">
                  <c:v>3.1406999999999998</c:v>
                </c:pt>
                <c:pt idx="933">
                  <c:v>3.1440000000000001</c:v>
                </c:pt>
                <c:pt idx="934">
                  <c:v>3.1392499999999979</c:v>
                </c:pt>
                <c:pt idx="935">
                  <c:v>3.1369399999999987</c:v>
                </c:pt>
                <c:pt idx="936">
                  <c:v>3.13218</c:v>
                </c:pt>
                <c:pt idx="937">
                  <c:v>3.1320399999999982</c:v>
                </c:pt>
                <c:pt idx="938">
                  <c:v>3.1307</c:v>
                </c:pt>
                <c:pt idx="939">
                  <c:v>3.1355999999999997</c:v>
                </c:pt>
                <c:pt idx="940">
                  <c:v>3.1313800000000001</c:v>
                </c:pt>
                <c:pt idx="941">
                  <c:v>3.1380699999999981</c:v>
                </c:pt>
                <c:pt idx="942">
                  <c:v>3.1353399999999998</c:v>
                </c:pt>
                <c:pt idx="943">
                  <c:v>3.1383100000000002</c:v>
                </c:pt>
                <c:pt idx="944">
                  <c:v>3.1410399999999998</c:v>
                </c:pt>
                <c:pt idx="945">
                  <c:v>3.1443099999999999</c:v>
                </c:pt>
                <c:pt idx="946">
                  <c:v>3.1407600000000002</c:v>
                </c:pt>
                <c:pt idx="947">
                  <c:v>3.1385200000000002</c:v>
                </c:pt>
                <c:pt idx="948">
                  <c:v>3.1433000000000018</c:v>
                </c:pt>
                <c:pt idx="949">
                  <c:v>3.1522499999999973</c:v>
                </c:pt>
                <c:pt idx="950">
                  <c:v>3.1501000000000001</c:v>
                </c:pt>
                <c:pt idx="951">
                  <c:v>3.1507399999999999</c:v>
                </c:pt>
                <c:pt idx="952">
                  <c:v>3.15042</c:v>
                </c:pt>
                <c:pt idx="953">
                  <c:v>3.1513399999999998</c:v>
                </c:pt>
                <c:pt idx="954">
                  <c:v>3.1489400000000001</c:v>
                </c:pt>
                <c:pt idx="955">
                  <c:v>3.1475700000000018</c:v>
                </c:pt>
                <c:pt idx="956">
                  <c:v>3.1463700000000001</c:v>
                </c:pt>
                <c:pt idx="957">
                  <c:v>3.145</c:v>
                </c:pt>
                <c:pt idx="958">
                  <c:v>3.15402</c:v>
                </c:pt>
                <c:pt idx="959">
                  <c:v>3.1575899999999999</c:v>
                </c:pt>
                <c:pt idx="960">
                  <c:v>3.15802</c:v>
                </c:pt>
                <c:pt idx="961">
                  <c:v>3.1571699999999998</c:v>
                </c:pt>
                <c:pt idx="962">
                  <c:v>3.1547100000000001</c:v>
                </c:pt>
                <c:pt idx="963">
                  <c:v>3.1502599999999981</c:v>
                </c:pt>
                <c:pt idx="964">
                  <c:v>3.1500300000000001</c:v>
                </c:pt>
                <c:pt idx="965">
                  <c:v>3.14764</c:v>
                </c:pt>
                <c:pt idx="966">
                  <c:v>3.1469399999999998</c:v>
                </c:pt>
              </c:numCache>
            </c:numRef>
          </c:val>
          <c:extLst xmlns:c16r2="http://schemas.microsoft.com/office/drawing/2015/06/chart">
            <c:ext xmlns:c16="http://schemas.microsoft.com/office/drawing/2014/chart" uri="{C3380CC4-5D6E-409C-BE32-E72D297353CC}">
              <c16:uniqueId val="{00000003-C04E-46A7-B756-BAE151EF47BF}"/>
            </c:ext>
          </c:extLst>
        </c:ser>
        <c:ser>
          <c:idx val="2"/>
          <c:order val="2"/>
          <c:tx>
            <c:strRef>
              <c:f>Feuil1!$D$5</c:f>
              <c:strCache>
                <c:ptCount val="1"/>
              </c:strCache>
            </c:strRef>
          </c:tx>
          <c:spPr>
            <a:ln w="28575" cap="rnd">
              <a:solidFill>
                <a:srgbClr val="0070C0"/>
              </a:solidFill>
              <a:prstDash val="dash"/>
              <a:round/>
            </a:ln>
            <a:effectLst/>
          </c:spPr>
          <c:marker>
            <c:symbol val="none"/>
          </c:marker>
          <c:dLbls>
            <c:dLbl>
              <c:idx val="108"/>
              <c:layout>
                <c:manualLayout>
                  <c:x val="-4.9863451735382466E-2"/>
                  <c:y val="3.1293207867487412E-2"/>
                </c:manualLayout>
              </c:layout>
              <c:dLblPos val="r"/>
              <c:showVal val="1"/>
              <c:extLst xmlns:c16r2="http://schemas.microsoft.com/office/drawing/2015/06/chart">
                <c:ext xmlns:c16="http://schemas.microsoft.com/office/drawing/2014/chart" uri="{C3380CC4-5D6E-409C-BE32-E72D297353CC}">
                  <c16:uniqueId val="{00000004-C04E-46A7-B756-BAE151EF47BF}"/>
                </c:ext>
                <c:ext xmlns:c15="http://schemas.microsoft.com/office/drawing/2012/chart" uri="{CE6537A1-D6FC-4f65-9D91-7224C49458BB}">
                  <c15:layout/>
                </c:ext>
              </c:extLst>
            </c:dLbl>
            <c:dLbl>
              <c:idx val="402"/>
              <c:layout/>
              <c:dLblPos val="b"/>
              <c:showVal val="1"/>
              <c:extLst xmlns:c16r2="http://schemas.microsoft.com/office/drawing/2015/06/chart">
                <c:ext xmlns:c16="http://schemas.microsoft.com/office/drawing/2014/chart" uri="{C3380CC4-5D6E-409C-BE32-E72D297353CC}">
                  <c16:uniqueId val="{00000005-C04E-46A7-B756-BAE151EF47BF}"/>
                </c:ext>
                <c:ext xmlns:c15="http://schemas.microsoft.com/office/drawing/2012/chart" uri="{CE6537A1-D6FC-4f65-9D91-7224C49458BB}">
                  <c15:layout/>
                </c:ext>
              </c:extLst>
            </c:dLbl>
            <c:dLbl>
              <c:idx val="635"/>
              <c:layout/>
              <c:dLblPos val="b"/>
              <c:showVal val="1"/>
              <c:extLst xmlns:c16r2="http://schemas.microsoft.com/office/drawing/2015/06/chart">
                <c:ext xmlns:c16="http://schemas.microsoft.com/office/drawing/2014/chart" uri="{C3380CC4-5D6E-409C-BE32-E72D297353CC}">
                  <c16:uniqueId val="{00000006-C04E-46A7-B756-BAE151EF47BF}"/>
                </c:ext>
                <c:ext xmlns:c15="http://schemas.microsoft.com/office/drawing/2012/chart" uri="{CE6537A1-D6FC-4f65-9D91-7224C49458BB}">
                  <c15:layout/>
                </c:ext>
              </c:extLst>
            </c:dLbl>
            <c:dLbl>
              <c:idx val="853"/>
              <c:layout>
                <c:manualLayout>
                  <c:x val="-2.2052880050212335E-2"/>
                  <c:y val="4.0648390257940314E-2"/>
                </c:manualLayout>
              </c:layout>
              <c:dLblPos val="r"/>
              <c:showVal val="1"/>
              <c:extLst xmlns:c16r2="http://schemas.microsoft.com/office/drawing/2015/06/chart">
                <c:ext xmlns:c16="http://schemas.microsoft.com/office/drawing/2014/chart" uri="{C3380CC4-5D6E-409C-BE32-E72D297353CC}">
                  <c16:uniqueId val="{00000007-C04E-46A7-B756-BAE151EF47BF}"/>
                </c:ext>
                <c:ext xmlns:c15="http://schemas.microsoft.com/office/drawing/2012/chart" uri="{CE6537A1-D6FC-4f65-9D91-7224C49458BB}">
                  <c15:layout/>
                </c:ext>
              </c:extLst>
            </c:dLbl>
            <c:delete val="1"/>
            <c:extLst xmlns:c16r2="http://schemas.microsoft.com/office/drawing/2015/06/chart">
              <c:ext xmlns:c15="http://schemas.microsoft.com/office/drawing/2012/chart" uri="{CE6537A1-D6FC-4f65-9D91-7224C49458BB}">
                <c15:showLeaderLines val="0"/>
              </c:ext>
            </c:extLst>
          </c:dLbls>
          <c:cat>
            <c:numRef>
              <c:f>Feuil1!$E$2:$AKJ$2</c:f>
              <c:numCache>
                <c:formatCode>dd/mm/yyyy</c:formatCode>
                <c:ptCount val="967"/>
                <c:pt idx="0">
                  <c:v>42373</c:v>
                </c:pt>
                <c:pt idx="1">
                  <c:v>42374</c:v>
                </c:pt>
                <c:pt idx="2">
                  <c:v>42375</c:v>
                </c:pt>
                <c:pt idx="3">
                  <c:v>42376</c:v>
                </c:pt>
                <c:pt idx="4">
                  <c:v>42377</c:v>
                </c:pt>
                <c:pt idx="5">
                  <c:v>42380</c:v>
                </c:pt>
                <c:pt idx="6">
                  <c:v>42381</c:v>
                </c:pt>
                <c:pt idx="7">
                  <c:v>42382</c:v>
                </c:pt>
                <c:pt idx="8">
                  <c:v>42384</c:v>
                </c:pt>
                <c:pt idx="9">
                  <c:v>42387</c:v>
                </c:pt>
                <c:pt idx="10">
                  <c:v>42388</c:v>
                </c:pt>
                <c:pt idx="11">
                  <c:v>42389</c:v>
                </c:pt>
                <c:pt idx="12">
                  <c:v>42390</c:v>
                </c:pt>
                <c:pt idx="13">
                  <c:v>42391</c:v>
                </c:pt>
                <c:pt idx="14">
                  <c:v>42394</c:v>
                </c:pt>
                <c:pt idx="15">
                  <c:v>42395</c:v>
                </c:pt>
                <c:pt idx="16">
                  <c:v>42396</c:v>
                </c:pt>
                <c:pt idx="17">
                  <c:v>42397</c:v>
                </c:pt>
                <c:pt idx="18">
                  <c:v>42398</c:v>
                </c:pt>
                <c:pt idx="19">
                  <c:v>42401</c:v>
                </c:pt>
                <c:pt idx="20">
                  <c:v>42402</c:v>
                </c:pt>
                <c:pt idx="21">
                  <c:v>42403</c:v>
                </c:pt>
                <c:pt idx="22">
                  <c:v>42404</c:v>
                </c:pt>
                <c:pt idx="23">
                  <c:v>42405</c:v>
                </c:pt>
                <c:pt idx="24">
                  <c:v>42408</c:v>
                </c:pt>
                <c:pt idx="25">
                  <c:v>42409</c:v>
                </c:pt>
                <c:pt idx="26">
                  <c:v>42410</c:v>
                </c:pt>
                <c:pt idx="27">
                  <c:v>42411</c:v>
                </c:pt>
                <c:pt idx="28">
                  <c:v>42412</c:v>
                </c:pt>
                <c:pt idx="29">
                  <c:v>42415</c:v>
                </c:pt>
                <c:pt idx="30">
                  <c:v>42416</c:v>
                </c:pt>
                <c:pt idx="31">
                  <c:v>42417</c:v>
                </c:pt>
                <c:pt idx="32">
                  <c:v>42418</c:v>
                </c:pt>
                <c:pt idx="33">
                  <c:v>42419</c:v>
                </c:pt>
                <c:pt idx="34">
                  <c:v>42422</c:v>
                </c:pt>
                <c:pt idx="35">
                  <c:v>42423</c:v>
                </c:pt>
                <c:pt idx="36">
                  <c:v>42424</c:v>
                </c:pt>
                <c:pt idx="37">
                  <c:v>42425</c:v>
                </c:pt>
                <c:pt idx="38">
                  <c:v>42426</c:v>
                </c:pt>
                <c:pt idx="39">
                  <c:v>42429</c:v>
                </c:pt>
                <c:pt idx="40">
                  <c:v>42430</c:v>
                </c:pt>
                <c:pt idx="41">
                  <c:v>42431</c:v>
                </c:pt>
                <c:pt idx="42">
                  <c:v>42432</c:v>
                </c:pt>
                <c:pt idx="43">
                  <c:v>42433</c:v>
                </c:pt>
                <c:pt idx="44">
                  <c:v>42436</c:v>
                </c:pt>
                <c:pt idx="45">
                  <c:v>42437</c:v>
                </c:pt>
                <c:pt idx="46">
                  <c:v>42438</c:v>
                </c:pt>
                <c:pt idx="47">
                  <c:v>42439</c:v>
                </c:pt>
                <c:pt idx="48">
                  <c:v>42440</c:v>
                </c:pt>
                <c:pt idx="49">
                  <c:v>42443</c:v>
                </c:pt>
                <c:pt idx="50">
                  <c:v>42444</c:v>
                </c:pt>
                <c:pt idx="51">
                  <c:v>42445</c:v>
                </c:pt>
                <c:pt idx="52">
                  <c:v>42446</c:v>
                </c:pt>
                <c:pt idx="53">
                  <c:v>42447</c:v>
                </c:pt>
                <c:pt idx="54">
                  <c:v>42450</c:v>
                </c:pt>
                <c:pt idx="55">
                  <c:v>42451</c:v>
                </c:pt>
                <c:pt idx="56">
                  <c:v>42452</c:v>
                </c:pt>
                <c:pt idx="57">
                  <c:v>42453</c:v>
                </c:pt>
                <c:pt idx="58">
                  <c:v>42454</c:v>
                </c:pt>
                <c:pt idx="59">
                  <c:v>42457</c:v>
                </c:pt>
                <c:pt idx="60">
                  <c:v>42458</c:v>
                </c:pt>
                <c:pt idx="61">
                  <c:v>42459</c:v>
                </c:pt>
                <c:pt idx="62">
                  <c:v>42460</c:v>
                </c:pt>
                <c:pt idx="63">
                  <c:v>42461</c:v>
                </c:pt>
                <c:pt idx="64">
                  <c:v>42464</c:v>
                </c:pt>
                <c:pt idx="65">
                  <c:v>42465</c:v>
                </c:pt>
                <c:pt idx="66">
                  <c:v>42466</c:v>
                </c:pt>
                <c:pt idx="67">
                  <c:v>42467</c:v>
                </c:pt>
                <c:pt idx="68">
                  <c:v>42468</c:v>
                </c:pt>
                <c:pt idx="69">
                  <c:v>42471</c:v>
                </c:pt>
                <c:pt idx="70">
                  <c:v>42472</c:v>
                </c:pt>
                <c:pt idx="71">
                  <c:v>42473</c:v>
                </c:pt>
                <c:pt idx="72">
                  <c:v>42474</c:v>
                </c:pt>
                <c:pt idx="73">
                  <c:v>42475</c:v>
                </c:pt>
                <c:pt idx="74">
                  <c:v>42478</c:v>
                </c:pt>
                <c:pt idx="75">
                  <c:v>42479</c:v>
                </c:pt>
                <c:pt idx="76">
                  <c:v>42480</c:v>
                </c:pt>
                <c:pt idx="77">
                  <c:v>42481</c:v>
                </c:pt>
                <c:pt idx="78">
                  <c:v>42482</c:v>
                </c:pt>
                <c:pt idx="79">
                  <c:v>42485</c:v>
                </c:pt>
                <c:pt idx="80">
                  <c:v>42486</c:v>
                </c:pt>
                <c:pt idx="81">
                  <c:v>42487</c:v>
                </c:pt>
                <c:pt idx="82">
                  <c:v>42488</c:v>
                </c:pt>
                <c:pt idx="83">
                  <c:v>42489</c:v>
                </c:pt>
                <c:pt idx="84">
                  <c:v>42492</c:v>
                </c:pt>
                <c:pt idx="85">
                  <c:v>42493</c:v>
                </c:pt>
                <c:pt idx="86">
                  <c:v>42494</c:v>
                </c:pt>
                <c:pt idx="87">
                  <c:v>42495</c:v>
                </c:pt>
                <c:pt idx="88">
                  <c:v>42496</c:v>
                </c:pt>
                <c:pt idx="89">
                  <c:v>42499</c:v>
                </c:pt>
                <c:pt idx="90">
                  <c:v>42500</c:v>
                </c:pt>
                <c:pt idx="91">
                  <c:v>42501</c:v>
                </c:pt>
                <c:pt idx="92">
                  <c:v>42502</c:v>
                </c:pt>
                <c:pt idx="93">
                  <c:v>42503</c:v>
                </c:pt>
                <c:pt idx="94">
                  <c:v>42506</c:v>
                </c:pt>
                <c:pt idx="95">
                  <c:v>42507</c:v>
                </c:pt>
                <c:pt idx="96">
                  <c:v>42508</c:v>
                </c:pt>
                <c:pt idx="97">
                  <c:v>42509</c:v>
                </c:pt>
                <c:pt idx="98">
                  <c:v>42510</c:v>
                </c:pt>
                <c:pt idx="99">
                  <c:v>42513</c:v>
                </c:pt>
                <c:pt idx="100">
                  <c:v>42514</c:v>
                </c:pt>
                <c:pt idx="101">
                  <c:v>42515</c:v>
                </c:pt>
                <c:pt idx="102">
                  <c:v>42516</c:v>
                </c:pt>
                <c:pt idx="103">
                  <c:v>42517</c:v>
                </c:pt>
                <c:pt idx="104">
                  <c:v>42520</c:v>
                </c:pt>
                <c:pt idx="105">
                  <c:v>42521</c:v>
                </c:pt>
                <c:pt idx="106">
                  <c:v>42522</c:v>
                </c:pt>
                <c:pt idx="107">
                  <c:v>42523</c:v>
                </c:pt>
                <c:pt idx="108">
                  <c:v>42524</c:v>
                </c:pt>
                <c:pt idx="109">
                  <c:v>42527</c:v>
                </c:pt>
                <c:pt idx="110">
                  <c:v>42528</c:v>
                </c:pt>
                <c:pt idx="111">
                  <c:v>42529</c:v>
                </c:pt>
                <c:pt idx="112">
                  <c:v>42530</c:v>
                </c:pt>
                <c:pt idx="113">
                  <c:v>42531</c:v>
                </c:pt>
                <c:pt idx="114">
                  <c:v>42534</c:v>
                </c:pt>
                <c:pt idx="115">
                  <c:v>42535</c:v>
                </c:pt>
                <c:pt idx="116">
                  <c:v>42536</c:v>
                </c:pt>
                <c:pt idx="117">
                  <c:v>42537</c:v>
                </c:pt>
                <c:pt idx="118">
                  <c:v>42538</c:v>
                </c:pt>
                <c:pt idx="119">
                  <c:v>42541</c:v>
                </c:pt>
                <c:pt idx="120">
                  <c:v>42542</c:v>
                </c:pt>
                <c:pt idx="121">
                  <c:v>42543</c:v>
                </c:pt>
                <c:pt idx="122">
                  <c:v>42544</c:v>
                </c:pt>
                <c:pt idx="123">
                  <c:v>42545</c:v>
                </c:pt>
                <c:pt idx="124">
                  <c:v>42548</c:v>
                </c:pt>
                <c:pt idx="125">
                  <c:v>42549</c:v>
                </c:pt>
                <c:pt idx="126">
                  <c:v>42550</c:v>
                </c:pt>
                <c:pt idx="127">
                  <c:v>42551</c:v>
                </c:pt>
                <c:pt idx="128">
                  <c:v>42552</c:v>
                </c:pt>
                <c:pt idx="129">
                  <c:v>42555</c:v>
                </c:pt>
                <c:pt idx="130">
                  <c:v>42559</c:v>
                </c:pt>
                <c:pt idx="131">
                  <c:v>42562</c:v>
                </c:pt>
                <c:pt idx="132">
                  <c:v>42563</c:v>
                </c:pt>
                <c:pt idx="133">
                  <c:v>42564</c:v>
                </c:pt>
                <c:pt idx="134">
                  <c:v>42565</c:v>
                </c:pt>
                <c:pt idx="135">
                  <c:v>42566</c:v>
                </c:pt>
                <c:pt idx="136">
                  <c:v>42569</c:v>
                </c:pt>
                <c:pt idx="137">
                  <c:v>42570</c:v>
                </c:pt>
                <c:pt idx="138">
                  <c:v>42571</c:v>
                </c:pt>
                <c:pt idx="139">
                  <c:v>42572</c:v>
                </c:pt>
                <c:pt idx="140">
                  <c:v>42573</c:v>
                </c:pt>
                <c:pt idx="141">
                  <c:v>42577</c:v>
                </c:pt>
                <c:pt idx="142">
                  <c:v>42578</c:v>
                </c:pt>
                <c:pt idx="143">
                  <c:v>42579</c:v>
                </c:pt>
                <c:pt idx="144">
                  <c:v>42580</c:v>
                </c:pt>
                <c:pt idx="145">
                  <c:v>42583</c:v>
                </c:pt>
                <c:pt idx="146">
                  <c:v>42584</c:v>
                </c:pt>
                <c:pt idx="147">
                  <c:v>42585</c:v>
                </c:pt>
                <c:pt idx="148">
                  <c:v>42586</c:v>
                </c:pt>
                <c:pt idx="149">
                  <c:v>42587</c:v>
                </c:pt>
                <c:pt idx="150">
                  <c:v>42590</c:v>
                </c:pt>
                <c:pt idx="151">
                  <c:v>42591</c:v>
                </c:pt>
                <c:pt idx="152">
                  <c:v>42592</c:v>
                </c:pt>
                <c:pt idx="153">
                  <c:v>42593</c:v>
                </c:pt>
                <c:pt idx="154">
                  <c:v>42594</c:v>
                </c:pt>
                <c:pt idx="155">
                  <c:v>42597</c:v>
                </c:pt>
                <c:pt idx="156">
                  <c:v>42598</c:v>
                </c:pt>
                <c:pt idx="157">
                  <c:v>42599</c:v>
                </c:pt>
                <c:pt idx="158">
                  <c:v>42600</c:v>
                </c:pt>
                <c:pt idx="159">
                  <c:v>42601</c:v>
                </c:pt>
                <c:pt idx="160">
                  <c:v>42604</c:v>
                </c:pt>
                <c:pt idx="161">
                  <c:v>42605</c:v>
                </c:pt>
                <c:pt idx="162">
                  <c:v>42606</c:v>
                </c:pt>
                <c:pt idx="163">
                  <c:v>42607</c:v>
                </c:pt>
                <c:pt idx="164">
                  <c:v>42608</c:v>
                </c:pt>
                <c:pt idx="165">
                  <c:v>42611</c:v>
                </c:pt>
                <c:pt idx="166">
                  <c:v>42612</c:v>
                </c:pt>
                <c:pt idx="167">
                  <c:v>42613</c:v>
                </c:pt>
                <c:pt idx="168">
                  <c:v>42614</c:v>
                </c:pt>
                <c:pt idx="169">
                  <c:v>42615</c:v>
                </c:pt>
                <c:pt idx="170">
                  <c:v>42618</c:v>
                </c:pt>
                <c:pt idx="171">
                  <c:v>42619</c:v>
                </c:pt>
                <c:pt idx="172">
                  <c:v>42620</c:v>
                </c:pt>
                <c:pt idx="173">
                  <c:v>42621</c:v>
                </c:pt>
                <c:pt idx="174">
                  <c:v>42622</c:v>
                </c:pt>
                <c:pt idx="175">
                  <c:v>42627</c:v>
                </c:pt>
                <c:pt idx="176">
                  <c:v>42628</c:v>
                </c:pt>
                <c:pt idx="177">
                  <c:v>42629</c:v>
                </c:pt>
                <c:pt idx="178">
                  <c:v>42632</c:v>
                </c:pt>
                <c:pt idx="179">
                  <c:v>42633</c:v>
                </c:pt>
                <c:pt idx="180">
                  <c:v>42634</c:v>
                </c:pt>
                <c:pt idx="181">
                  <c:v>42635</c:v>
                </c:pt>
                <c:pt idx="182">
                  <c:v>42636</c:v>
                </c:pt>
                <c:pt idx="183">
                  <c:v>42639</c:v>
                </c:pt>
                <c:pt idx="184">
                  <c:v>42640</c:v>
                </c:pt>
                <c:pt idx="185">
                  <c:v>42641</c:v>
                </c:pt>
                <c:pt idx="186">
                  <c:v>42642</c:v>
                </c:pt>
                <c:pt idx="187">
                  <c:v>42643</c:v>
                </c:pt>
                <c:pt idx="188">
                  <c:v>42646</c:v>
                </c:pt>
                <c:pt idx="189">
                  <c:v>42647</c:v>
                </c:pt>
                <c:pt idx="190">
                  <c:v>42648</c:v>
                </c:pt>
                <c:pt idx="191">
                  <c:v>42649</c:v>
                </c:pt>
                <c:pt idx="192">
                  <c:v>42650</c:v>
                </c:pt>
                <c:pt idx="193">
                  <c:v>42653</c:v>
                </c:pt>
                <c:pt idx="194">
                  <c:v>42654</c:v>
                </c:pt>
                <c:pt idx="195">
                  <c:v>42655</c:v>
                </c:pt>
                <c:pt idx="196">
                  <c:v>42656</c:v>
                </c:pt>
                <c:pt idx="197">
                  <c:v>42657</c:v>
                </c:pt>
                <c:pt idx="198">
                  <c:v>42660</c:v>
                </c:pt>
                <c:pt idx="199">
                  <c:v>42661</c:v>
                </c:pt>
                <c:pt idx="200">
                  <c:v>42662</c:v>
                </c:pt>
                <c:pt idx="201">
                  <c:v>42663</c:v>
                </c:pt>
                <c:pt idx="202">
                  <c:v>42664</c:v>
                </c:pt>
                <c:pt idx="203">
                  <c:v>42667</c:v>
                </c:pt>
                <c:pt idx="204">
                  <c:v>42668</c:v>
                </c:pt>
                <c:pt idx="205">
                  <c:v>42669</c:v>
                </c:pt>
                <c:pt idx="206">
                  <c:v>42670</c:v>
                </c:pt>
                <c:pt idx="207">
                  <c:v>42671</c:v>
                </c:pt>
                <c:pt idx="208">
                  <c:v>42674</c:v>
                </c:pt>
                <c:pt idx="209">
                  <c:v>42675</c:v>
                </c:pt>
                <c:pt idx="210">
                  <c:v>42676</c:v>
                </c:pt>
                <c:pt idx="211">
                  <c:v>42677</c:v>
                </c:pt>
                <c:pt idx="212">
                  <c:v>42678</c:v>
                </c:pt>
                <c:pt idx="213">
                  <c:v>42681</c:v>
                </c:pt>
                <c:pt idx="214">
                  <c:v>42682</c:v>
                </c:pt>
                <c:pt idx="215">
                  <c:v>42683</c:v>
                </c:pt>
                <c:pt idx="216">
                  <c:v>42684</c:v>
                </c:pt>
                <c:pt idx="217">
                  <c:v>42685</c:v>
                </c:pt>
                <c:pt idx="218">
                  <c:v>42688</c:v>
                </c:pt>
                <c:pt idx="219">
                  <c:v>42689</c:v>
                </c:pt>
                <c:pt idx="220">
                  <c:v>42690</c:v>
                </c:pt>
                <c:pt idx="221">
                  <c:v>42691</c:v>
                </c:pt>
                <c:pt idx="222">
                  <c:v>42692</c:v>
                </c:pt>
                <c:pt idx="223">
                  <c:v>42695</c:v>
                </c:pt>
                <c:pt idx="224">
                  <c:v>42696</c:v>
                </c:pt>
                <c:pt idx="225">
                  <c:v>42697</c:v>
                </c:pt>
                <c:pt idx="226">
                  <c:v>42698</c:v>
                </c:pt>
                <c:pt idx="227">
                  <c:v>42699</c:v>
                </c:pt>
                <c:pt idx="228">
                  <c:v>42702</c:v>
                </c:pt>
                <c:pt idx="229">
                  <c:v>42703</c:v>
                </c:pt>
                <c:pt idx="230">
                  <c:v>42704</c:v>
                </c:pt>
                <c:pt idx="231">
                  <c:v>42705</c:v>
                </c:pt>
                <c:pt idx="232">
                  <c:v>42706</c:v>
                </c:pt>
                <c:pt idx="233">
                  <c:v>42709</c:v>
                </c:pt>
                <c:pt idx="234">
                  <c:v>42710</c:v>
                </c:pt>
                <c:pt idx="235">
                  <c:v>42711</c:v>
                </c:pt>
                <c:pt idx="236">
                  <c:v>42712</c:v>
                </c:pt>
                <c:pt idx="237">
                  <c:v>42713</c:v>
                </c:pt>
                <c:pt idx="238">
                  <c:v>42717</c:v>
                </c:pt>
                <c:pt idx="239">
                  <c:v>42718</c:v>
                </c:pt>
                <c:pt idx="240">
                  <c:v>42719</c:v>
                </c:pt>
                <c:pt idx="241">
                  <c:v>42720</c:v>
                </c:pt>
                <c:pt idx="242">
                  <c:v>42723</c:v>
                </c:pt>
                <c:pt idx="243">
                  <c:v>42724</c:v>
                </c:pt>
                <c:pt idx="244">
                  <c:v>42725</c:v>
                </c:pt>
                <c:pt idx="245">
                  <c:v>42726</c:v>
                </c:pt>
                <c:pt idx="246">
                  <c:v>42727</c:v>
                </c:pt>
                <c:pt idx="247">
                  <c:v>42730</c:v>
                </c:pt>
                <c:pt idx="248">
                  <c:v>42731</c:v>
                </c:pt>
                <c:pt idx="249">
                  <c:v>42732</c:v>
                </c:pt>
                <c:pt idx="250">
                  <c:v>42733</c:v>
                </c:pt>
                <c:pt idx="251">
                  <c:v>42734</c:v>
                </c:pt>
                <c:pt idx="252">
                  <c:v>42737</c:v>
                </c:pt>
                <c:pt idx="253">
                  <c:v>42738</c:v>
                </c:pt>
                <c:pt idx="254">
                  <c:v>42739</c:v>
                </c:pt>
                <c:pt idx="255">
                  <c:v>42740</c:v>
                </c:pt>
                <c:pt idx="256">
                  <c:v>42741</c:v>
                </c:pt>
                <c:pt idx="257">
                  <c:v>42744</c:v>
                </c:pt>
                <c:pt idx="258">
                  <c:v>42745</c:v>
                </c:pt>
                <c:pt idx="259">
                  <c:v>42746</c:v>
                </c:pt>
                <c:pt idx="260">
                  <c:v>42747</c:v>
                </c:pt>
                <c:pt idx="261">
                  <c:v>42748</c:v>
                </c:pt>
                <c:pt idx="262">
                  <c:v>42751</c:v>
                </c:pt>
                <c:pt idx="263">
                  <c:v>42752</c:v>
                </c:pt>
                <c:pt idx="264">
                  <c:v>42753</c:v>
                </c:pt>
                <c:pt idx="265">
                  <c:v>42754</c:v>
                </c:pt>
                <c:pt idx="266">
                  <c:v>42755</c:v>
                </c:pt>
                <c:pt idx="267">
                  <c:v>42758</c:v>
                </c:pt>
                <c:pt idx="268">
                  <c:v>42759</c:v>
                </c:pt>
                <c:pt idx="269">
                  <c:v>42760</c:v>
                </c:pt>
                <c:pt idx="270">
                  <c:v>42761</c:v>
                </c:pt>
                <c:pt idx="271">
                  <c:v>42762</c:v>
                </c:pt>
                <c:pt idx="272">
                  <c:v>42765</c:v>
                </c:pt>
                <c:pt idx="273">
                  <c:v>42766</c:v>
                </c:pt>
                <c:pt idx="274">
                  <c:v>42767</c:v>
                </c:pt>
                <c:pt idx="275">
                  <c:v>42768</c:v>
                </c:pt>
                <c:pt idx="276">
                  <c:v>42769</c:v>
                </c:pt>
                <c:pt idx="277">
                  <c:v>42772</c:v>
                </c:pt>
                <c:pt idx="278">
                  <c:v>42773</c:v>
                </c:pt>
                <c:pt idx="279">
                  <c:v>42774</c:v>
                </c:pt>
                <c:pt idx="280">
                  <c:v>42775</c:v>
                </c:pt>
                <c:pt idx="281">
                  <c:v>42776</c:v>
                </c:pt>
                <c:pt idx="282">
                  <c:v>42779</c:v>
                </c:pt>
                <c:pt idx="283">
                  <c:v>42780</c:v>
                </c:pt>
                <c:pt idx="284">
                  <c:v>42781</c:v>
                </c:pt>
                <c:pt idx="285">
                  <c:v>42782</c:v>
                </c:pt>
                <c:pt idx="286">
                  <c:v>42783</c:v>
                </c:pt>
                <c:pt idx="287">
                  <c:v>42786</c:v>
                </c:pt>
                <c:pt idx="288">
                  <c:v>42787</c:v>
                </c:pt>
                <c:pt idx="289">
                  <c:v>42788</c:v>
                </c:pt>
                <c:pt idx="290">
                  <c:v>42789</c:v>
                </c:pt>
                <c:pt idx="291">
                  <c:v>42790</c:v>
                </c:pt>
                <c:pt idx="292">
                  <c:v>42793</c:v>
                </c:pt>
                <c:pt idx="293">
                  <c:v>42794</c:v>
                </c:pt>
                <c:pt idx="294">
                  <c:v>42795</c:v>
                </c:pt>
                <c:pt idx="295">
                  <c:v>42796</c:v>
                </c:pt>
                <c:pt idx="296">
                  <c:v>42797</c:v>
                </c:pt>
                <c:pt idx="297">
                  <c:v>42800</c:v>
                </c:pt>
                <c:pt idx="298">
                  <c:v>42801</c:v>
                </c:pt>
                <c:pt idx="299">
                  <c:v>42802</c:v>
                </c:pt>
                <c:pt idx="300">
                  <c:v>42803</c:v>
                </c:pt>
                <c:pt idx="301">
                  <c:v>42804</c:v>
                </c:pt>
                <c:pt idx="302">
                  <c:v>42807</c:v>
                </c:pt>
                <c:pt idx="303">
                  <c:v>42808</c:v>
                </c:pt>
                <c:pt idx="304">
                  <c:v>42809</c:v>
                </c:pt>
                <c:pt idx="305">
                  <c:v>42810</c:v>
                </c:pt>
                <c:pt idx="306">
                  <c:v>42811</c:v>
                </c:pt>
                <c:pt idx="307">
                  <c:v>42815</c:v>
                </c:pt>
                <c:pt idx="308">
                  <c:v>42816</c:v>
                </c:pt>
                <c:pt idx="309">
                  <c:v>42817</c:v>
                </c:pt>
                <c:pt idx="310">
                  <c:v>42818</c:v>
                </c:pt>
                <c:pt idx="311">
                  <c:v>42821</c:v>
                </c:pt>
                <c:pt idx="312">
                  <c:v>42822</c:v>
                </c:pt>
                <c:pt idx="313">
                  <c:v>42823</c:v>
                </c:pt>
                <c:pt idx="314">
                  <c:v>42824</c:v>
                </c:pt>
                <c:pt idx="315">
                  <c:v>42825</c:v>
                </c:pt>
                <c:pt idx="316">
                  <c:v>42828</c:v>
                </c:pt>
                <c:pt idx="317">
                  <c:v>42829</c:v>
                </c:pt>
                <c:pt idx="318">
                  <c:v>42830</c:v>
                </c:pt>
                <c:pt idx="319">
                  <c:v>42831</c:v>
                </c:pt>
                <c:pt idx="320">
                  <c:v>42832</c:v>
                </c:pt>
                <c:pt idx="321">
                  <c:v>42835</c:v>
                </c:pt>
                <c:pt idx="322">
                  <c:v>42836</c:v>
                </c:pt>
                <c:pt idx="323">
                  <c:v>42837</c:v>
                </c:pt>
                <c:pt idx="324">
                  <c:v>42838</c:v>
                </c:pt>
                <c:pt idx="325">
                  <c:v>42839</c:v>
                </c:pt>
                <c:pt idx="326">
                  <c:v>42842</c:v>
                </c:pt>
                <c:pt idx="327">
                  <c:v>42843</c:v>
                </c:pt>
                <c:pt idx="328">
                  <c:v>42844</c:v>
                </c:pt>
                <c:pt idx="329">
                  <c:v>42845</c:v>
                </c:pt>
                <c:pt idx="330">
                  <c:v>42846</c:v>
                </c:pt>
                <c:pt idx="331">
                  <c:v>42849</c:v>
                </c:pt>
                <c:pt idx="332">
                  <c:v>42850</c:v>
                </c:pt>
                <c:pt idx="333">
                  <c:v>42851</c:v>
                </c:pt>
                <c:pt idx="334">
                  <c:v>42852</c:v>
                </c:pt>
                <c:pt idx="335">
                  <c:v>42853</c:v>
                </c:pt>
                <c:pt idx="336">
                  <c:v>42857</c:v>
                </c:pt>
                <c:pt idx="337">
                  <c:v>42858</c:v>
                </c:pt>
                <c:pt idx="338">
                  <c:v>42859</c:v>
                </c:pt>
                <c:pt idx="339">
                  <c:v>42860</c:v>
                </c:pt>
                <c:pt idx="340">
                  <c:v>42863</c:v>
                </c:pt>
                <c:pt idx="341">
                  <c:v>42864</c:v>
                </c:pt>
                <c:pt idx="342">
                  <c:v>42865</c:v>
                </c:pt>
                <c:pt idx="343">
                  <c:v>42866</c:v>
                </c:pt>
                <c:pt idx="344">
                  <c:v>42867</c:v>
                </c:pt>
                <c:pt idx="345">
                  <c:v>42870</c:v>
                </c:pt>
                <c:pt idx="346">
                  <c:v>42871</c:v>
                </c:pt>
                <c:pt idx="347">
                  <c:v>42872</c:v>
                </c:pt>
                <c:pt idx="348">
                  <c:v>42873</c:v>
                </c:pt>
                <c:pt idx="349">
                  <c:v>42874</c:v>
                </c:pt>
                <c:pt idx="350">
                  <c:v>42877</c:v>
                </c:pt>
                <c:pt idx="351">
                  <c:v>42878</c:v>
                </c:pt>
                <c:pt idx="352">
                  <c:v>42879</c:v>
                </c:pt>
                <c:pt idx="353">
                  <c:v>42880</c:v>
                </c:pt>
                <c:pt idx="354">
                  <c:v>42881</c:v>
                </c:pt>
                <c:pt idx="355">
                  <c:v>42884</c:v>
                </c:pt>
                <c:pt idx="356">
                  <c:v>42885</c:v>
                </c:pt>
                <c:pt idx="357">
                  <c:v>42886</c:v>
                </c:pt>
                <c:pt idx="358">
                  <c:v>42887</c:v>
                </c:pt>
                <c:pt idx="359">
                  <c:v>42888</c:v>
                </c:pt>
                <c:pt idx="360">
                  <c:v>42891</c:v>
                </c:pt>
                <c:pt idx="361">
                  <c:v>42892</c:v>
                </c:pt>
                <c:pt idx="362">
                  <c:v>42893</c:v>
                </c:pt>
                <c:pt idx="363">
                  <c:v>42894</c:v>
                </c:pt>
                <c:pt idx="364">
                  <c:v>42895</c:v>
                </c:pt>
                <c:pt idx="365">
                  <c:v>42898</c:v>
                </c:pt>
                <c:pt idx="366">
                  <c:v>42899</c:v>
                </c:pt>
                <c:pt idx="367">
                  <c:v>42900</c:v>
                </c:pt>
                <c:pt idx="368">
                  <c:v>42901</c:v>
                </c:pt>
                <c:pt idx="369">
                  <c:v>42902</c:v>
                </c:pt>
                <c:pt idx="370">
                  <c:v>42905</c:v>
                </c:pt>
                <c:pt idx="371">
                  <c:v>42906</c:v>
                </c:pt>
                <c:pt idx="372">
                  <c:v>42907</c:v>
                </c:pt>
                <c:pt idx="373">
                  <c:v>42908</c:v>
                </c:pt>
                <c:pt idx="374">
                  <c:v>42909</c:v>
                </c:pt>
                <c:pt idx="375">
                  <c:v>42914</c:v>
                </c:pt>
                <c:pt idx="376">
                  <c:v>42915</c:v>
                </c:pt>
                <c:pt idx="377">
                  <c:v>42916</c:v>
                </c:pt>
                <c:pt idx="378">
                  <c:v>42919</c:v>
                </c:pt>
                <c:pt idx="379">
                  <c:v>42920</c:v>
                </c:pt>
                <c:pt idx="380">
                  <c:v>42921</c:v>
                </c:pt>
                <c:pt idx="381">
                  <c:v>42922</c:v>
                </c:pt>
                <c:pt idx="382">
                  <c:v>42923</c:v>
                </c:pt>
                <c:pt idx="383">
                  <c:v>42926</c:v>
                </c:pt>
                <c:pt idx="384">
                  <c:v>42927</c:v>
                </c:pt>
                <c:pt idx="385">
                  <c:v>42928</c:v>
                </c:pt>
                <c:pt idx="386">
                  <c:v>42929</c:v>
                </c:pt>
                <c:pt idx="387">
                  <c:v>42930</c:v>
                </c:pt>
                <c:pt idx="388">
                  <c:v>42933</c:v>
                </c:pt>
                <c:pt idx="389">
                  <c:v>42934</c:v>
                </c:pt>
                <c:pt idx="390">
                  <c:v>42935</c:v>
                </c:pt>
                <c:pt idx="391">
                  <c:v>42936</c:v>
                </c:pt>
                <c:pt idx="392">
                  <c:v>42937</c:v>
                </c:pt>
                <c:pt idx="393">
                  <c:v>42940</c:v>
                </c:pt>
                <c:pt idx="394">
                  <c:v>42942</c:v>
                </c:pt>
                <c:pt idx="395">
                  <c:v>42943</c:v>
                </c:pt>
                <c:pt idx="396">
                  <c:v>42944</c:v>
                </c:pt>
                <c:pt idx="397">
                  <c:v>42947</c:v>
                </c:pt>
                <c:pt idx="398">
                  <c:v>42948</c:v>
                </c:pt>
                <c:pt idx="399">
                  <c:v>42949</c:v>
                </c:pt>
                <c:pt idx="400">
                  <c:v>42950</c:v>
                </c:pt>
                <c:pt idx="401">
                  <c:v>42951</c:v>
                </c:pt>
                <c:pt idx="402">
                  <c:v>42954</c:v>
                </c:pt>
                <c:pt idx="403">
                  <c:v>42955</c:v>
                </c:pt>
                <c:pt idx="404">
                  <c:v>42956</c:v>
                </c:pt>
                <c:pt idx="405">
                  <c:v>42957</c:v>
                </c:pt>
                <c:pt idx="406">
                  <c:v>42958</c:v>
                </c:pt>
                <c:pt idx="407">
                  <c:v>42961</c:v>
                </c:pt>
                <c:pt idx="408">
                  <c:v>42962</c:v>
                </c:pt>
                <c:pt idx="409">
                  <c:v>42963</c:v>
                </c:pt>
                <c:pt idx="410">
                  <c:v>42964</c:v>
                </c:pt>
                <c:pt idx="411">
                  <c:v>42965</c:v>
                </c:pt>
                <c:pt idx="412">
                  <c:v>42968</c:v>
                </c:pt>
                <c:pt idx="413">
                  <c:v>42969</c:v>
                </c:pt>
                <c:pt idx="414">
                  <c:v>42970</c:v>
                </c:pt>
                <c:pt idx="415">
                  <c:v>42971</c:v>
                </c:pt>
                <c:pt idx="416">
                  <c:v>42972</c:v>
                </c:pt>
                <c:pt idx="417">
                  <c:v>42975</c:v>
                </c:pt>
                <c:pt idx="418">
                  <c:v>42976</c:v>
                </c:pt>
                <c:pt idx="419">
                  <c:v>42977</c:v>
                </c:pt>
                <c:pt idx="420">
                  <c:v>42978</c:v>
                </c:pt>
                <c:pt idx="421">
                  <c:v>42982</c:v>
                </c:pt>
                <c:pt idx="422">
                  <c:v>42983</c:v>
                </c:pt>
                <c:pt idx="423">
                  <c:v>42984</c:v>
                </c:pt>
                <c:pt idx="424">
                  <c:v>42985</c:v>
                </c:pt>
                <c:pt idx="425">
                  <c:v>42986</c:v>
                </c:pt>
                <c:pt idx="426">
                  <c:v>42989</c:v>
                </c:pt>
                <c:pt idx="427">
                  <c:v>42990</c:v>
                </c:pt>
                <c:pt idx="428">
                  <c:v>42991</c:v>
                </c:pt>
                <c:pt idx="429">
                  <c:v>42992</c:v>
                </c:pt>
                <c:pt idx="430">
                  <c:v>42993</c:v>
                </c:pt>
                <c:pt idx="431">
                  <c:v>42996</c:v>
                </c:pt>
                <c:pt idx="432">
                  <c:v>42997</c:v>
                </c:pt>
                <c:pt idx="433">
                  <c:v>42998</c:v>
                </c:pt>
                <c:pt idx="434">
                  <c:v>43000</c:v>
                </c:pt>
                <c:pt idx="435">
                  <c:v>43003</c:v>
                </c:pt>
                <c:pt idx="436">
                  <c:v>43004</c:v>
                </c:pt>
                <c:pt idx="437">
                  <c:v>43005</c:v>
                </c:pt>
                <c:pt idx="438">
                  <c:v>43006</c:v>
                </c:pt>
                <c:pt idx="439">
                  <c:v>43007</c:v>
                </c:pt>
                <c:pt idx="440">
                  <c:v>43010</c:v>
                </c:pt>
                <c:pt idx="441">
                  <c:v>43011</c:v>
                </c:pt>
                <c:pt idx="442">
                  <c:v>43012</c:v>
                </c:pt>
                <c:pt idx="443">
                  <c:v>43013</c:v>
                </c:pt>
                <c:pt idx="444">
                  <c:v>43014</c:v>
                </c:pt>
                <c:pt idx="445">
                  <c:v>43017</c:v>
                </c:pt>
                <c:pt idx="446">
                  <c:v>43018</c:v>
                </c:pt>
                <c:pt idx="447">
                  <c:v>43019</c:v>
                </c:pt>
                <c:pt idx="448">
                  <c:v>43020</c:v>
                </c:pt>
                <c:pt idx="449">
                  <c:v>43021</c:v>
                </c:pt>
                <c:pt idx="450">
                  <c:v>43024</c:v>
                </c:pt>
                <c:pt idx="451">
                  <c:v>43025</c:v>
                </c:pt>
                <c:pt idx="452">
                  <c:v>43026</c:v>
                </c:pt>
                <c:pt idx="453">
                  <c:v>43027</c:v>
                </c:pt>
                <c:pt idx="454">
                  <c:v>43028</c:v>
                </c:pt>
                <c:pt idx="455">
                  <c:v>43031</c:v>
                </c:pt>
                <c:pt idx="456">
                  <c:v>43032</c:v>
                </c:pt>
                <c:pt idx="457">
                  <c:v>43033</c:v>
                </c:pt>
                <c:pt idx="458">
                  <c:v>43034</c:v>
                </c:pt>
                <c:pt idx="459">
                  <c:v>43035</c:v>
                </c:pt>
                <c:pt idx="460">
                  <c:v>43038</c:v>
                </c:pt>
                <c:pt idx="461">
                  <c:v>43039</c:v>
                </c:pt>
                <c:pt idx="462">
                  <c:v>43040</c:v>
                </c:pt>
                <c:pt idx="463">
                  <c:v>43041</c:v>
                </c:pt>
                <c:pt idx="464">
                  <c:v>43042</c:v>
                </c:pt>
                <c:pt idx="465">
                  <c:v>43045</c:v>
                </c:pt>
                <c:pt idx="466">
                  <c:v>43046</c:v>
                </c:pt>
                <c:pt idx="467">
                  <c:v>43047</c:v>
                </c:pt>
                <c:pt idx="468">
                  <c:v>43048</c:v>
                </c:pt>
                <c:pt idx="469">
                  <c:v>43049</c:v>
                </c:pt>
                <c:pt idx="470">
                  <c:v>43052</c:v>
                </c:pt>
                <c:pt idx="471">
                  <c:v>43053</c:v>
                </c:pt>
                <c:pt idx="472">
                  <c:v>43054</c:v>
                </c:pt>
                <c:pt idx="473">
                  <c:v>43055</c:v>
                </c:pt>
                <c:pt idx="474">
                  <c:v>43056</c:v>
                </c:pt>
                <c:pt idx="475">
                  <c:v>43059</c:v>
                </c:pt>
                <c:pt idx="476">
                  <c:v>43060</c:v>
                </c:pt>
                <c:pt idx="477">
                  <c:v>43061</c:v>
                </c:pt>
                <c:pt idx="478">
                  <c:v>43062</c:v>
                </c:pt>
                <c:pt idx="479">
                  <c:v>43063</c:v>
                </c:pt>
                <c:pt idx="480">
                  <c:v>43066</c:v>
                </c:pt>
                <c:pt idx="481">
                  <c:v>43067</c:v>
                </c:pt>
                <c:pt idx="482">
                  <c:v>43068</c:v>
                </c:pt>
                <c:pt idx="483">
                  <c:v>43069</c:v>
                </c:pt>
                <c:pt idx="484">
                  <c:v>43073</c:v>
                </c:pt>
                <c:pt idx="485">
                  <c:v>43074</c:v>
                </c:pt>
                <c:pt idx="486">
                  <c:v>43075</c:v>
                </c:pt>
                <c:pt idx="487">
                  <c:v>43076</c:v>
                </c:pt>
                <c:pt idx="488">
                  <c:v>43077</c:v>
                </c:pt>
                <c:pt idx="489">
                  <c:v>43080</c:v>
                </c:pt>
                <c:pt idx="490">
                  <c:v>43081</c:v>
                </c:pt>
                <c:pt idx="491">
                  <c:v>43082</c:v>
                </c:pt>
                <c:pt idx="492">
                  <c:v>43083</c:v>
                </c:pt>
                <c:pt idx="493">
                  <c:v>43084</c:v>
                </c:pt>
                <c:pt idx="494">
                  <c:v>43087</c:v>
                </c:pt>
                <c:pt idx="495">
                  <c:v>43088</c:v>
                </c:pt>
                <c:pt idx="496">
                  <c:v>43089</c:v>
                </c:pt>
                <c:pt idx="497">
                  <c:v>43090</c:v>
                </c:pt>
                <c:pt idx="498">
                  <c:v>43091</c:v>
                </c:pt>
                <c:pt idx="499">
                  <c:v>43094</c:v>
                </c:pt>
                <c:pt idx="500">
                  <c:v>43095</c:v>
                </c:pt>
                <c:pt idx="501">
                  <c:v>43096</c:v>
                </c:pt>
                <c:pt idx="502">
                  <c:v>43097</c:v>
                </c:pt>
                <c:pt idx="503">
                  <c:v>43098</c:v>
                </c:pt>
                <c:pt idx="504">
                  <c:v>43102</c:v>
                </c:pt>
                <c:pt idx="505">
                  <c:v>43103</c:v>
                </c:pt>
                <c:pt idx="506">
                  <c:v>43104</c:v>
                </c:pt>
                <c:pt idx="507">
                  <c:v>43105</c:v>
                </c:pt>
                <c:pt idx="508">
                  <c:v>43108</c:v>
                </c:pt>
                <c:pt idx="509">
                  <c:v>43109</c:v>
                </c:pt>
                <c:pt idx="510">
                  <c:v>43110</c:v>
                </c:pt>
                <c:pt idx="511">
                  <c:v>43111</c:v>
                </c:pt>
                <c:pt idx="512">
                  <c:v>43112</c:v>
                </c:pt>
                <c:pt idx="513">
                  <c:v>43115</c:v>
                </c:pt>
                <c:pt idx="514">
                  <c:v>43116</c:v>
                </c:pt>
                <c:pt idx="515">
                  <c:v>43117</c:v>
                </c:pt>
                <c:pt idx="516">
                  <c:v>43118</c:v>
                </c:pt>
                <c:pt idx="517">
                  <c:v>43119</c:v>
                </c:pt>
                <c:pt idx="518">
                  <c:v>43122</c:v>
                </c:pt>
                <c:pt idx="519">
                  <c:v>43123</c:v>
                </c:pt>
                <c:pt idx="520">
                  <c:v>43124</c:v>
                </c:pt>
                <c:pt idx="521">
                  <c:v>43125</c:v>
                </c:pt>
                <c:pt idx="522">
                  <c:v>43126</c:v>
                </c:pt>
                <c:pt idx="523">
                  <c:v>43129</c:v>
                </c:pt>
                <c:pt idx="524">
                  <c:v>43130</c:v>
                </c:pt>
                <c:pt idx="525">
                  <c:v>43131</c:v>
                </c:pt>
                <c:pt idx="526">
                  <c:v>43132</c:v>
                </c:pt>
                <c:pt idx="527">
                  <c:v>43133</c:v>
                </c:pt>
                <c:pt idx="528">
                  <c:v>43136</c:v>
                </c:pt>
                <c:pt idx="529">
                  <c:v>43137</c:v>
                </c:pt>
                <c:pt idx="530">
                  <c:v>43138</c:v>
                </c:pt>
                <c:pt idx="531">
                  <c:v>43139</c:v>
                </c:pt>
                <c:pt idx="532">
                  <c:v>43140</c:v>
                </c:pt>
                <c:pt idx="533">
                  <c:v>43143</c:v>
                </c:pt>
                <c:pt idx="534">
                  <c:v>43144</c:v>
                </c:pt>
                <c:pt idx="535">
                  <c:v>43145</c:v>
                </c:pt>
                <c:pt idx="536">
                  <c:v>43146</c:v>
                </c:pt>
                <c:pt idx="537">
                  <c:v>43147</c:v>
                </c:pt>
                <c:pt idx="538">
                  <c:v>43150</c:v>
                </c:pt>
                <c:pt idx="539">
                  <c:v>43151</c:v>
                </c:pt>
                <c:pt idx="540">
                  <c:v>43152</c:v>
                </c:pt>
                <c:pt idx="541">
                  <c:v>43153</c:v>
                </c:pt>
                <c:pt idx="542">
                  <c:v>43154</c:v>
                </c:pt>
                <c:pt idx="543">
                  <c:v>43157</c:v>
                </c:pt>
                <c:pt idx="544">
                  <c:v>43158</c:v>
                </c:pt>
                <c:pt idx="545">
                  <c:v>43159</c:v>
                </c:pt>
                <c:pt idx="546">
                  <c:v>43160</c:v>
                </c:pt>
                <c:pt idx="547">
                  <c:v>43161</c:v>
                </c:pt>
                <c:pt idx="548">
                  <c:v>43164</c:v>
                </c:pt>
                <c:pt idx="549">
                  <c:v>43165</c:v>
                </c:pt>
                <c:pt idx="550">
                  <c:v>43166</c:v>
                </c:pt>
                <c:pt idx="551">
                  <c:v>43167</c:v>
                </c:pt>
                <c:pt idx="552">
                  <c:v>43168</c:v>
                </c:pt>
                <c:pt idx="553">
                  <c:v>43171</c:v>
                </c:pt>
                <c:pt idx="554">
                  <c:v>43172</c:v>
                </c:pt>
                <c:pt idx="555">
                  <c:v>43173</c:v>
                </c:pt>
                <c:pt idx="556">
                  <c:v>43174</c:v>
                </c:pt>
                <c:pt idx="557">
                  <c:v>43175</c:v>
                </c:pt>
                <c:pt idx="558">
                  <c:v>43178</c:v>
                </c:pt>
                <c:pt idx="559">
                  <c:v>43180</c:v>
                </c:pt>
                <c:pt idx="560">
                  <c:v>43181</c:v>
                </c:pt>
                <c:pt idx="561">
                  <c:v>43182</c:v>
                </c:pt>
                <c:pt idx="562">
                  <c:v>43185</c:v>
                </c:pt>
                <c:pt idx="563">
                  <c:v>43186</c:v>
                </c:pt>
                <c:pt idx="564">
                  <c:v>43187</c:v>
                </c:pt>
                <c:pt idx="565">
                  <c:v>43188</c:v>
                </c:pt>
                <c:pt idx="566">
                  <c:v>43189</c:v>
                </c:pt>
                <c:pt idx="567">
                  <c:v>43192</c:v>
                </c:pt>
                <c:pt idx="568">
                  <c:v>43193</c:v>
                </c:pt>
                <c:pt idx="569">
                  <c:v>43194</c:v>
                </c:pt>
                <c:pt idx="570">
                  <c:v>43195</c:v>
                </c:pt>
                <c:pt idx="571">
                  <c:v>43196</c:v>
                </c:pt>
                <c:pt idx="572">
                  <c:v>43200</c:v>
                </c:pt>
                <c:pt idx="573">
                  <c:v>43201</c:v>
                </c:pt>
                <c:pt idx="574">
                  <c:v>43202</c:v>
                </c:pt>
                <c:pt idx="575">
                  <c:v>43203</c:v>
                </c:pt>
                <c:pt idx="576">
                  <c:v>43206</c:v>
                </c:pt>
                <c:pt idx="577">
                  <c:v>43207</c:v>
                </c:pt>
                <c:pt idx="578">
                  <c:v>43208</c:v>
                </c:pt>
                <c:pt idx="579">
                  <c:v>43209</c:v>
                </c:pt>
                <c:pt idx="580">
                  <c:v>43210</c:v>
                </c:pt>
                <c:pt idx="581">
                  <c:v>43213</c:v>
                </c:pt>
                <c:pt idx="582">
                  <c:v>43214</c:v>
                </c:pt>
                <c:pt idx="583">
                  <c:v>43215</c:v>
                </c:pt>
                <c:pt idx="584">
                  <c:v>43216</c:v>
                </c:pt>
                <c:pt idx="585">
                  <c:v>43217</c:v>
                </c:pt>
                <c:pt idx="586">
                  <c:v>43220</c:v>
                </c:pt>
                <c:pt idx="587">
                  <c:v>43222</c:v>
                </c:pt>
                <c:pt idx="588">
                  <c:v>43223</c:v>
                </c:pt>
                <c:pt idx="589">
                  <c:v>43224</c:v>
                </c:pt>
                <c:pt idx="590">
                  <c:v>43227</c:v>
                </c:pt>
                <c:pt idx="591">
                  <c:v>43228</c:v>
                </c:pt>
                <c:pt idx="592">
                  <c:v>43229</c:v>
                </c:pt>
                <c:pt idx="593">
                  <c:v>43230</c:v>
                </c:pt>
                <c:pt idx="594">
                  <c:v>43231</c:v>
                </c:pt>
                <c:pt idx="595">
                  <c:v>43234</c:v>
                </c:pt>
                <c:pt idx="596">
                  <c:v>43235</c:v>
                </c:pt>
                <c:pt idx="597">
                  <c:v>43236</c:v>
                </c:pt>
                <c:pt idx="598">
                  <c:v>43237</c:v>
                </c:pt>
                <c:pt idx="599">
                  <c:v>43238</c:v>
                </c:pt>
                <c:pt idx="600">
                  <c:v>43241</c:v>
                </c:pt>
                <c:pt idx="601">
                  <c:v>43242</c:v>
                </c:pt>
                <c:pt idx="602">
                  <c:v>43243</c:v>
                </c:pt>
                <c:pt idx="603">
                  <c:v>43244</c:v>
                </c:pt>
                <c:pt idx="604">
                  <c:v>43245</c:v>
                </c:pt>
                <c:pt idx="605">
                  <c:v>43248</c:v>
                </c:pt>
                <c:pt idx="606">
                  <c:v>43249</c:v>
                </c:pt>
                <c:pt idx="607">
                  <c:v>43250</c:v>
                </c:pt>
                <c:pt idx="608">
                  <c:v>43251</c:v>
                </c:pt>
                <c:pt idx="609">
                  <c:v>43252</c:v>
                </c:pt>
                <c:pt idx="610">
                  <c:v>43255</c:v>
                </c:pt>
                <c:pt idx="611">
                  <c:v>43256</c:v>
                </c:pt>
                <c:pt idx="612">
                  <c:v>43257</c:v>
                </c:pt>
                <c:pt idx="613">
                  <c:v>43258</c:v>
                </c:pt>
                <c:pt idx="614">
                  <c:v>43259</c:v>
                </c:pt>
                <c:pt idx="615">
                  <c:v>43262</c:v>
                </c:pt>
                <c:pt idx="616">
                  <c:v>43263</c:v>
                </c:pt>
                <c:pt idx="617">
                  <c:v>43264</c:v>
                </c:pt>
                <c:pt idx="618">
                  <c:v>43265</c:v>
                </c:pt>
                <c:pt idx="619">
                  <c:v>43269</c:v>
                </c:pt>
                <c:pt idx="620">
                  <c:v>43270</c:v>
                </c:pt>
                <c:pt idx="621">
                  <c:v>43271</c:v>
                </c:pt>
                <c:pt idx="622">
                  <c:v>43272</c:v>
                </c:pt>
                <c:pt idx="623">
                  <c:v>43273</c:v>
                </c:pt>
                <c:pt idx="624">
                  <c:v>43276</c:v>
                </c:pt>
                <c:pt idx="625">
                  <c:v>43277</c:v>
                </c:pt>
                <c:pt idx="626">
                  <c:v>43278</c:v>
                </c:pt>
                <c:pt idx="627">
                  <c:v>43279</c:v>
                </c:pt>
                <c:pt idx="628">
                  <c:v>43280</c:v>
                </c:pt>
                <c:pt idx="629">
                  <c:v>43283</c:v>
                </c:pt>
                <c:pt idx="630">
                  <c:v>43284</c:v>
                </c:pt>
                <c:pt idx="631">
                  <c:v>43285</c:v>
                </c:pt>
                <c:pt idx="632">
                  <c:v>43286</c:v>
                </c:pt>
                <c:pt idx="633">
                  <c:v>43287</c:v>
                </c:pt>
                <c:pt idx="634">
                  <c:v>43290</c:v>
                </c:pt>
                <c:pt idx="635">
                  <c:v>43291</c:v>
                </c:pt>
                <c:pt idx="636">
                  <c:v>43292</c:v>
                </c:pt>
                <c:pt idx="637">
                  <c:v>43293</c:v>
                </c:pt>
                <c:pt idx="638">
                  <c:v>43294</c:v>
                </c:pt>
                <c:pt idx="639">
                  <c:v>43297</c:v>
                </c:pt>
                <c:pt idx="640">
                  <c:v>43298</c:v>
                </c:pt>
                <c:pt idx="641">
                  <c:v>43299</c:v>
                </c:pt>
                <c:pt idx="642">
                  <c:v>43300</c:v>
                </c:pt>
                <c:pt idx="643">
                  <c:v>43301</c:v>
                </c:pt>
                <c:pt idx="644">
                  <c:v>43304</c:v>
                </c:pt>
                <c:pt idx="645">
                  <c:v>43305</c:v>
                </c:pt>
                <c:pt idx="646">
                  <c:v>43307</c:v>
                </c:pt>
                <c:pt idx="647">
                  <c:v>43308</c:v>
                </c:pt>
                <c:pt idx="648">
                  <c:v>43311</c:v>
                </c:pt>
                <c:pt idx="649">
                  <c:v>43312</c:v>
                </c:pt>
                <c:pt idx="650">
                  <c:v>43313</c:v>
                </c:pt>
                <c:pt idx="651">
                  <c:v>43314</c:v>
                </c:pt>
                <c:pt idx="652">
                  <c:v>43315</c:v>
                </c:pt>
                <c:pt idx="653">
                  <c:v>43318</c:v>
                </c:pt>
                <c:pt idx="654">
                  <c:v>43319</c:v>
                </c:pt>
                <c:pt idx="655">
                  <c:v>43320</c:v>
                </c:pt>
                <c:pt idx="656">
                  <c:v>43321</c:v>
                </c:pt>
                <c:pt idx="657">
                  <c:v>43322</c:v>
                </c:pt>
                <c:pt idx="658">
                  <c:v>43326</c:v>
                </c:pt>
                <c:pt idx="659">
                  <c:v>43327</c:v>
                </c:pt>
                <c:pt idx="660">
                  <c:v>43328</c:v>
                </c:pt>
                <c:pt idx="661">
                  <c:v>43329</c:v>
                </c:pt>
                <c:pt idx="662">
                  <c:v>43332</c:v>
                </c:pt>
                <c:pt idx="663">
                  <c:v>43335</c:v>
                </c:pt>
                <c:pt idx="664">
                  <c:v>43336</c:v>
                </c:pt>
                <c:pt idx="665">
                  <c:v>43339</c:v>
                </c:pt>
                <c:pt idx="666">
                  <c:v>43340</c:v>
                </c:pt>
                <c:pt idx="667">
                  <c:v>43341</c:v>
                </c:pt>
                <c:pt idx="668">
                  <c:v>43342</c:v>
                </c:pt>
                <c:pt idx="669">
                  <c:v>43343</c:v>
                </c:pt>
                <c:pt idx="670">
                  <c:v>43346</c:v>
                </c:pt>
                <c:pt idx="671">
                  <c:v>43347</c:v>
                </c:pt>
                <c:pt idx="672">
                  <c:v>43348</c:v>
                </c:pt>
                <c:pt idx="673">
                  <c:v>43349</c:v>
                </c:pt>
                <c:pt idx="674">
                  <c:v>43350</c:v>
                </c:pt>
                <c:pt idx="675">
                  <c:v>43353</c:v>
                </c:pt>
                <c:pt idx="676">
                  <c:v>43355</c:v>
                </c:pt>
                <c:pt idx="677">
                  <c:v>43356</c:v>
                </c:pt>
                <c:pt idx="678">
                  <c:v>43357</c:v>
                </c:pt>
                <c:pt idx="679">
                  <c:v>43360</c:v>
                </c:pt>
                <c:pt idx="680">
                  <c:v>43361</c:v>
                </c:pt>
                <c:pt idx="681">
                  <c:v>43362</c:v>
                </c:pt>
                <c:pt idx="682">
                  <c:v>43363</c:v>
                </c:pt>
                <c:pt idx="683">
                  <c:v>43364</c:v>
                </c:pt>
                <c:pt idx="684">
                  <c:v>43367</c:v>
                </c:pt>
                <c:pt idx="685">
                  <c:v>43368</c:v>
                </c:pt>
                <c:pt idx="686">
                  <c:v>43369</c:v>
                </c:pt>
                <c:pt idx="687">
                  <c:v>43370</c:v>
                </c:pt>
                <c:pt idx="688">
                  <c:v>43371</c:v>
                </c:pt>
                <c:pt idx="689">
                  <c:v>43374</c:v>
                </c:pt>
                <c:pt idx="690">
                  <c:v>43375</c:v>
                </c:pt>
                <c:pt idx="691">
                  <c:v>43376</c:v>
                </c:pt>
                <c:pt idx="692">
                  <c:v>43377</c:v>
                </c:pt>
                <c:pt idx="693">
                  <c:v>43378</c:v>
                </c:pt>
                <c:pt idx="694">
                  <c:v>43381</c:v>
                </c:pt>
                <c:pt idx="695">
                  <c:v>43382</c:v>
                </c:pt>
                <c:pt idx="696">
                  <c:v>43383</c:v>
                </c:pt>
                <c:pt idx="697">
                  <c:v>43384</c:v>
                </c:pt>
                <c:pt idx="698">
                  <c:v>43385</c:v>
                </c:pt>
                <c:pt idx="699">
                  <c:v>43389</c:v>
                </c:pt>
                <c:pt idx="700">
                  <c:v>43390</c:v>
                </c:pt>
                <c:pt idx="701">
                  <c:v>43391</c:v>
                </c:pt>
                <c:pt idx="702">
                  <c:v>43392</c:v>
                </c:pt>
                <c:pt idx="703">
                  <c:v>43395</c:v>
                </c:pt>
                <c:pt idx="704">
                  <c:v>43396</c:v>
                </c:pt>
                <c:pt idx="705">
                  <c:v>43397</c:v>
                </c:pt>
                <c:pt idx="706">
                  <c:v>43398</c:v>
                </c:pt>
                <c:pt idx="707">
                  <c:v>43399</c:v>
                </c:pt>
                <c:pt idx="708">
                  <c:v>43402</c:v>
                </c:pt>
                <c:pt idx="709">
                  <c:v>43403</c:v>
                </c:pt>
                <c:pt idx="710">
                  <c:v>43404</c:v>
                </c:pt>
                <c:pt idx="711">
                  <c:v>43405</c:v>
                </c:pt>
                <c:pt idx="712">
                  <c:v>43406</c:v>
                </c:pt>
                <c:pt idx="713">
                  <c:v>43409</c:v>
                </c:pt>
                <c:pt idx="714">
                  <c:v>43410</c:v>
                </c:pt>
                <c:pt idx="715">
                  <c:v>43411</c:v>
                </c:pt>
                <c:pt idx="716">
                  <c:v>43412</c:v>
                </c:pt>
                <c:pt idx="717">
                  <c:v>43413</c:v>
                </c:pt>
                <c:pt idx="718">
                  <c:v>43416</c:v>
                </c:pt>
                <c:pt idx="719">
                  <c:v>43417</c:v>
                </c:pt>
                <c:pt idx="720">
                  <c:v>43418</c:v>
                </c:pt>
                <c:pt idx="721">
                  <c:v>43419</c:v>
                </c:pt>
                <c:pt idx="722">
                  <c:v>43420</c:v>
                </c:pt>
                <c:pt idx="723">
                  <c:v>43423</c:v>
                </c:pt>
                <c:pt idx="724">
                  <c:v>43425</c:v>
                </c:pt>
                <c:pt idx="725">
                  <c:v>43426</c:v>
                </c:pt>
                <c:pt idx="726">
                  <c:v>43427</c:v>
                </c:pt>
                <c:pt idx="727">
                  <c:v>43430</c:v>
                </c:pt>
                <c:pt idx="728">
                  <c:v>43431</c:v>
                </c:pt>
                <c:pt idx="729">
                  <c:v>43432</c:v>
                </c:pt>
                <c:pt idx="730">
                  <c:v>43433</c:v>
                </c:pt>
                <c:pt idx="731">
                  <c:v>43434</c:v>
                </c:pt>
                <c:pt idx="732">
                  <c:v>43437</c:v>
                </c:pt>
                <c:pt idx="733">
                  <c:v>43438</c:v>
                </c:pt>
                <c:pt idx="734">
                  <c:v>43439</c:v>
                </c:pt>
                <c:pt idx="735">
                  <c:v>43440</c:v>
                </c:pt>
                <c:pt idx="736">
                  <c:v>43441</c:v>
                </c:pt>
                <c:pt idx="737">
                  <c:v>43444</c:v>
                </c:pt>
                <c:pt idx="738">
                  <c:v>43445</c:v>
                </c:pt>
                <c:pt idx="739">
                  <c:v>43446</c:v>
                </c:pt>
                <c:pt idx="740">
                  <c:v>43447</c:v>
                </c:pt>
                <c:pt idx="741">
                  <c:v>43448</c:v>
                </c:pt>
                <c:pt idx="742">
                  <c:v>43451</c:v>
                </c:pt>
                <c:pt idx="743">
                  <c:v>43452</c:v>
                </c:pt>
                <c:pt idx="744">
                  <c:v>43453</c:v>
                </c:pt>
                <c:pt idx="745">
                  <c:v>43454</c:v>
                </c:pt>
                <c:pt idx="746">
                  <c:v>43455</c:v>
                </c:pt>
                <c:pt idx="747">
                  <c:v>43458</c:v>
                </c:pt>
                <c:pt idx="748">
                  <c:v>43459</c:v>
                </c:pt>
                <c:pt idx="749">
                  <c:v>43460</c:v>
                </c:pt>
                <c:pt idx="750">
                  <c:v>43461</c:v>
                </c:pt>
                <c:pt idx="751">
                  <c:v>43462</c:v>
                </c:pt>
                <c:pt idx="752">
                  <c:v>43465</c:v>
                </c:pt>
                <c:pt idx="753">
                  <c:v>43467</c:v>
                </c:pt>
                <c:pt idx="754">
                  <c:v>43468</c:v>
                </c:pt>
                <c:pt idx="755">
                  <c:v>43469</c:v>
                </c:pt>
                <c:pt idx="756">
                  <c:v>43472</c:v>
                </c:pt>
                <c:pt idx="757">
                  <c:v>43473</c:v>
                </c:pt>
                <c:pt idx="758">
                  <c:v>43474</c:v>
                </c:pt>
                <c:pt idx="759">
                  <c:v>43475</c:v>
                </c:pt>
                <c:pt idx="760">
                  <c:v>43476</c:v>
                </c:pt>
                <c:pt idx="761">
                  <c:v>43480</c:v>
                </c:pt>
                <c:pt idx="762">
                  <c:v>43481</c:v>
                </c:pt>
                <c:pt idx="763">
                  <c:v>43482</c:v>
                </c:pt>
                <c:pt idx="764">
                  <c:v>43483</c:v>
                </c:pt>
                <c:pt idx="765">
                  <c:v>43486</c:v>
                </c:pt>
                <c:pt idx="766">
                  <c:v>43487</c:v>
                </c:pt>
                <c:pt idx="767">
                  <c:v>43488</c:v>
                </c:pt>
                <c:pt idx="768">
                  <c:v>43489</c:v>
                </c:pt>
                <c:pt idx="769">
                  <c:v>43490</c:v>
                </c:pt>
                <c:pt idx="770">
                  <c:v>43493</c:v>
                </c:pt>
                <c:pt idx="771">
                  <c:v>43494</c:v>
                </c:pt>
                <c:pt idx="772">
                  <c:v>43495</c:v>
                </c:pt>
                <c:pt idx="773">
                  <c:v>43496</c:v>
                </c:pt>
                <c:pt idx="774">
                  <c:v>43497</c:v>
                </c:pt>
                <c:pt idx="775">
                  <c:v>43500</c:v>
                </c:pt>
                <c:pt idx="776">
                  <c:v>43501</c:v>
                </c:pt>
                <c:pt idx="777">
                  <c:v>43502</c:v>
                </c:pt>
                <c:pt idx="778">
                  <c:v>43503</c:v>
                </c:pt>
                <c:pt idx="779">
                  <c:v>43504</c:v>
                </c:pt>
                <c:pt idx="780">
                  <c:v>43507</c:v>
                </c:pt>
                <c:pt idx="781">
                  <c:v>43508</c:v>
                </c:pt>
                <c:pt idx="782">
                  <c:v>43509</c:v>
                </c:pt>
                <c:pt idx="783">
                  <c:v>43510</c:v>
                </c:pt>
                <c:pt idx="784">
                  <c:v>43511</c:v>
                </c:pt>
                <c:pt idx="785">
                  <c:v>43514</c:v>
                </c:pt>
                <c:pt idx="786">
                  <c:v>43515</c:v>
                </c:pt>
                <c:pt idx="787">
                  <c:v>43516</c:v>
                </c:pt>
                <c:pt idx="788">
                  <c:v>43517</c:v>
                </c:pt>
                <c:pt idx="789">
                  <c:v>43518</c:v>
                </c:pt>
                <c:pt idx="790">
                  <c:v>43521</c:v>
                </c:pt>
                <c:pt idx="791">
                  <c:v>43522</c:v>
                </c:pt>
                <c:pt idx="792">
                  <c:v>43523</c:v>
                </c:pt>
                <c:pt idx="793">
                  <c:v>43524</c:v>
                </c:pt>
                <c:pt idx="794">
                  <c:v>43525</c:v>
                </c:pt>
                <c:pt idx="795">
                  <c:v>43528</c:v>
                </c:pt>
                <c:pt idx="796">
                  <c:v>43529</c:v>
                </c:pt>
                <c:pt idx="797">
                  <c:v>43530</c:v>
                </c:pt>
                <c:pt idx="798">
                  <c:v>43531</c:v>
                </c:pt>
                <c:pt idx="799">
                  <c:v>43532</c:v>
                </c:pt>
                <c:pt idx="800">
                  <c:v>43535</c:v>
                </c:pt>
                <c:pt idx="801">
                  <c:v>43536</c:v>
                </c:pt>
                <c:pt idx="802">
                  <c:v>43537</c:v>
                </c:pt>
                <c:pt idx="803">
                  <c:v>43538</c:v>
                </c:pt>
                <c:pt idx="804">
                  <c:v>43539</c:v>
                </c:pt>
                <c:pt idx="805">
                  <c:v>43542</c:v>
                </c:pt>
                <c:pt idx="806">
                  <c:v>43543</c:v>
                </c:pt>
                <c:pt idx="807">
                  <c:v>43545</c:v>
                </c:pt>
                <c:pt idx="808">
                  <c:v>43546</c:v>
                </c:pt>
                <c:pt idx="809">
                  <c:v>43549</c:v>
                </c:pt>
                <c:pt idx="810">
                  <c:v>43550</c:v>
                </c:pt>
                <c:pt idx="811">
                  <c:v>43551</c:v>
                </c:pt>
                <c:pt idx="812">
                  <c:v>43552</c:v>
                </c:pt>
                <c:pt idx="813">
                  <c:v>43553</c:v>
                </c:pt>
                <c:pt idx="814">
                  <c:v>43556</c:v>
                </c:pt>
                <c:pt idx="815">
                  <c:v>43557</c:v>
                </c:pt>
                <c:pt idx="816">
                  <c:v>43558</c:v>
                </c:pt>
                <c:pt idx="817">
                  <c:v>43559</c:v>
                </c:pt>
                <c:pt idx="818">
                  <c:v>43560</c:v>
                </c:pt>
                <c:pt idx="819">
                  <c:v>43563</c:v>
                </c:pt>
                <c:pt idx="820">
                  <c:v>43565</c:v>
                </c:pt>
                <c:pt idx="821">
                  <c:v>43566</c:v>
                </c:pt>
                <c:pt idx="822">
                  <c:v>43567</c:v>
                </c:pt>
                <c:pt idx="823">
                  <c:v>43570</c:v>
                </c:pt>
                <c:pt idx="824">
                  <c:v>43571</c:v>
                </c:pt>
                <c:pt idx="825">
                  <c:v>43572</c:v>
                </c:pt>
                <c:pt idx="826">
                  <c:v>43573</c:v>
                </c:pt>
                <c:pt idx="827">
                  <c:v>43574</c:v>
                </c:pt>
                <c:pt idx="828">
                  <c:v>43577</c:v>
                </c:pt>
                <c:pt idx="829">
                  <c:v>43578</c:v>
                </c:pt>
                <c:pt idx="830">
                  <c:v>43579</c:v>
                </c:pt>
                <c:pt idx="831">
                  <c:v>43580</c:v>
                </c:pt>
                <c:pt idx="832">
                  <c:v>43581</c:v>
                </c:pt>
                <c:pt idx="833">
                  <c:v>43584</c:v>
                </c:pt>
                <c:pt idx="834">
                  <c:v>43585</c:v>
                </c:pt>
                <c:pt idx="835">
                  <c:v>43587</c:v>
                </c:pt>
                <c:pt idx="836">
                  <c:v>43588</c:v>
                </c:pt>
                <c:pt idx="837">
                  <c:v>43591</c:v>
                </c:pt>
                <c:pt idx="838">
                  <c:v>43592</c:v>
                </c:pt>
                <c:pt idx="839">
                  <c:v>43593</c:v>
                </c:pt>
                <c:pt idx="840">
                  <c:v>43594</c:v>
                </c:pt>
                <c:pt idx="841">
                  <c:v>43595</c:v>
                </c:pt>
                <c:pt idx="842">
                  <c:v>43598</c:v>
                </c:pt>
                <c:pt idx="843">
                  <c:v>43599</c:v>
                </c:pt>
                <c:pt idx="844">
                  <c:v>43600</c:v>
                </c:pt>
                <c:pt idx="845">
                  <c:v>43601</c:v>
                </c:pt>
                <c:pt idx="846">
                  <c:v>43602</c:v>
                </c:pt>
                <c:pt idx="847">
                  <c:v>43605</c:v>
                </c:pt>
                <c:pt idx="848">
                  <c:v>43606</c:v>
                </c:pt>
                <c:pt idx="849">
                  <c:v>43607</c:v>
                </c:pt>
                <c:pt idx="850">
                  <c:v>43608</c:v>
                </c:pt>
                <c:pt idx="851">
                  <c:v>43609</c:v>
                </c:pt>
                <c:pt idx="852">
                  <c:v>43612</c:v>
                </c:pt>
                <c:pt idx="853">
                  <c:v>43613</c:v>
                </c:pt>
                <c:pt idx="854">
                  <c:v>43614</c:v>
                </c:pt>
                <c:pt idx="855">
                  <c:v>43615</c:v>
                </c:pt>
                <c:pt idx="856">
                  <c:v>43616</c:v>
                </c:pt>
                <c:pt idx="857">
                  <c:v>43619</c:v>
                </c:pt>
                <c:pt idx="858">
                  <c:v>43623</c:v>
                </c:pt>
                <c:pt idx="859">
                  <c:v>43626</c:v>
                </c:pt>
                <c:pt idx="860">
                  <c:v>43627</c:v>
                </c:pt>
                <c:pt idx="861">
                  <c:v>43628</c:v>
                </c:pt>
                <c:pt idx="862">
                  <c:v>43629</c:v>
                </c:pt>
                <c:pt idx="863">
                  <c:v>43630</c:v>
                </c:pt>
                <c:pt idx="864">
                  <c:v>43633</c:v>
                </c:pt>
                <c:pt idx="865">
                  <c:v>43634</c:v>
                </c:pt>
                <c:pt idx="866">
                  <c:v>43635</c:v>
                </c:pt>
                <c:pt idx="867">
                  <c:v>43636</c:v>
                </c:pt>
                <c:pt idx="868">
                  <c:v>43637</c:v>
                </c:pt>
                <c:pt idx="869">
                  <c:v>43640</c:v>
                </c:pt>
                <c:pt idx="870">
                  <c:v>43641</c:v>
                </c:pt>
                <c:pt idx="871">
                  <c:v>43642</c:v>
                </c:pt>
                <c:pt idx="872">
                  <c:v>43643</c:v>
                </c:pt>
                <c:pt idx="873">
                  <c:v>43644</c:v>
                </c:pt>
                <c:pt idx="874">
                  <c:v>43647</c:v>
                </c:pt>
                <c:pt idx="875">
                  <c:v>43648</c:v>
                </c:pt>
                <c:pt idx="876">
                  <c:v>43649</c:v>
                </c:pt>
                <c:pt idx="877">
                  <c:v>43650</c:v>
                </c:pt>
                <c:pt idx="878">
                  <c:v>43651</c:v>
                </c:pt>
                <c:pt idx="879">
                  <c:v>43654</c:v>
                </c:pt>
                <c:pt idx="880">
                  <c:v>43655</c:v>
                </c:pt>
                <c:pt idx="881">
                  <c:v>43656</c:v>
                </c:pt>
                <c:pt idx="882">
                  <c:v>43657</c:v>
                </c:pt>
                <c:pt idx="883">
                  <c:v>43658</c:v>
                </c:pt>
                <c:pt idx="884">
                  <c:v>43661</c:v>
                </c:pt>
                <c:pt idx="885">
                  <c:v>43662</c:v>
                </c:pt>
                <c:pt idx="886">
                  <c:v>43663</c:v>
                </c:pt>
                <c:pt idx="887">
                  <c:v>43664</c:v>
                </c:pt>
                <c:pt idx="888">
                  <c:v>43665</c:v>
                </c:pt>
                <c:pt idx="889">
                  <c:v>43668</c:v>
                </c:pt>
                <c:pt idx="890">
                  <c:v>43669</c:v>
                </c:pt>
                <c:pt idx="891">
                  <c:v>43670</c:v>
                </c:pt>
                <c:pt idx="892">
                  <c:v>43672</c:v>
                </c:pt>
                <c:pt idx="893">
                  <c:v>43675</c:v>
                </c:pt>
                <c:pt idx="894">
                  <c:v>43676</c:v>
                </c:pt>
                <c:pt idx="895">
                  <c:v>43677</c:v>
                </c:pt>
                <c:pt idx="896">
                  <c:v>43678</c:v>
                </c:pt>
                <c:pt idx="897">
                  <c:v>43679</c:v>
                </c:pt>
                <c:pt idx="898">
                  <c:v>43682</c:v>
                </c:pt>
                <c:pt idx="899">
                  <c:v>43683</c:v>
                </c:pt>
                <c:pt idx="900">
                  <c:v>43684</c:v>
                </c:pt>
                <c:pt idx="901">
                  <c:v>43685</c:v>
                </c:pt>
                <c:pt idx="902">
                  <c:v>43686</c:v>
                </c:pt>
                <c:pt idx="903">
                  <c:v>43691</c:v>
                </c:pt>
                <c:pt idx="904">
                  <c:v>43692</c:v>
                </c:pt>
                <c:pt idx="905">
                  <c:v>43693</c:v>
                </c:pt>
                <c:pt idx="906">
                  <c:v>43696</c:v>
                </c:pt>
                <c:pt idx="907">
                  <c:v>43697</c:v>
                </c:pt>
                <c:pt idx="908">
                  <c:v>43698</c:v>
                </c:pt>
                <c:pt idx="909">
                  <c:v>43699</c:v>
                </c:pt>
                <c:pt idx="910">
                  <c:v>43700</c:v>
                </c:pt>
                <c:pt idx="911">
                  <c:v>43703</c:v>
                </c:pt>
                <c:pt idx="912">
                  <c:v>43704</c:v>
                </c:pt>
                <c:pt idx="913">
                  <c:v>43705</c:v>
                </c:pt>
                <c:pt idx="914">
                  <c:v>43706</c:v>
                </c:pt>
                <c:pt idx="915">
                  <c:v>43707</c:v>
                </c:pt>
                <c:pt idx="916">
                  <c:v>43710</c:v>
                </c:pt>
                <c:pt idx="917">
                  <c:v>43711</c:v>
                </c:pt>
                <c:pt idx="918">
                  <c:v>43712</c:v>
                </c:pt>
                <c:pt idx="919">
                  <c:v>43713</c:v>
                </c:pt>
                <c:pt idx="920">
                  <c:v>43714</c:v>
                </c:pt>
                <c:pt idx="921">
                  <c:v>43717</c:v>
                </c:pt>
                <c:pt idx="922">
                  <c:v>43718</c:v>
                </c:pt>
                <c:pt idx="923">
                  <c:v>43719</c:v>
                </c:pt>
                <c:pt idx="924">
                  <c:v>43720</c:v>
                </c:pt>
                <c:pt idx="925">
                  <c:v>43721</c:v>
                </c:pt>
                <c:pt idx="926">
                  <c:v>43724</c:v>
                </c:pt>
                <c:pt idx="927">
                  <c:v>43725</c:v>
                </c:pt>
                <c:pt idx="928">
                  <c:v>43726</c:v>
                </c:pt>
                <c:pt idx="929">
                  <c:v>43727</c:v>
                </c:pt>
                <c:pt idx="930">
                  <c:v>43728</c:v>
                </c:pt>
                <c:pt idx="931">
                  <c:v>43731</c:v>
                </c:pt>
                <c:pt idx="932">
                  <c:v>43732</c:v>
                </c:pt>
                <c:pt idx="933">
                  <c:v>43733</c:v>
                </c:pt>
                <c:pt idx="934">
                  <c:v>43734</c:v>
                </c:pt>
                <c:pt idx="935">
                  <c:v>43735</c:v>
                </c:pt>
                <c:pt idx="936">
                  <c:v>43738</c:v>
                </c:pt>
                <c:pt idx="937">
                  <c:v>43739</c:v>
                </c:pt>
                <c:pt idx="938">
                  <c:v>43740</c:v>
                </c:pt>
                <c:pt idx="939">
                  <c:v>43741</c:v>
                </c:pt>
                <c:pt idx="940">
                  <c:v>43742</c:v>
                </c:pt>
                <c:pt idx="941">
                  <c:v>43745</c:v>
                </c:pt>
                <c:pt idx="942">
                  <c:v>43746</c:v>
                </c:pt>
                <c:pt idx="943">
                  <c:v>43747</c:v>
                </c:pt>
                <c:pt idx="944">
                  <c:v>43748</c:v>
                </c:pt>
                <c:pt idx="945">
                  <c:v>43749</c:v>
                </c:pt>
                <c:pt idx="946">
                  <c:v>43752</c:v>
                </c:pt>
                <c:pt idx="947">
                  <c:v>43754</c:v>
                </c:pt>
                <c:pt idx="948">
                  <c:v>43755</c:v>
                </c:pt>
                <c:pt idx="949">
                  <c:v>43756</c:v>
                </c:pt>
                <c:pt idx="950">
                  <c:v>43759</c:v>
                </c:pt>
                <c:pt idx="951">
                  <c:v>43760</c:v>
                </c:pt>
                <c:pt idx="952">
                  <c:v>43761</c:v>
                </c:pt>
                <c:pt idx="953">
                  <c:v>43762</c:v>
                </c:pt>
                <c:pt idx="954">
                  <c:v>43763</c:v>
                </c:pt>
                <c:pt idx="955">
                  <c:v>43766</c:v>
                </c:pt>
                <c:pt idx="956">
                  <c:v>43767</c:v>
                </c:pt>
                <c:pt idx="957">
                  <c:v>43768</c:v>
                </c:pt>
                <c:pt idx="958">
                  <c:v>43769</c:v>
                </c:pt>
                <c:pt idx="959">
                  <c:v>43770</c:v>
                </c:pt>
                <c:pt idx="960">
                  <c:v>43773</c:v>
                </c:pt>
                <c:pt idx="961">
                  <c:v>43774</c:v>
                </c:pt>
                <c:pt idx="962">
                  <c:v>43775</c:v>
                </c:pt>
                <c:pt idx="963">
                  <c:v>43776</c:v>
                </c:pt>
                <c:pt idx="964">
                  <c:v>43777</c:v>
                </c:pt>
                <c:pt idx="965">
                  <c:v>43780</c:v>
                </c:pt>
                <c:pt idx="966">
                  <c:v>43781</c:v>
                </c:pt>
              </c:numCache>
            </c:numRef>
          </c:cat>
          <c:val>
            <c:numRef>
              <c:f>Feuil1!$E$5:$AKJ$5</c:f>
              <c:numCache>
                <c:formatCode>General</c:formatCode>
                <c:ptCount val="967"/>
                <c:pt idx="13">
                  <c:v>2.1472000000000002</c:v>
                </c:pt>
                <c:pt idx="14">
                  <c:v>2.1472000000000002</c:v>
                </c:pt>
                <c:pt idx="15">
                  <c:v>2.1472000000000002</c:v>
                </c:pt>
                <c:pt idx="16">
                  <c:v>2.1472000000000002</c:v>
                </c:pt>
                <c:pt idx="17">
                  <c:v>2.1472000000000002</c:v>
                </c:pt>
                <c:pt idx="18">
                  <c:v>2.1472000000000002</c:v>
                </c:pt>
                <c:pt idx="19">
                  <c:v>2.1472000000000002</c:v>
                </c:pt>
                <c:pt idx="20">
                  <c:v>2.1472000000000002</c:v>
                </c:pt>
                <c:pt idx="21">
                  <c:v>2.1472000000000002</c:v>
                </c:pt>
                <c:pt idx="22">
                  <c:v>2.1472000000000002</c:v>
                </c:pt>
                <c:pt idx="23">
                  <c:v>2.1472000000000002</c:v>
                </c:pt>
                <c:pt idx="24">
                  <c:v>2.1472000000000002</c:v>
                </c:pt>
                <c:pt idx="25">
                  <c:v>2.1472000000000002</c:v>
                </c:pt>
                <c:pt idx="26">
                  <c:v>2.1472000000000002</c:v>
                </c:pt>
                <c:pt idx="27">
                  <c:v>2.1472000000000002</c:v>
                </c:pt>
                <c:pt idx="28">
                  <c:v>2.1472000000000002</c:v>
                </c:pt>
                <c:pt idx="29">
                  <c:v>2.1472000000000002</c:v>
                </c:pt>
                <c:pt idx="30">
                  <c:v>2.1472000000000002</c:v>
                </c:pt>
                <c:pt idx="31">
                  <c:v>2.1472000000000002</c:v>
                </c:pt>
                <c:pt idx="32">
                  <c:v>2.1472000000000002</c:v>
                </c:pt>
                <c:pt idx="33">
                  <c:v>2.1472000000000002</c:v>
                </c:pt>
                <c:pt idx="34">
                  <c:v>2.1472000000000002</c:v>
                </c:pt>
                <c:pt idx="35">
                  <c:v>2.1472000000000002</c:v>
                </c:pt>
                <c:pt idx="36">
                  <c:v>2.1472000000000002</c:v>
                </c:pt>
                <c:pt idx="37">
                  <c:v>2.1472000000000002</c:v>
                </c:pt>
                <c:pt idx="38">
                  <c:v>2.1472000000000002</c:v>
                </c:pt>
                <c:pt idx="39">
                  <c:v>2.1472000000000002</c:v>
                </c:pt>
                <c:pt idx="40">
                  <c:v>2.1472000000000002</c:v>
                </c:pt>
                <c:pt idx="41">
                  <c:v>2.1472000000000002</c:v>
                </c:pt>
                <c:pt idx="42">
                  <c:v>2.1472000000000002</c:v>
                </c:pt>
                <c:pt idx="43">
                  <c:v>2.1472000000000002</c:v>
                </c:pt>
                <c:pt idx="44">
                  <c:v>2.1472000000000002</c:v>
                </c:pt>
                <c:pt idx="45">
                  <c:v>2.1472000000000002</c:v>
                </c:pt>
                <c:pt idx="46">
                  <c:v>2.1472000000000002</c:v>
                </c:pt>
                <c:pt idx="47">
                  <c:v>2.1472000000000002</c:v>
                </c:pt>
                <c:pt idx="48">
                  <c:v>2.1472000000000002</c:v>
                </c:pt>
                <c:pt idx="49">
                  <c:v>2.1472000000000002</c:v>
                </c:pt>
                <c:pt idx="50">
                  <c:v>2.1472000000000002</c:v>
                </c:pt>
                <c:pt idx="51">
                  <c:v>2.1472000000000002</c:v>
                </c:pt>
                <c:pt idx="52">
                  <c:v>2.1472000000000002</c:v>
                </c:pt>
                <c:pt idx="53">
                  <c:v>2.1472000000000002</c:v>
                </c:pt>
                <c:pt idx="54">
                  <c:v>2.1472000000000002</c:v>
                </c:pt>
                <c:pt idx="55">
                  <c:v>2.1472000000000002</c:v>
                </c:pt>
                <c:pt idx="56">
                  <c:v>2.1472000000000002</c:v>
                </c:pt>
                <c:pt idx="57">
                  <c:v>2.1472000000000002</c:v>
                </c:pt>
                <c:pt idx="58">
                  <c:v>2.1472000000000002</c:v>
                </c:pt>
                <c:pt idx="59">
                  <c:v>2.1472000000000002</c:v>
                </c:pt>
                <c:pt idx="60">
                  <c:v>2.1472000000000002</c:v>
                </c:pt>
                <c:pt idx="61">
                  <c:v>2.1472000000000002</c:v>
                </c:pt>
                <c:pt idx="62">
                  <c:v>2.1472000000000002</c:v>
                </c:pt>
                <c:pt idx="63">
                  <c:v>2.1472000000000002</c:v>
                </c:pt>
                <c:pt idx="64">
                  <c:v>2.1472000000000002</c:v>
                </c:pt>
                <c:pt idx="65">
                  <c:v>2.1472000000000002</c:v>
                </c:pt>
                <c:pt idx="66">
                  <c:v>2.1472000000000002</c:v>
                </c:pt>
                <c:pt idx="67">
                  <c:v>2.1472000000000002</c:v>
                </c:pt>
                <c:pt idx="68">
                  <c:v>2.1472000000000002</c:v>
                </c:pt>
                <c:pt idx="69">
                  <c:v>2.1472000000000002</c:v>
                </c:pt>
                <c:pt idx="70">
                  <c:v>2.1472000000000002</c:v>
                </c:pt>
                <c:pt idx="71">
                  <c:v>2.1472000000000002</c:v>
                </c:pt>
                <c:pt idx="72">
                  <c:v>2.1472000000000002</c:v>
                </c:pt>
                <c:pt idx="73">
                  <c:v>2.1472000000000002</c:v>
                </c:pt>
                <c:pt idx="74">
                  <c:v>2.1472000000000002</c:v>
                </c:pt>
                <c:pt idx="75">
                  <c:v>2.1472000000000002</c:v>
                </c:pt>
                <c:pt idx="76">
                  <c:v>2.1472000000000002</c:v>
                </c:pt>
                <c:pt idx="77">
                  <c:v>2.1472000000000002</c:v>
                </c:pt>
                <c:pt idx="78">
                  <c:v>2.1472000000000002</c:v>
                </c:pt>
                <c:pt idx="79">
                  <c:v>2.1472000000000002</c:v>
                </c:pt>
                <c:pt idx="80">
                  <c:v>2.1472000000000002</c:v>
                </c:pt>
                <c:pt idx="81">
                  <c:v>2.1472000000000002</c:v>
                </c:pt>
                <c:pt idx="82">
                  <c:v>2.1472000000000002</c:v>
                </c:pt>
                <c:pt idx="83">
                  <c:v>2.1472000000000002</c:v>
                </c:pt>
                <c:pt idx="84">
                  <c:v>2.1472000000000002</c:v>
                </c:pt>
                <c:pt idx="85">
                  <c:v>2.1472000000000002</c:v>
                </c:pt>
                <c:pt idx="86">
                  <c:v>2.1472000000000002</c:v>
                </c:pt>
                <c:pt idx="87">
                  <c:v>2.1472000000000002</c:v>
                </c:pt>
                <c:pt idx="88">
                  <c:v>2.1472000000000002</c:v>
                </c:pt>
                <c:pt idx="89">
                  <c:v>2.1472000000000002</c:v>
                </c:pt>
                <c:pt idx="90">
                  <c:v>2.1472000000000002</c:v>
                </c:pt>
                <c:pt idx="91">
                  <c:v>2.1472000000000002</c:v>
                </c:pt>
                <c:pt idx="92">
                  <c:v>2.1472000000000002</c:v>
                </c:pt>
                <c:pt idx="93">
                  <c:v>2.1472000000000002</c:v>
                </c:pt>
                <c:pt idx="94">
                  <c:v>2.1472000000000002</c:v>
                </c:pt>
                <c:pt idx="95">
                  <c:v>2.1472000000000002</c:v>
                </c:pt>
                <c:pt idx="96">
                  <c:v>2.1472000000000002</c:v>
                </c:pt>
                <c:pt idx="97">
                  <c:v>2.1472000000000002</c:v>
                </c:pt>
                <c:pt idx="98">
                  <c:v>2.1472000000000002</c:v>
                </c:pt>
                <c:pt idx="99">
                  <c:v>2.1472000000000002</c:v>
                </c:pt>
                <c:pt idx="100">
                  <c:v>2.1472000000000002</c:v>
                </c:pt>
                <c:pt idx="101">
                  <c:v>2.1472000000000002</c:v>
                </c:pt>
                <c:pt idx="102">
                  <c:v>2.1472000000000002</c:v>
                </c:pt>
                <c:pt idx="103">
                  <c:v>2.1472000000000002</c:v>
                </c:pt>
                <c:pt idx="104">
                  <c:v>2.1472000000000002</c:v>
                </c:pt>
                <c:pt idx="105">
                  <c:v>2.1472000000000002</c:v>
                </c:pt>
                <c:pt idx="106">
                  <c:v>2.1472000000000002</c:v>
                </c:pt>
                <c:pt idx="107">
                  <c:v>2.1472000000000002</c:v>
                </c:pt>
                <c:pt idx="108">
                  <c:v>2.1472000000000002</c:v>
                </c:pt>
                <c:pt idx="109">
                  <c:v>2.1472000000000002</c:v>
                </c:pt>
                <c:pt idx="110">
                  <c:v>2.1472000000000002</c:v>
                </c:pt>
                <c:pt idx="111">
                  <c:v>2.1472000000000002</c:v>
                </c:pt>
                <c:pt idx="112">
                  <c:v>2.1472000000000002</c:v>
                </c:pt>
                <c:pt idx="113">
                  <c:v>2.1472000000000002</c:v>
                </c:pt>
                <c:pt idx="114">
                  <c:v>2.1472000000000002</c:v>
                </c:pt>
                <c:pt idx="115">
                  <c:v>2.1472000000000002</c:v>
                </c:pt>
                <c:pt idx="116">
                  <c:v>2.1472000000000002</c:v>
                </c:pt>
                <c:pt idx="117">
                  <c:v>2.1472000000000002</c:v>
                </c:pt>
                <c:pt idx="118">
                  <c:v>2.1472000000000002</c:v>
                </c:pt>
                <c:pt idx="119">
                  <c:v>2.1472000000000002</c:v>
                </c:pt>
                <c:pt idx="120">
                  <c:v>2.1472000000000002</c:v>
                </c:pt>
                <c:pt idx="121">
                  <c:v>2.1472000000000002</c:v>
                </c:pt>
                <c:pt idx="122">
                  <c:v>2.1472000000000002</c:v>
                </c:pt>
                <c:pt idx="123">
                  <c:v>2.1472000000000002</c:v>
                </c:pt>
                <c:pt idx="124">
                  <c:v>2.1472000000000002</c:v>
                </c:pt>
                <c:pt idx="125">
                  <c:v>2.1472000000000002</c:v>
                </c:pt>
                <c:pt idx="126">
                  <c:v>2.1472000000000002</c:v>
                </c:pt>
                <c:pt idx="127">
                  <c:v>2.1472000000000002</c:v>
                </c:pt>
                <c:pt idx="128">
                  <c:v>2.1472000000000002</c:v>
                </c:pt>
                <c:pt idx="129">
                  <c:v>2.1472000000000002</c:v>
                </c:pt>
                <c:pt idx="130">
                  <c:v>2.1472000000000002</c:v>
                </c:pt>
                <c:pt idx="131">
                  <c:v>2.1472000000000002</c:v>
                </c:pt>
                <c:pt idx="132">
                  <c:v>2.1472000000000002</c:v>
                </c:pt>
                <c:pt idx="133">
                  <c:v>2.1472000000000002</c:v>
                </c:pt>
                <c:pt idx="134">
                  <c:v>2.1472000000000002</c:v>
                </c:pt>
                <c:pt idx="135">
                  <c:v>2.1472000000000002</c:v>
                </c:pt>
                <c:pt idx="136">
                  <c:v>2.1472000000000002</c:v>
                </c:pt>
                <c:pt idx="137">
                  <c:v>2.1472000000000002</c:v>
                </c:pt>
                <c:pt idx="138">
                  <c:v>2.1472000000000002</c:v>
                </c:pt>
                <c:pt idx="139">
                  <c:v>2.1472000000000002</c:v>
                </c:pt>
                <c:pt idx="140">
                  <c:v>2.1472000000000002</c:v>
                </c:pt>
                <c:pt idx="141">
                  <c:v>2.1472000000000002</c:v>
                </c:pt>
                <c:pt idx="142">
                  <c:v>2.1472000000000002</c:v>
                </c:pt>
                <c:pt idx="143">
                  <c:v>2.1472000000000002</c:v>
                </c:pt>
                <c:pt idx="144">
                  <c:v>2.1472000000000002</c:v>
                </c:pt>
                <c:pt idx="145">
                  <c:v>2.1472000000000002</c:v>
                </c:pt>
                <c:pt idx="146">
                  <c:v>2.1472000000000002</c:v>
                </c:pt>
                <c:pt idx="147">
                  <c:v>2.1472000000000002</c:v>
                </c:pt>
                <c:pt idx="148">
                  <c:v>2.1472000000000002</c:v>
                </c:pt>
                <c:pt idx="149">
                  <c:v>2.1472000000000002</c:v>
                </c:pt>
                <c:pt idx="150">
                  <c:v>2.1472000000000002</c:v>
                </c:pt>
                <c:pt idx="151">
                  <c:v>2.1472000000000002</c:v>
                </c:pt>
                <c:pt idx="152">
                  <c:v>2.1472000000000002</c:v>
                </c:pt>
                <c:pt idx="153">
                  <c:v>2.1472000000000002</c:v>
                </c:pt>
                <c:pt idx="154">
                  <c:v>2.1472000000000002</c:v>
                </c:pt>
                <c:pt idx="155">
                  <c:v>2.1472000000000002</c:v>
                </c:pt>
                <c:pt idx="156">
                  <c:v>2.1472000000000002</c:v>
                </c:pt>
                <c:pt idx="157">
                  <c:v>2.1472000000000002</c:v>
                </c:pt>
                <c:pt idx="158">
                  <c:v>2.1472000000000002</c:v>
                </c:pt>
                <c:pt idx="159">
                  <c:v>2.1472000000000002</c:v>
                </c:pt>
                <c:pt idx="160">
                  <c:v>2.1472000000000002</c:v>
                </c:pt>
                <c:pt idx="161">
                  <c:v>2.1472000000000002</c:v>
                </c:pt>
                <c:pt idx="162">
                  <c:v>2.1472000000000002</c:v>
                </c:pt>
                <c:pt idx="163">
                  <c:v>2.1472000000000002</c:v>
                </c:pt>
                <c:pt idx="164">
                  <c:v>2.1472000000000002</c:v>
                </c:pt>
                <c:pt idx="165">
                  <c:v>2.1472000000000002</c:v>
                </c:pt>
                <c:pt idx="166">
                  <c:v>2.1472000000000002</c:v>
                </c:pt>
                <c:pt idx="167">
                  <c:v>2.1472000000000002</c:v>
                </c:pt>
                <c:pt idx="168">
                  <c:v>2.1472000000000002</c:v>
                </c:pt>
                <c:pt idx="169">
                  <c:v>2.1472000000000002</c:v>
                </c:pt>
                <c:pt idx="170">
                  <c:v>2.1472000000000002</c:v>
                </c:pt>
                <c:pt idx="171">
                  <c:v>2.1472000000000002</c:v>
                </c:pt>
                <c:pt idx="172">
                  <c:v>2.1472000000000002</c:v>
                </c:pt>
                <c:pt idx="173">
                  <c:v>2.1472000000000002</c:v>
                </c:pt>
                <c:pt idx="174">
                  <c:v>2.1472000000000002</c:v>
                </c:pt>
                <c:pt idx="175">
                  <c:v>2.1472000000000002</c:v>
                </c:pt>
                <c:pt idx="176">
                  <c:v>2.1472000000000002</c:v>
                </c:pt>
                <c:pt idx="177">
                  <c:v>2.1472000000000002</c:v>
                </c:pt>
                <c:pt idx="178">
                  <c:v>2.1472000000000002</c:v>
                </c:pt>
                <c:pt idx="179">
                  <c:v>2.1472000000000002</c:v>
                </c:pt>
                <c:pt idx="180">
                  <c:v>2.1472000000000002</c:v>
                </c:pt>
                <c:pt idx="181">
                  <c:v>2.1472000000000002</c:v>
                </c:pt>
                <c:pt idx="182">
                  <c:v>2.1472000000000002</c:v>
                </c:pt>
                <c:pt idx="183">
                  <c:v>2.1472000000000002</c:v>
                </c:pt>
                <c:pt idx="184">
                  <c:v>2.1472000000000002</c:v>
                </c:pt>
                <c:pt idx="185">
                  <c:v>2.1472000000000002</c:v>
                </c:pt>
                <c:pt idx="186">
                  <c:v>2.1472000000000002</c:v>
                </c:pt>
                <c:pt idx="187">
                  <c:v>2.1472000000000002</c:v>
                </c:pt>
                <c:pt idx="188">
                  <c:v>2.1472000000000002</c:v>
                </c:pt>
                <c:pt idx="189">
                  <c:v>2.1472000000000002</c:v>
                </c:pt>
                <c:pt idx="190">
                  <c:v>2.1472000000000002</c:v>
                </c:pt>
                <c:pt idx="191">
                  <c:v>2.1472000000000002</c:v>
                </c:pt>
                <c:pt idx="192">
                  <c:v>2.1472000000000002</c:v>
                </c:pt>
                <c:pt idx="193">
                  <c:v>2.1472000000000002</c:v>
                </c:pt>
                <c:pt idx="194">
                  <c:v>2.1472000000000002</c:v>
                </c:pt>
                <c:pt idx="195">
                  <c:v>2.1472000000000002</c:v>
                </c:pt>
                <c:pt idx="196">
                  <c:v>2.1472000000000002</c:v>
                </c:pt>
                <c:pt idx="197">
                  <c:v>2.1472000000000002</c:v>
                </c:pt>
                <c:pt idx="198">
                  <c:v>2.1472000000000002</c:v>
                </c:pt>
                <c:pt idx="199">
                  <c:v>2.1472000000000002</c:v>
                </c:pt>
                <c:pt idx="200">
                  <c:v>2.1472000000000002</c:v>
                </c:pt>
                <c:pt idx="201">
                  <c:v>2.1472000000000002</c:v>
                </c:pt>
                <c:pt idx="202">
                  <c:v>2.1472000000000002</c:v>
                </c:pt>
                <c:pt idx="203">
                  <c:v>2.1472000000000002</c:v>
                </c:pt>
                <c:pt idx="204">
                  <c:v>2.1472000000000002</c:v>
                </c:pt>
                <c:pt idx="205">
                  <c:v>2.1472000000000002</c:v>
                </c:pt>
                <c:pt idx="206">
                  <c:v>2.1472000000000002</c:v>
                </c:pt>
                <c:pt idx="207">
                  <c:v>2.1472000000000002</c:v>
                </c:pt>
                <c:pt idx="208">
                  <c:v>2.1472000000000002</c:v>
                </c:pt>
                <c:pt idx="209">
                  <c:v>2.1472000000000002</c:v>
                </c:pt>
                <c:pt idx="210">
                  <c:v>2.1472000000000002</c:v>
                </c:pt>
                <c:pt idx="211">
                  <c:v>2.1472000000000002</c:v>
                </c:pt>
                <c:pt idx="212">
                  <c:v>2.1472000000000002</c:v>
                </c:pt>
                <c:pt idx="213">
                  <c:v>2.1472000000000002</c:v>
                </c:pt>
                <c:pt idx="214">
                  <c:v>2.1472000000000002</c:v>
                </c:pt>
                <c:pt idx="215">
                  <c:v>2.1472000000000002</c:v>
                </c:pt>
                <c:pt idx="216">
                  <c:v>2.1472000000000002</c:v>
                </c:pt>
                <c:pt idx="217">
                  <c:v>2.1472000000000002</c:v>
                </c:pt>
                <c:pt idx="218">
                  <c:v>2.1472000000000002</c:v>
                </c:pt>
                <c:pt idx="219">
                  <c:v>2.1472000000000002</c:v>
                </c:pt>
                <c:pt idx="220">
                  <c:v>2.1472000000000002</c:v>
                </c:pt>
                <c:pt idx="221">
                  <c:v>2.1472000000000002</c:v>
                </c:pt>
                <c:pt idx="222">
                  <c:v>2.1472000000000002</c:v>
                </c:pt>
                <c:pt idx="223">
                  <c:v>2.1472000000000002</c:v>
                </c:pt>
                <c:pt idx="224">
                  <c:v>2.1472000000000002</c:v>
                </c:pt>
                <c:pt idx="225">
                  <c:v>2.1472000000000002</c:v>
                </c:pt>
                <c:pt idx="226">
                  <c:v>2.1472000000000002</c:v>
                </c:pt>
                <c:pt idx="227">
                  <c:v>2.1472000000000002</c:v>
                </c:pt>
                <c:pt idx="228">
                  <c:v>2.1472000000000002</c:v>
                </c:pt>
                <c:pt idx="229">
                  <c:v>2.1472000000000002</c:v>
                </c:pt>
                <c:pt idx="230">
                  <c:v>2.1472000000000002</c:v>
                </c:pt>
                <c:pt idx="231">
                  <c:v>2.1472000000000002</c:v>
                </c:pt>
                <c:pt idx="232">
                  <c:v>2.1472000000000002</c:v>
                </c:pt>
                <c:pt idx="233">
                  <c:v>2.1472000000000002</c:v>
                </c:pt>
                <c:pt idx="234">
                  <c:v>2.1472000000000002</c:v>
                </c:pt>
                <c:pt idx="235">
                  <c:v>2.1472000000000002</c:v>
                </c:pt>
                <c:pt idx="236">
                  <c:v>2.1472000000000002</c:v>
                </c:pt>
                <c:pt idx="237">
                  <c:v>2.1472000000000002</c:v>
                </c:pt>
                <c:pt idx="238">
                  <c:v>2.1472000000000002</c:v>
                </c:pt>
                <c:pt idx="239">
                  <c:v>2.1472000000000002</c:v>
                </c:pt>
                <c:pt idx="240">
                  <c:v>2.1472000000000002</c:v>
                </c:pt>
                <c:pt idx="241">
                  <c:v>2.1472000000000002</c:v>
                </c:pt>
                <c:pt idx="242">
                  <c:v>2.1472000000000002</c:v>
                </c:pt>
                <c:pt idx="243">
                  <c:v>2.1472000000000002</c:v>
                </c:pt>
                <c:pt idx="244">
                  <c:v>2.1472000000000002</c:v>
                </c:pt>
                <c:pt idx="245">
                  <c:v>2.1472000000000002</c:v>
                </c:pt>
                <c:pt idx="246">
                  <c:v>2.1472000000000002</c:v>
                </c:pt>
                <c:pt idx="247">
                  <c:v>2.1472000000000002</c:v>
                </c:pt>
                <c:pt idx="248">
                  <c:v>2.1472000000000002</c:v>
                </c:pt>
                <c:pt idx="249">
                  <c:v>2.1472000000000002</c:v>
                </c:pt>
                <c:pt idx="250">
                  <c:v>2.1472000000000002</c:v>
                </c:pt>
                <c:pt idx="251">
                  <c:v>2.1472000000000002</c:v>
                </c:pt>
                <c:pt idx="264">
                  <c:v>2.4194999999999984</c:v>
                </c:pt>
                <c:pt idx="265">
                  <c:v>2.4194999999999984</c:v>
                </c:pt>
                <c:pt idx="266">
                  <c:v>2.4194999999999984</c:v>
                </c:pt>
                <c:pt idx="267">
                  <c:v>2.4194999999999984</c:v>
                </c:pt>
                <c:pt idx="268">
                  <c:v>2.4194999999999984</c:v>
                </c:pt>
                <c:pt idx="269">
                  <c:v>2.4194999999999984</c:v>
                </c:pt>
                <c:pt idx="270">
                  <c:v>2.4194999999999984</c:v>
                </c:pt>
                <c:pt idx="271">
                  <c:v>2.4194999999999984</c:v>
                </c:pt>
                <c:pt idx="272">
                  <c:v>2.4194999999999984</c:v>
                </c:pt>
                <c:pt idx="273">
                  <c:v>2.4194999999999984</c:v>
                </c:pt>
                <c:pt idx="274">
                  <c:v>2.4194999999999984</c:v>
                </c:pt>
                <c:pt idx="275">
                  <c:v>2.4194999999999984</c:v>
                </c:pt>
                <c:pt idx="276">
                  <c:v>2.4194999999999984</c:v>
                </c:pt>
                <c:pt idx="277">
                  <c:v>2.4194999999999984</c:v>
                </c:pt>
                <c:pt idx="278">
                  <c:v>2.4194999999999984</c:v>
                </c:pt>
                <c:pt idx="279">
                  <c:v>2.4194999999999984</c:v>
                </c:pt>
                <c:pt idx="280">
                  <c:v>2.4194999999999984</c:v>
                </c:pt>
                <c:pt idx="281">
                  <c:v>2.4194999999999984</c:v>
                </c:pt>
                <c:pt idx="282">
                  <c:v>2.4194999999999984</c:v>
                </c:pt>
                <c:pt idx="283">
                  <c:v>2.4194999999999984</c:v>
                </c:pt>
                <c:pt idx="284">
                  <c:v>2.4194999999999984</c:v>
                </c:pt>
                <c:pt idx="285">
                  <c:v>2.4194999999999984</c:v>
                </c:pt>
                <c:pt idx="286">
                  <c:v>2.4194999999999984</c:v>
                </c:pt>
                <c:pt idx="287">
                  <c:v>2.4194999999999984</c:v>
                </c:pt>
                <c:pt idx="288">
                  <c:v>2.4194999999999984</c:v>
                </c:pt>
                <c:pt idx="289">
                  <c:v>2.4194999999999984</c:v>
                </c:pt>
                <c:pt idx="290">
                  <c:v>2.4194999999999984</c:v>
                </c:pt>
                <c:pt idx="291">
                  <c:v>2.4194999999999984</c:v>
                </c:pt>
                <c:pt idx="292">
                  <c:v>2.4194999999999984</c:v>
                </c:pt>
                <c:pt idx="293">
                  <c:v>2.4194999999999984</c:v>
                </c:pt>
                <c:pt idx="294">
                  <c:v>2.4194999999999984</c:v>
                </c:pt>
                <c:pt idx="295">
                  <c:v>2.4194999999999984</c:v>
                </c:pt>
                <c:pt idx="296">
                  <c:v>2.4194999999999984</c:v>
                </c:pt>
                <c:pt idx="297">
                  <c:v>2.4194999999999984</c:v>
                </c:pt>
                <c:pt idx="298">
                  <c:v>2.4194999999999984</c:v>
                </c:pt>
                <c:pt idx="299">
                  <c:v>2.4194999999999984</c:v>
                </c:pt>
                <c:pt idx="300">
                  <c:v>2.4194999999999984</c:v>
                </c:pt>
                <c:pt idx="301">
                  <c:v>2.4194999999999984</c:v>
                </c:pt>
                <c:pt idx="302">
                  <c:v>2.4194999999999984</c:v>
                </c:pt>
                <c:pt idx="303">
                  <c:v>2.4194999999999984</c:v>
                </c:pt>
                <c:pt idx="304">
                  <c:v>2.4194999999999984</c:v>
                </c:pt>
                <c:pt idx="305">
                  <c:v>2.4194999999999984</c:v>
                </c:pt>
                <c:pt idx="306">
                  <c:v>2.4194999999999984</c:v>
                </c:pt>
                <c:pt idx="307">
                  <c:v>2.4194999999999984</c:v>
                </c:pt>
                <c:pt idx="308">
                  <c:v>2.4194999999999984</c:v>
                </c:pt>
                <c:pt idx="309">
                  <c:v>2.4194999999999984</c:v>
                </c:pt>
                <c:pt idx="310">
                  <c:v>2.4194999999999984</c:v>
                </c:pt>
                <c:pt idx="311">
                  <c:v>2.4194999999999984</c:v>
                </c:pt>
                <c:pt idx="312">
                  <c:v>2.4194999999999984</c:v>
                </c:pt>
                <c:pt idx="313">
                  <c:v>2.4194999999999984</c:v>
                </c:pt>
                <c:pt idx="314">
                  <c:v>2.4194999999999984</c:v>
                </c:pt>
                <c:pt idx="315">
                  <c:v>2.4194999999999984</c:v>
                </c:pt>
                <c:pt idx="316">
                  <c:v>2.4194999999999984</c:v>
                </c:pt>
                <c:pt idx="317">
                  <c:v>2.4194999999999984</c:v>
                </c:pt>
                <c:pt idx="318">
                  <c:v>2.4194999999999984</c:v>
                </c:pt>
                <c:pt idx="319">
                  <c:v>2.4194999999999984</c:v>
                </c:pt>
                <c:pt idx="320">
                  <c:v>2.4194999999999984</c:v>
                </c:pt>
                <c:pt idx="321">
                  <c:v>2.4194999999999984</c:v>
                </c:pt>
                <c:pt idx="322">
                  <c:v>2.4194999999999984</c:v>
                </c:pt>
                <c:pt idx="323">
                  <c:v>2.4194999999999984</c:v>
                </c:pt>
                <c:pt idx="324">
                  <c:v>2.4194999999999984</c:v>
                </c:pt>
                <c:pt idx="325">
                  <c:v>2.4194999999999984</c:v>
                </c:pt>
                <c:pt idx="326">
                  <c:v>2.4194999999999984</c:v>
                </c:pt>
                <c:pt idx="327">
                  <c:v>2.4194999999999984</c:v>
                </c:pt>
                <c:pt idx="328">
                  <c:v>2.4194999999999984</c:v>
                </c:pt>
                <c:pt idx="329">
                  <c:v>2.4194999999999984</c:v>
                </c:pt>
                <c:pt idx="330">
                  <c:v>2.4194999999999984</c:v>
                </c:pt>
                <c:pt idx="331">
                  <c:v>2.4194999999999984</c:v>
                </c:pt>
                <c:pt idx="332">
                  <c:v>2.4194999999999984</c:v>
                </c:pt>
                <c:pt idx="333">
                  <c:v>2.4194999999999984</c:v>
                </c:pt>
                <c:pt idx="334">
                  <c:v>2.4194999999999984</c:v>
                </c:pt>
                <c:pt idx="335">
                  <c:v>2.4194999999999984</c:v>
                </c:pt>
                <c:pt idx="336">
                  <c:v>2.4194999999999984</c:v>
                </c:pt>
                <c:pt idx="337">
                  <c:v>2.4194999999999984</c:v>
                </c:pt>
                <c:pt idx="338">
                  <c:v>2.4194999999999984</c:v>
                </c:pt>
                <c:pt idx="339">
                  <c:v>2.4194999999999984</c:v>
                </c:pt>
                <c:pt idx="340">
                  <c:v>2.4194999999999984</c:v>
                </c:pt>
                <c:pt idx="341">
                  <c:v>2.4194999999999984</c:v>
                </c:pt>
                <c:pt idx="342">
                  <c:v>2.4194999999999984</c:v>
                </c:pt>
                <c:pt idx="343">
                  <c:v>2.4194999999999984</c:v>
                </c:pt>
                <c:pt idx="344">
                  <c:v>2.4194999999999984</c:v>
                </c:pt>
                <c:pt idx="345">
                  <c:v>2.4194999999999984</c:v>
                </c:pt>
                <c:pt idx="346">
                  <c:v>2.4194999999999984</c:v>
                </c:pt>
                <c:pt idx="347">
                  <c:v>2.4194999999999984</c:v>
                </c:pt>
                <c:pt idx="348">
                  <c:v>2.4194999999999984</c:v>
                </c:pt>
                <c:pt idx="349">
                  <c:v>2.4194999999999984</c:v>
                </c:pt>
                <c:pt idx="350">
                  <c:v>2.4194999999999984</c:v>
                </c:pt>
                <c:pt idx="351">
                  <c:v>2.4194999999999984</c:v>
                </c:pt>
                <c:pt idx="352">
                  <c:v>2.4194999999999984</c:v>
                </c:pt>
                <c:pt idx="353">
                  <c:v>2.4194999999999984</c:v>
                </c:pt>
                <c:pt idx="354">
                  <c:v>2.4194999999999984</c:v>
                </c:pt>
                <c:pt idx="355">
                  <c:v>2.4194999999999984</c:v>
                </c:pt>
                <c:pt idx="356">
                  <c:v>2.4194999999999984</c:v>
                </c:pt>
                <c:pt idx="357">
                  <c:v>2.4194999999999984</c:v>
                </c:pt>
                <c:pt idx="358">
                  <c:v>2.4194999999999984</c:v>
                </c:pt>
                <c:pt idx="359">
                  <c:v>2.4194999999999984</c:v>
                </c:pt>
                <c:pt idx="360">
                  <c:v>2.4194999999999984</c:v>
                </c:pt>
                <c:pt idx="361">
                  <c:v>2.4194999999999984</c:v>
                </c:pt>
                <c:pt idx="362">
                  <c:v>2.4194999999999984</c:v>
                </c:pt>
                <c:pt idx="363">
                  <c:v>2.4194999999999984</c:v>
                </c:pt>
                <c:pt idx="364">
                  <c:v>2.4194999999999984</c:v>
                </c:pt>
                <c:pt idx="365">
                  <c:v>2.4194999999999984</c:v>
                </c:pt>
                <c:pt idx="366">
                  <c:v>2.4194999999999984</c:v>
                </c:pt>
                <c:pt idx="367">
                  <c:v>2.4194999999999984</c:v>
                </c:pt>
                <c:pt idx="368">
                  <c:v>2.4194999999999984</c:v>
                </c:pt>
                <c:pt idx="369">
                  <c:v>2.4194999999999984</c:v>
                </c:pt>
                <c:pt idx="370">
                  <c:v>2.4194999999999984</c:v>
                </c:pt>
                <c:pt idx="371">
                  <c:v>2.4194999999999984</c:v>
                </c:pt>
                <c:pt idx="372">
                  <c:v>2.4194999999999984</c:v>
                </c:pt>
                <c:pt idx="373">
                  <c:v>2.4194999999999984</c:v>
                </c:pt>
                <c:pt idx="374">
                  <c:v>2.4194999999999984</c:v>
                </c:pt>
                <c:pt idx="375">
                  <c:v>2.4194999999999984</c:v>
                </c:pt>
                <c:pt idx="376">
                  <c:v>2.4194999999999984</c:v>
                </c:pt>
                <c:pt idx="377">
                  <c:v>2.4194999999999984</c:v>
                </c:pt>
                <c:pt idx="378">
                  <c:v>2.4194999999999984</c:v>
                </c:pt>
                <c:pt idx="379">
                  <c:v>2.4194999999999984</c:v>
                </c:pt>
                <c:pt idx="380">
                  <c:v>2.4194999999999984</c:v>
                </c:pt>
                <c:pt idx="381">
                  <c:v>2.4194999999999984</c:v>
                </c:pt>
                <c:pt idx="382">
                  <c:v>2.4194999999999984</c:v>
                </c:pt>
                <c:pt idx="383">
                  <c:v>2.4194999999999984</c:v>
                </c:pt>
                <c:pt idx="384">
                  <c:v>2.4194999999999984</c:v>
                </c:pt>
                <c:pt idx="385">
                  <c:v>2.4194999999999984</c:v>
                </c:pt>
                <c:pt idx="386">
                  <c:v>2.4194999999999984</c:v>
                </c:pt>
                <c:pt idx="387">
                  <c:v>2.4194999999999984</c:v>
                </c:pt>
                <c:pt idx="388">
                  <c:v>2.4194999999999984</c:v>
                </c:pt>
                <c:pt idx="389">
                  <c:v>2.4194999999999984</c:v>
                </c:pt>
                <c:pt idx="390">
                  <c:v>2.4194999999999984</c:v>
                </c:pt>
                <c:pt idx="391">
                  <c:v>2.4194999999999984</c:v>
                </c:pt>
                <c:pt idx="392">
                  <c:v>2.4194999999999984</c:v>
                </c:pt>
                <c:pt idx="393">
                  <c:v>2.4194999999999984</c:v>
                </c:pt>
                <c:pt idx="394">
                  <c:v>2.4194999999999984</c:v>
                </c:pt>
                <c:pt idx="395">
                  <c:v>2.4194999999999984</c:v>
                </c:pt>
                <c:pt idx="396">
                  <c:v>2.4194999999999984</c:v>
                </c:pt>
                <c:pt idx="397">
                  <c:v>2.4194999999999984</c:v>
                </c:pt>
                <c:pt idx="398">
                  <c:v>2.4194999999999984</c:v>
                </c:pt>
                <c:pt idx="399">
                  <c:v>2.4194999999999984</c:v>
                </c:pt>
                <c:pt idx="400">
                  <c:v>2.4194999999999984</c:v>
                </c:pt>
                <c:pt idx="401">
                  <c:v>2.4194999999999984</c:v>
                </c:pt>
                <c:pt idx="402">
                  <c:v>2.4194999999999984</c:v>
                </c:pt>
                <c:pt idx="403">
                  <c:v>2.4194999999999984</c:v>
                </c:pt>
                <c:pt idx="404">
                  <c:v>2.4194999999999984</c:v>
                </c:pt>
                <c:pt idx="405">
                  <c:v>2.4194999999999984</c:v>
                </c:pt>
                <c:pt idx="406">
                  <c:v>2.4194999999999984</c:v>
                </c:pt>
                <c:pt idx="407">
                  <c:v>2.4194999999999984</c:v>
                </c:pt>
                <c:pt idx="408">
                  <c:v>2.4194999999999984</c:v>
                </c:pt>
                <c:pt idx="409">
                  <c:v>2.4194999999999984</c:v>
                </c:pt>
                <c:pt idx="410">
                  <c:v>2.4194999999999984</c:v>
                </c:pt>
                <c:pt idx="411">
                  <c:v>2.4194999999999984</c:v>
                </c:pt>
                <c:pt idx="412">
                  <c:v>2.4194999999999984</c:v>
                </c:pt>
                <c:pt idx="413">
                  <c:v>2.4194999999999984</c:v>
                </c:pt>
                <c:pt idx="414">
                  <c:v>2.4194999999999984</c:v>
                </c:pt>
                <c:pt idx="415">
                  <c:v>2.4194999999999984</c:v>
                </c:pt>
                <c:pt idx="416">
                  <c:v>2.4194999999999984</c:v>
                </c:pt>
                <c:pt idx="417">
                  <c:v>2.4194999999999984</c:v>
                </c:pt>
                <c:pt idx="418">
                  <c:v>2.4194999999999984</c:v>
                </c:pt>
                <c:pt idx="419">
                  <c:v>2.4194999999999984</c:v>
                </c:pt>
                <c:pt idx="420">
                  <c:v>2.4194999999999984</c:v>
                </c:pt>
                <c:pt idx="421">
                  <c:v>2.4194999999999984</c:v>
                </c:pt>
                <c:pt idx="422">
                  <c:v>2.4194999999999984</c:v>
                </c:pt>
                <c:pt idx="423">
                  <c:v>2.4194999999999984</c:v>
                </c:pt>
                <c:pt idx="424">
                  <c:v>2.4194999999999984</c:v>
                </c:pt>
                <c:pt idx="425">
                  <c:v>2.4194999999999984</c:v>
                </c:pt>
                <c:pt idx="426">
                  <c:v>2.4194999999999984</c:v>
                </c:pt>
                <c:pt idx="427">
                  <c:v>2.4194999999999984</c:v>
                </c:pt>
                <c:pt idx="428">
                  <c:v>2.4194999999999984</c:v>
                </c:pt>
                <c:pt idx="429">
                  <c:v>2.4194999999999984</c:v>
                </c:pt>
                <c:pt idx="430">
                  <c:v>2.4194999999999984</c:v>
                </c:pt>
                <c:pt idx="431">
                  <c:v>2.4194999999999984</c:v>
                </c:pt>
                <c:pt idx="432">
                  <c:v>2.4194999999999984</c:v>
                </c:pt>
                <c:pt idx="433">
                  <c:v>2.4194999999999984</c:v>
                </c:pt>
                <c:pt idx="434">
                  <c:v>2.4194999999999984</c:v>
                </c:pt>
                <c:pt idx="435">
                  <c:v>2.4194999999999984</c:v>
                </c:pt>
                <c:pt idx="436">
                  <c:v>2.4194999999999984</c:v>
                </c:pt>
                <c:pt idx="437">
                  <c:v>2.4194999999999984</c:v>
                </c:pt>
                <c:pt idx="438">
                  <c:v>2.4194999999999984</c:v>
                </c:pt>
                <c:pt idx="439">
                  <c:v>2.4194999999999984</c:v>
                </c:pt>
                <c:pt idx="440">
                  <c:v>2.4194999999999984</c:v>
                </c:pt>
                <c:pt idx="441">
                  <c:v>2.4194999999999984</c:v>
                </c:pt>
                <c:pt idx="442">
                  <c:v>2.4194999999999984</c:v>
                </c:pt>
                <c:pt idx="443">
                  <c:v>2.4194999999999984</c:v>
                </c:pt>
                <c:pt idx="444">
                  <c:v>2.4194999999999984</c:v>
                </c:pt>
                <c:pt idx="445">
                  <c:v>2.4194999999999984</c:v>
                </c:pt>
                <c:pt idx="446">
                  <c:v>2.4194999999999984</c:v>
                </c:pt>
                <c:pt idx="447">
                  <c:v>2.4194999999999984</c:v>
                </c:pt>
                <c:pt idx="448">
                  <c:v>2.4194999999999984</c:v>
                </c:pt>
                <c:pt idx="449">
                  <c:v>2.4194999999999984</c:v>
                </c:pt>
                <c:pt idx="450">
                  <c:v>2.4194999999999984</c:v>
                </c:pt>
                <c:pt idx="451">
                  <c:v>2.4194999999999984</c:v>
                </c:pt>
                <c:pt idx="452">
                  <c:v>2.4194999999999984</c:v>
                </c:pt>
                <c:pt idx="453">
                  <c:v>2.4194999999999984</c:v>
                </c:pt>
                <c:pt idx="454">
                  <c:v>2.4194999999999984</c:v>
                </c:pt>
                <c:pt idx="455">
                  <c:v>2.4194999999999984</c:v>
                </c:pt>
                <c:pt idx="456">
                  <c:v>2.4194999999999984</c:v>
                </c:pt>
                <c:pt idx="457">
                  <c:v>2.4194999999999984</c:v>
                </c:pt>
                <c:pt idx="458">
                  <c:v>2.4194999999999984</c:v>
                </c:pt>
                <c:pt idx="459">
                  <c:v>2.4194999999999984</c:v>
                </c:pt>
                <c:pt idx="460">
                  <c:v>2.4194999999999984</c:v>
                </c:pt>
                <c:pt idx="461">
                  <c:v>2.4194999999999984</c:v>
                </c:pt>
                <c:pt idx="462">
                  <c:v>2.4194999999999984</c:v>
                </c:pt>
                <c:pt idx="463">
                  <c:v>2.4194999999999984</c:v>
                </c:pt>
                <c:pt idx="464">
                  <c:v>2.4194999999999984</c:v>
                </c:pt>
                <c:pt idx="465">
                  <c:v>2.4194999999999984</c:v>
                </c:pt>
                <c:pt idx="466">
                  <c:v>2.4194999999999984</c:v>
                </c:pt>
                <c:pt idx="467">
                  <c:v>2.4194999999999984</c:v>
                </c:pt>
                <c:pt idx="468">
                  <c:v>2.4194999999999984</c:v>
                </c:pt>
                <c:pt idx="469">
                  <c:v>2.4194999999999984</c:v>
                </c:pt>
                <c:pt idx="470">
                  <c:v>2.4194999999999984</c:v>
                </c:pt>
                <c:pt idx="471">
                  <c:v>2.4194999999999984</c:v>
                </c:pt>
                <c:pt idx="472">
                  <c:v>2.4194999999999984</c:v>
                </c:pt>
                <c:pt idx="473">
                  <c:v>2.4194999999999984</c:v>
                </c:pt>
                <c:pt idx="474">
                  <c:v>2.4194999999999984</c:v>
                </c:pt>
                <c:pt idx="475">
                  <c:v>2.4194999999999984</c:v>
                </c:pt>
                <c:pt idx="476">
                  <c:v>2.4194999999999984</c:v>
                </c:pt>
                <c:pt idx="477">
                  <c:v>2.4194999999999984</c:v>
                </c:pt>
                <c:pt idx="478">
                  <c:v>2.4194999999999984</c:v>
                </c:pt>
                <c:pt idx="479">
                  <c:v>2.4194999999999984</c:v>
                </c:pt>
                <c:pt idx="480">
                  <c:v>2.4194999999999984</c:v>
                </c:pt>
                <c:pt idx="481">
                  <c:v>2.4194999999999984</c:v>
                </c:pt>
                <c:pt idx="482">
                  <c:v>2.4194999999999984</c:v>
                </c:pt>
                <c:pt idx="483">
                  <c:v>2.4194999999999984</c:v>
                </c:pt>
                <c:pt idx="484">
                  <c:v>2.4194999999999984</c:v>
                </c:pt>
                <c:pt idx="485">
                  <c:v>2.4194999999999984</c:v>
                </c:pt>
                <c:pt idx="486">
                  <c:v>2.4194999999999984</c:v>
                </c:pt>
                <c:pt idx="487">
                  <c:v>2.4194999999999984</c:v>
                </c:pt>
                <c:pt idx="488">
                  <c:v>2.4194999999999984</c:v>
                </c:pt>
                <c:pt idx="489">
                  <c:v>2.4194999999999984</c:v>
                </c:pt>
                <c:pt idx="490">
                  <c:v>2.4194999999999984</c:v>
                </c:pt>
                <c:pt idx="491">
                  <c:v>2.4194999999999984</c:v>
                </c:pt>
                <c:pt idx="492">
                  <c:v>2.4194999999999984</c:v>
                </c:pt>
                <c:pt idx="493">
                  <c:v>2.4194999999999984</c:v>
                </c:pt>
                <c:pt idx="494">
                  <c:v>2.4194999999999984</c:v>
                </c:pt>
                <c:pt idx="495">
                  <c:v>2.4194999999999984</c:v>
                </c:pt>
                <c:pt idx="496">
                  <c:v>2.4194999999999984</c:v>
                </c:pt>
                <c:pt idx="497">
                  <c:v>2.4194999999999984</c:v>
                </c:pt>
                <c:pt idx="498">
                  <c:v>2.4194999999999984</c:v>
                </c:pt>
                <c:pt idx="499">
                  <c:v>2.4194999999999984</c:v>
                </c:pt>
                <c:pt idx="500">
                  <c:v>2.4194999999999984</c:v>
                </c:pt>
                <c:pt idx="501">
                  <c:v>2.4194999999999984</c:v>
                </c:pt>
                <c:pt idx="502">
                  <c:v>2.4194999999999984</c:v>
                </c:pt>
                <c:pt idx="503">
                  <c:v>2.4194999999999984</c:v>
                </c:pt>
                <c:pt idx="525">
                  <c:v>2.64</c:v>
                </c:pt>
                <c:pt idx="526">
                  <c:v>2.64</c:v>
                </c:pt>
                <c:pt idx="527">
                  <c:v>2.64</c:v>
                </c:pt>
                <c:pt idx="528">
                  <c:v>2.64</c:v>
                </c:pt>
                <c:pt idx="529">
                  <c:v>2.64</c:v>
                </c:pt>
                <c:pt idx="530">
                  <c:v>2.64</c:v>
                </c:pt>
                <c:pt idx="531">
                  <c:v>2.64</c:v>
                </c:pt>
                <c:pt idx="532">
                  <c:v>2.64</c:v>
                </c:pt>
                <c:pt idx="533">
                  <c:v>2.64</c:v>
                </c:pt>
                <c:pt idx="534">
                  <c:v>2.64</c:v>
                </c:pt>
                <c:pt idx="535">
                  <c:v>2.64</c:v>
                </c:pt>
                <c:pt idx="536">
                  <c:v>2.64</c:v>
                </c:pt>
                <c:pt idx="537">
                  <c:v>2.64</c:v>
                </c:pt>
                <c:pt idx="538">
                  <c:v>2.64</c:v>
                </c:pt>
                <c:pt idx="539">
                  <c:v>2.64</c:v>
                </c:pt>
                <c:pt idx="540">
                  <c:v>2.64</c:v>
                </c:pt>
                <c:pt idx="541">
                  <c:v>2.64</c:v>
                </c:pt>
                <c:pt idx="542">
                  <c:v>2.64</c:v>
                </c:pt>
                <c:pt idx="543">
                  <c:v>2.64</c:v>
                </c:pt>
                <c:pt idx="544">
                  <c:v>2.64</c:v>
                </c:pt>
                <c:pt idx="545">
                  <c:v>2.64</c:v>
                </c:pt>
                <c:pt idx="546">
                  <c:v>2.64</c:v>
                </c:pt>
                <c:pt idx="547">
                  <c:v>2.64</c:v>
                </c:pt>
                <c:pt idx="548">
                  <c:v>2.64</c:v>
                </c:pt>
                <c:pt idx="549">
                  <c:v>2.64</c:v>
                </c:pt>
                <c:pt idx="550">
                  <c:v>2.64</c:v>
                </c:pt>
                <c:pt idx="551">
                  <c:v>2.64</c:v>
                </c:pt>
                <c:pt idx="552">
                  <c:v>2.64</c:v>
                </c:pt>
                <c:pt idx="553">
                  <c:v>2.64</c:v>
                </c:pt>
                <c:pt idx="554">
                  <c:v>2.64</c:v>
                </c:pt>
                <c:pt idx="555">
                  <c:v>2.64</c:v>
                </c:pt>
                <c:pt idx="556">
                  <c:v>2.64</c:v>
                </c:pt>
                <c:pt idx="557">
                  <c:v>2.64</c:v>
                </c:pt>
                <c:pt idx="558">
                  <c:v>2.64</c:v>
                </c:pt>
                <c:pt idx="559">
                  <c:v>2.64</c:v>
                </c:pt>
                <c:pt idx="560">
                  <c:v>2.64</c:v>
                </c:pt>
                <c:pt idx="561">
                  <c:v>2.64</c:v>
                </c:pt>
                <c:pt idx="562">
                  <c:v>2.64</c:v>
                </c:pt>
                <c:pt idx="563">
                  <c:v>2.64</c:v>
                </c:pt>
                <c:pt idx="564">
                  <c:v>2.64</c:v>
                </c:pt>
                <c:pt idx="565">
                  <c:v>2.64</c:v>
                </c:pt>
                <c:pt idx="566">
                  <c:v>2.64</c:v>
                </c:pt>
                <c:pt idx="567">
                  <c:v>2.64</c:v>
                </c:pt>
                <c:pt idx="568">
                  <c:v>2.64</c:v>
                </c:pt>
                <c:pt idx="569">
                  <c:v>2.64</c:v>
                </c:pt>
                <c:pt idx="570">
                  <c:v>2.64</c:v>
                </c:pt>
                <c:pt idx="571">
                  <c:v>2.64</c:v>
                </c:pt>
                <c:pt idx="572">
                  <c:v>2.64</c:v>
                </c:pt>
                <c:pt idx="573">
                  <c:v>2.64</c:v>
                </c:pt>
                <c:pt idx="574">
                  <c:v>2.64</c:v>
                </c:pt>
                <c:pt idx="575">
                  <c:v>2.64</c:v>
                </c:pt>
                <c:pt idx="576">
                  <c:v>2.64</c:v>
                </c:pt>
                <c:pt idx="577">
                  <c:v>2.64</c:v>
                </c:pt>
                <c:pt idx="578">
                  <c:v>2.64</c:v>
                </c:pt>
                <c:pt idx="579">
                  <c:v>2.64</c:v>
                </c:pt>
                <c:pt idx="580">
                  <c:v>2.64</c:v>
                </c:pt>
                <c:pt idx="581">
                  <c:v>2.64</c:v>
                </c:pt>
                <c:pt idx="582">
                  <c:v>2.64</c:v>
                </c:pt>
                <c:pt idx="583">
                  <c:v>2.64</c:v>
                </c:pt>
                <c:pt idx="584">
                  <c:v>2.64</c:v>
                </c:pt>
                <c:pt idx="585">
                  <c:v>2.64</c:v>
                </c:pt>
                <c:pt idx="586">
                  <c:v>2.64</c:v>
                </c:pt>
                <c:pt idx="587">
                  <c:v>2.64</c:v>
                </c:pt>
                <c:pt idx="588">
                  <c:v>2.64</c:v>
                </c:pt>
                <c:pt idx="589">
                  <c:v>2.64</c:v>
                </c:pt>
                <c:pt idx="590">
                  <c:v>2.64</c:v>
                </c:pt>
                <c:pt idx="591">
                  <c:v>2.64</c:v>
                </c:pt>
                <c:pt idx="592">
                  <c:v>2.64</c:v>
                </c:pt>
                <c:pt idx="593">
                  <c:v>2.64</c:v>
                </c:pt>
                <c:pt idx="594">
                  <c:v>2.64</c:v>
                </c:pt>
                <c:pt idx="595">
                  <c:v>2.64</c:v>
                </c:pt>
                <c:pt idx="596">
                  <c:v>2.64</c:v>
                </c:pt>
                <c:pt idx="597">
                  <c:v>2.64</c:v>
                </c:pt>
                <c:pt idx="598">
                  <c:v>2.64</c:v>
                </c:pt>
                <c:pt idx="599">
                  <c:v>2.64</c:v>
                </c:pt>
                <c:pt idx="600">
                  <c:v>2.64</c:v>
                </c:pt>
                <c:pt idx="601">
                  <c:v>2.64</c:v>
                </c:pt>
                <c:pt idx="602">
                  <c:v>2.64</c:v>
                </c:pt>
                <c:pt idx="603">
                  <c:v>2.64</c:v>
                </c:pt>
                <c:pt idx="604">
                  <c:v>2.64</c:v>
                </c:pt>
                <c:pt idx="605">
                  <c:v>2.64</c:v>
                </c:pt>
                <c:pt idx="606">
                  <c:v>2.64</c:v>
                </c:pt>
                <c:pt idx="607">
                  <c:v>2.64</c:v>
                </c:pt>
                <c:pt idx="608">
                  <c:v>2.64</c:v>
                </c:pt>
                <c:pt idx="609">
                  <c:v>2.64</c:v>
                </c:pt>
                <c:pt idx="610">
                  <c:v>2.64</c:v>
                </c:pt>
                <c:pt idx="611">
                  <c:v>2.64</c:v>
                </c:pt>
                <c:pt idx="612">
                  <c:v>2.64</c:v>
                </c:pt>
                <c:pt idx="613">
                  <c:v>2.64</c:v>
                </c:pt>
                <c:pt idx="614">
                  <c:v>2.64</c:v>
                </c:pt>
                <c:pt idx="615">
                  <c:v>2.64</c:v>
                </c:pt>
                <c:pt idx="616">
                  <c:v>2.64</c:v>
                </c:pt>
                <c:pt idx="617">
                  <c:v>2.64</c:v>
                </c:pt>
                <c:pt idx="618">
                  <c:v>2.64</c:v>
                </c:pt>
                <c:pt idx="619">
                  <c:v>2.64</c:v>
                </c:pt>
                <c:pt idx="620">
                  <c:v>2.64</c:v>
                </c:pt>
                <c:pt idx="621">
                  <c:v>2.64</c:v>
                </c:pt>
                <c:pt idx="622">
                  <c:v>2.64</c:v>
                </c:pt>
                <c:pt idx="623">
                  <c:v>2.64</c:v>
                </c:pt>
                <c:pt idx="624">
                  <c:v>2.64</c:v>
                </c:pt>
                <c:pt idx="625">
                  <c:v>2.64</c:v>
                </c:pt>
                <c:pt idx="626">
                  <c:v>2.64</c:v>
                </c:pt>
                <c:pt idx="627">
                  <c:v>2.64</c:v>
                </c:pt>
                <c:pt idx="628">
                  <c:v>2.64</c:v>
                </c:pt>
                <c:pt idx="629">
                  <c:v>2.64</c:v>
                </c:pt>
                <c:pt idx="630">
                  <c:v>2.64</c:v>
                </c:pt>
                <c:pt idx="631">
                  <c:v>2.64</c:v>
                </c:pt>
                <c:pt idx="632">
                  <c:v>2.64</c:v>
                </c:pt>
                <c:pt idx="633">
                  <c:v>2.64</c:v>
                </c:pt>
                <c:pt idx="634">
                  <c:v>2.64</c:v>
                </c:pt>
                <c:pt idx="635">
                  <c:v>2.64</c:v>
                </c:pt>
                <c:pt idx="636">
                  <c:v>2.64</c:v>
                </c:pt>
                <c:pt idx="637">
                  <c:v>2.64</c:v>
                </c:pt>
                <c:pt idx="638">
                  <c:v>2.64</c:v>
                </c:pt>
                <c:pt idx="639">
                  <c:v>2.64</c:v>
                </c:pt>
                <c:pt idx="640">
                  <c:v>2.64</c:v>
                </c:pt>
                <c:pt idx="641">
                  <c:v>2.64</c:v>
                </c:pt>
                <c:pt idx="642">
                  <c:v>2.64</c:v>
                </c:pt>
                <c:pt idx="643">
                  <c:v>2.64</c:v>
                </c:pt>
                <c:pt idx="644">
                  <c:v>2.64</c:v>
                </c:pt>
                <c:pt idx="645">
                  <c:v>2.64</c:v>
                </c:pt>
                <c:pt idx="646">
                  <c:v>2.64</c:v>
                </c:pt>
                <c:pt idx="647">
                  <c:v>2.64</c:v>
                </c:pt>
                <c:pt idx="648">
                  <c:v>2.64</c:v>
                </c:pt>
                <c:pt idx="649">
                  <c:v>2.64</c:v>
                </c:pt>
                <c:pt idx="650">
                  <c:v>2.64</c:v>
                </c:pt>
                <c:pt idx="651">
                  <c:v>2.64</c:v>
                </c:pt>
                <c:pt idx="652">
                  <c:v>2.64</c:v>
                </c:pt>
                <c:pt idx="653">
                  <c:v>2.64</c:v>
                </c:pt>
                <c:pt idx="654">
                  <c:v>2.64</c:v>
                </c:pt>
                <c:pt idx="655">
                  <c:v>2.64</c:v>
                </c:pt>
                <c:pt idx="656">
                  <c:v>2.64</c:v>
                </c:pt>
                <c:pt idx="657">
                  <c:v>2.64</c:v>
                </c:pt>
                <c:pt idx="658">
                  <c:v>2.64</c:v>
                </c:pt>
                <c:pt idx="659">
                  <c:v>2.64</c:v>
                </c:pt>
                <c:pt idx="660">
                  <c:v>2.64</c:v>
                </c:pt>
                <c:pt idx="661">
                  <c:v>2.64</c:v>
                </c:pt>
                <c:pt idx="662">
                  <c:v>2.64</c:v>
                </c:pt>
                <c:pt idx="663">
                  <c:v>2.64</c:v>
                </c:pt>
                <c:pt idx="664">
                  <c:v>2.64</c:v>
                </c:pt>
                <c:pt idx="665">
                  <c:v>2.64</c:v>
                </c:pt>
                <c:pt idx="666">
                  <c:v>2.64</c:v>
                </c:pt>
                <c:pt idx="667">
                  <c:v>2.64</c:v>
                </c:pt>
                <c:pt idx="668">
                  <c:v>2.64</c:v>
                </c:pt>
                <c:pt idx="669">
                  <c:v>2.64</c:v>
                </c:pt>
                <c:pt idx="670">
                  <c:v>2.64</c:v>
                </c:pt>
                <c:pt idx="671">
                  <c:v>2.64</c:v>
                </c:pt>
                <c:pt idx="672">
                  <c:v>2.64</c:v>
                </c:pt>
                <c:pt idx="673">
                  <c:v>2.64</c:v>
                </c:pt>
                <c:pt idx="674">
                  <c:v>2.64</c:v>
                </c:pt>
                <c:pt idx="675">
                  <c:v>2.64</c:v>
                </c:pt>
                <c:pt idx="676">
                  <c:v>2.64</c:v>
                </c:pt>
                <c:pt idx="677">
                  <c:v>2.64</c:v>
                </c:pt>
                <c:pt idx="678">
                  <c:v>2.64</c:v>
                </c:pt>
                <c:pt idx="679">
                  <c:v>2.64</c:v>
                </c:pt>
                <c:pt idx="680">
                  <c:v>2.64</c:v>
                </c:pt>
                <c:pt idx="681">
                  <c:v>2.64</c:v>
                </c:pt>
                <c:pt idx="682">
                  <c:v>2.64</c:v>
                </c:pt>
                <c:pt idx="683">
                  <c:v>2.64</c:v>
                </c:pt>
                <c:pt idx="684">
                  <c:v>2.64</c:v>
                </c:pt>
                <c:pt idx="685">
                  <c:v>2.64</c:v>
                </c:pt>
                <c:pt idx="686">
                  <c:v>2.64</c:v>
                </c:pt>
                <c:pt idx="687">
                  <c:v>2.64</c:v>
                </c:pt>
                <c:pt idx="688">
                  <c:v>2.64</c:v>
                </c:pt>
                <c:pt idx="689">
                  <c:v>2.64</c:v>
                </c:pt>
                <c:pt idx="690">
                  <c:v>2.64</c:v>
                </c:pt>
                <c:pt idx="691">
                  <c:v>2.64</c:v>
                </c:pt>
                <c:pt idx="692">
                  <c:v>2.64</c:v>
                </c:pt>
                <c:pt idx="693">
                  <c:v>2.64</c:v>
                </c:pt>
                <c:pt idx="694">
                  <c:v>2.64</c:v>
                </c:pt>
                <c:pt idx="695">
                  <c:v>2.64</c:v>
                </c:pt>
                <c:pt idx="696">
                  <c:v>2.64</c:v>
                </c:pt>
                <c:pt idx="697">
                  <c:v>2.64</c:v>
                </c:pt>
                <c:pt idx="698">
                  <c:v>2.64</c:v>
                </c:pt>
                <c:pt idx="699">
                  <c:v>2.64</c:v>
                </c:pt>
                <c:pt idx="700">
                  <c:v>2.64</c:v>
                </c:pt>
                <c:pt idx="701">
                  <c:v>2.64</c:v>
                </c:pt>
                <c:pt idx="702">
                  <c:v>2.64</c:v>
                </c:pt>
                <c:pt idx="703">
                  <c:v>2.64</c:v>
                </c:pt>
                <c:pt idx="704">
                  <c:v>2.64</c:v>
                </c:pt>
                <c:pt idx="705">
                  <c:v>2.64</c:v>
                </c:pt>
                <c:pt idx="706">
                  <c:v>2.64</c:v>
                </c:pt>
                <c:pt idx="707">
                  <c:v>2.64</c:v>
                </c:pt>
                <c:pt idx="708">
                  <c:v>2.64</c:v>
                </c:pt>
                <c:pt idx="709">
                  <c:v>2.64</c:v>
                </c:pt>
                <c:pt idx="710">
                  <c:v>2.64</c:v>
                </c:pt>
                <c:pt idx="711">
                  <c:v>2.64</c:v>
                </c:pt>
                <c:pt idx="712">
                  <c:v>2.64</c:v>
                </c:pt>
                <c:pt idx="713">
                  <c:v>2.64</c:v>
                </c:pt>
                <c:pt idx="714">
                  <c:v>2.64</c:v>
                </c:pt>
                <c:pt idx="715">
                  <c:v>2.64</c:v>
                </c:pt>
                <c:pt idx="716">
                  <c:v>2.64</c:v>
                </c:pt>
                <c:pt idx="717">
                  <c:v>2.64</c:v>
                </c:pt>
                <c:pt idx="718">
                  <c:v>2.64</c:v>
                </c:pt>
                <c:pt idx="719">
                  <c:v>2.64</c:v>
                </c:pt>
                <c:pt idx="720">
                  <c:v>2.64</c:v>
                </c:pt>
                <c:pt idx="721">
                  <c:v>2.64</c:v>
                </c:pt>
                <c:pt idx="722">
                  <c:v>2.64</c:v>
                </c:pt>
                <c:pt idx="723">
                  <c:v>2.64</c:v>
                </c:pt>
                <c:pt idx="724">
                  <c:v>2.64</c:v>
                </c:pt>
                <c:pt idx="725">
                  <c:v>2.64</c:v>
                </c:pt>
                <c:pt idx="726">
                  <c:v>2.64</c:v>
                </c:pt>
                <c:pt idx="727">
                  <c:v>2.64</c:v>
                </c:pt>
                <c:pt idx="728">
                  <c:v>2.64</c:v>
                </c:pt>
                <c:pt idx="729">
                  <c:v>2.64</c:v>
                </c:pt>
                <c:pt idx="730">
                  <c:v>2.64</c:v>
                </c:pt>
                <c:pt idx="731">
                  <c:v>2.64</c:v>
                </c:pt>
                <c:pt idx="732">
                  <c:v>2.64</c:v>
                </c:pt>
                <c:pt idx="733">
                  <c:v>2.64</c:v>
                </c:pt>
                <c:pt idx="734">
                  <c:v>2.64</c:v>
                </c:pt>
                <c:pt idx="735">
                  <c:v>2.64</c:v>
                </c:pt>
                <c:pt idx="736">
                  <c:v>2.64</c:v>
                </c:pt>
                <c:pt idx="737">
                  <c:v>2.64</c:v>
                </c:pt>
                <c:pt idx="738">
                  <c:v>2.64</c:v>
                </c:pt>
                <c:pt idx="739">
                  <c:v>2.64</c:v>
                </c:pt>
                <c:pt idx="740">
                  <c:v>2.64</c:v>
                </c:pt>
                <c:pt idx="741">
                  <c:v>2.64</c:v>
                </c:pt>
                <c:pt idx="742">
                  <c:v>2.64</c:v>
                </c:pt>
                <c:pt idx="743">
                  <c:v>2.64</c:v>
                </c:pt>
                <c:pt idx="744">
                  <c:v>2.64</c:v>
                </c:pt>
                <c:pt idx="745">
                  <c:v>2.64</c:v>
                </c:pt>
                <c:pt idx="746">
                  <c:v>2.64</c:v>
                </c:pt>
                <c:pt idx="747">
                  <c:v>2.64</c:v>
                </c:pt>
                <c:pt idx="748">
                  <c:v>2.64</c:v>
                </c:pt>
                <c:pt idx="749">
                  <c:v>2.64</c:v>
                </c:pt>
                <c:pt idx="750">
                  <c:v>2.64</c:v>
                </c:pt>
                <c:pt idx="751">
                  <c:v>2.64</c:v>
                </c:pt>
                <c:pt idx="752">
                  <c:v>2.64</c:v>
                </c:pt>
                <c:pt idx="766">
                  <c:v>2.96</c:v>
                </c:pt>
                <c:pt idx="767">
                  <c:v>2.96</c:v>
                </c:pt>
                <c:pt idx="768">
                  <c:v>2.96</c:v>
                </c:pt>
                <c:pt idx="769">
                  <c:v>2.96</c:v>
                </c:pt>
                <c:pt idx="770">
                  <c:v>2.96</c:v>
                </c:pt>
                <c:pt idx="771">
                  <c:v>2.96</c:v>
                </c:pt>
                <c:pt idx="772">
                  <c:v>2.96</c:v>
                </c:pt>
                <c:pt idx="773">
                  <c:v>2.96</c:v>
                </c:pt>
                <c:pt idx="774">
                  <c:v>2.96</c:v>
                </c:pt>
                <c:pt idx="775">
                  <c:v>2.96</c:v>
                </c:pt>
                <c:pt idx="776">
                  <c:v>2.96</c:v>
                </c:pt>
                <c:pt idx="777">
                  <c:v>2.96</c:v>
                </c:pt>
                <c:pt idx="778">
                  <c:v>2.96</c:v>
                </c:pt>
                <c:pt idx="779">
                  <c:v>2.96</c:v>
                </c:pt>
                <c:pt idx="780">
                  <c:v>2.96</c:v>
                </c:pt>
                <c:pt idx="781">
                  <c:v>2.96</c:v>
                </c:pt>
                <c:pt idx="782">
                  <c:v>2.96</c:v>
                </c:pt>
                <c:pt idx="783">
                  <c:v>2.96</c:v>
                </c:pt>
                <c:pt idx="784">
                  <c:v>2.96</c:v>
                </c:pt>
                <c:pt idx="785">
                  <c:v>2.96</c:v>
                </c:pt>
                <c:pt idx="786">
                  <c:v>2.96</c:v>
                </c:pt>
                <c:pt idx="787">
                  <c:v>2.96</c:v>
                </c:pt>
                <c:pt idx="788">
                  <c:v>2.96</c:v>
                </c:pt>
                <c:pt idx="789">
                  <c:v>2.96</c:v>
                </c:pt>
                <c:pt idx="790">
                  <c:v>2.96</c:v>
                </c:pt>
                <c:pt idx="791">
                  <c:v>2.96</c:v>
                </c:pt>
                <c:pt idx="792">
                  <c:v>2.96</c:v>
                </c:pt>
                <c:pt idx="793">
                  <c:v>2.96</c:v>
                </c:pt>
                <c:pt idx="794">
                  <c:v>2.96</c:v>
                </c:pt>
                <c:pt idx="795">
                  <c:v>2.96</c:v>
                </c:pt>
                <c:pt idx="796">
                  <c:v>2.96</c:v>
                </c:pt>
                <c:pt idx="797">
                  <c:v>2.96</c:v>
                </c:pt>
                <c:pt idx="798">
                  <c:v>2.96</c:v>
                </c:pt>
                <c:pt idx="799">
                  <c:v>2.96</c:v>
                </c:pt>
                <c:pt idx="800">
                  <c:v>2.96</c:v>
                </c:pt>
                <c:pt idx="801">
                  <c:v>2.96</c:v>
                </c:pt>
                <c:pt idx="802">
                  <c:v>2.96</c:v>
                </c:pt>
                <c:pt idx="803">
                  <c:v>2.96</c:v>
                </c:pt>
                <c:pt idx="804">
                  <c:v>2.96</c:v>
                </c:pt>
                <c:pt idx="805">
                  <c:v>2.96</c:v>
                </c:pt>
                <c:pt idx="806">
                  <c:v>2.96</c:v>
                </c:pt>
                <c:pt idx="807">
                  <c:v>2.96</c:v>
                </c:pt>
                <c:pt idx="808">
                  <c:v>2.96</c:v>
                </c:pt>
                <c:pt idx="809">
                  <c:v>2.96</c:v>
                </c:pt>
                <c:pt idx="810">
                  <c:v>2.96</c:v>
                </c:pt>
                <c:pt idx="811">
                  <c:v>2.96</c:v>
                </c:pt>
                <c:pt idx="812">
                  <c:v>2.96</c:v>
                </c:pt>
                <c:pt idx="813">
                  <c:v>2.96</c:v>
                </c:pt>
                <c:pt idx="814">
                  <c:v>2.96</c:v>
                </c:pt>
                <c:pt idx="815">
                  <c:v>2.96</c:v>
                </c:pt>
                <c:pt idx="816">
                  <c:v>2.96</c:v>
                </c:pt>
                <c:pt idx="817">
                  <c:v>2.96</c:v>
                </c:pt>
                <c:pt idx="818">
                  <c:v>2.96</c:v>
                </c:pt>
                <c:pt idx="819">
                  <c:v>2.96</c:v>
                </c:pt>
                <c:pt idx="820">
                  <c:v>2.96</c:v>
                </c:pt>
                <c:pt idx="821">
                  <c:v>2.96</c:v>
                </c:pt>
                <c:pt idx="822">
                  <c:v>2.96</c:v>
                </c:pt>
                <c:pt idx="823">
                  <c:v>2.96</c:v>
                </c:pt>
                <c:pt idx="824">
                  <c:v>2.96</c:v>
                </c:pt>
                <c:pt idx="825">
                  <c:v>2.96</c:v>
                </c:pt>
                <c:pt idx="826">
                  <c:v>2.96</c:v>
                </c:pt>
                <c:pt idx="827">
                  <c:v>2.96</c:v>
                </c:pt>
                <c:pt idx="828">
                  <c:v>2.96</c:v>
                </c:pt>
                <c:pt idx="829">
                  <c:v>2.96</c:v>
                </c:pt>
                <c:pt idx="830">
                  <c:v>2.96</c:v>
                </c:pt>
                <c:pt idx="831">
                  <c:v>2.96</c:v>
                </c:pt>
                <c:pt idx="832">
                  <c:v>2.96</c:v>
                </c:pt>
                <c:pt idx="833">
                  <c:v>2.96</c:v>
                </c:pt>
                <c:pt idx="834">
                  <c:v>2.96</c:v>
                </c:pt>
                <c:pt idx="835">
                  <c:v>2.96</c:v>
                </c:pt>
                <c:pt idx="836">
                  <c:v>2.96</c:v>
                </c:pt>
                <c:pt idx="837">
                  <c:v>2.96</c:v>
                </c:pt>
                <c:pt idx="838">
                  <c:v>2.96</c:v>
                </c:pt>
                <c:pt idx="839">
                  <c:v>2.96</c:v>
                </c:pt>
                <c:pt idx="840">
                  <c:v>2.96</c:v>
                </c:pt>
                <c:pt idx="841">
                  <c:v>2.96</c:v>
                </c:pt>
                <c:pt idx="842">
                  <c:v>2.96</c:v>
                </c:pt>
                <c:pt idx="843">
                  <c:v>2.96</c:v>
                </c:pt>
                <c:pt idx="844">
                  <c:v>2.96</c:v>
                </c:pt>
                <c:pt idx="845">
                  <c:v>2.96</c:v>
                </c:pt>
                <c:pt idx="846">
                  <c:v>2.96</c:v>
                </c:pt>
                <c:pt idx="847">
                  <c:v>2.96</c:v>
                </c:pt>
                <c:pt idx="848">
                  <c:v>2.96</c:v>
                </c:pt>
                <c:pt idx="849">
                  <c:v>2.96</c:v>
                </c:pt>
                <c:pt idx="850">
                  <c:v>2.96</c:v>
                </c:pt>
                <c:pt idx="851">
                  <c:v>2.96</c:v>
                </c:pt>
                <c:pt idx="852">
                  <c:v>2.96</c:v>
                </c:pt>
                <c:pt idx="853">
                  <c:v>2.96</c:v>
                </c:pt>
                <c:pt idx="854">
                  <c:v>2.96</c:v>
                </c:pt>
                <c:pt idx="855">
                  <c:v>2.96</c:v>
                </c:pt>
                <c:pt idx="856">
                  <c:v>2.96</c:v>
                </c:pt>
                <c:pt idx="857">
                  <c:v>2.96</c:v>
                </c:pt>
                <c:pt idx="858">
                  <c:v>2.96</c:v>
                </c:pt>
                <c:pt idx="859">
                  <c:v>2.96</c:v>
                </c:pt>
                <c:pt idx="860">
                  <c:v>2.96</c:v>
                </c:pt>
                <c:pt idx="861">
                  <c:v>2.96</c:v>
                </c:pt>
                <c:pt idx="862">
                  <c:v>2.96</c:v>
                </c:pt>
                <c:pt idx="863">
                  <c:v>2.96</c:v>
                </c:pt>
                <c:pt idx="864">
                  <c:v>2.96</c:v>
                </c:pt>
                <c:pt idx="865">
                  <c:v>2.96</c:v>
                </c:pt>
                <c:pt idx="866">
                  <c:v>2.96</c:v>
                </c:pt>
                <c:pt idx="867">
                  <c:v>2.96</c:v>
                </c:pt>
                <c:pt idx="868">
                  <c:v>2.96</c:v>
                </c:pt>
                <c:pt idx="869">
                  <c:v>2.96</c:v>
                </c:pt>
                <c:pt idx="870">
                  <c:v>2.96</c:v>
                </c:pt>
                <c:pt idx="871">
                  <c:v>2.96</c:v>
                </c:pt>
                <c:pt idx="872">
                  <c:v>2.96</c:v>
                </c:pt>
                <c:pt idx="873">
                  <c:v>2.96</c:v>
                </c:pt>
                <c:pt idx="874">
                  <c:v>2.96</c:v>
                </c:pt>
                <c:pt idx="875">
                  <c:v>2.96</c:v>
                </c:pt>
                <c:pt idx="876">
                  <c:v>2.96</c:v>
                </c:pt>
                <c:pt idx="877">
                  <c:v>2.96</c:v>
                </c:pt>
                <c:pt idx="878">
                  <c:v>2.96</c:v>
                </c:pt>
                <c:pt idx="879">
                  <c:v>2.96</c:v>
                </c:pt>
                <c:pt idx="880">
                  <c:v>2.96</c:v>
                </c:pt>
                <c:pt idx="881">
                  <c:v>2.96</c:v>
                </c:pt>
                <c:pt idx="882">
                  <c:v>2.96</c:v>
                </c:pt>
                <c:pt idx="883">
                  <c:v>2.96</c:v>
                </c:pt>
                <c:pt idx="884">
                  <c:v>2.96</c:v>
                </c:pt>
                <c:pt idx="885">
                  <c:v>2.96</c:v>
                </c:pt>
                <c:pt idx="886">
                  <c:v>2.96</c:v>
                </c:pt>
                <c:pt idx="887">
                  <c:v>2.96</c:v>
                </c:pt>
                <c:pt idx="888">
                  <c:v>2.96</c:v>
                </c:pt>
                <c:pt idx="889">
                  <c:v>2.96</c:v>
                </c:pt>
                <c:pt idx="890">
                  <c:v>2.96</c:v>
                </c:pt>
                <c:pt idx="891">
                  <c:v>2.96</c:v>
                </c:pt>
                <c:pt idx="892">
                  <c:v>2.96</c:v>
                </c:pt>
                <c:pt idx="893">
                  <c:v>2.96</c:v>
                </c:pt>
                <c:pt idx="894">
                  <c:v>2.96</c:v>
                </c:pt>
                <c:pt idx="895">
                  <c:v>2.96</c:v>
                </c:pt>
                <c:pt idx="896">
                  <c:v>2.96</c:v>
                </c:pt>
                <c:pt idx="897">
                  <c:v>2.96</c:v>
                </c:pt>
                <c:pt idx="898">
                  <c:v>2.96</c:v>
                </c:pt>
                <c:pt idx="899">
                  <c:v>2.96</c:v>
                </c:pt>
                <c:pt idx="900">
                  <c:v>2.96</c:v>
                </c:pt>
                <c:pt idx="901">
                  <c:v>2.96</c:v>
                </c:pt>
                <c:pt idx="902">
                  <c:v>2.96</c:v>
                </c:pt>
                <c:pt idx="903">
                  <c:v>2.96</c:v>
                </c:pt>
                <c:pt idx="904">
                  <c:v>2.96</c:v>
                </c:pt>
                <c:pt idx="905">
                  <c:v>2.96</c:v>
                </c:pt>
                <c:pt idx="906">
                  <c:v>2.96</c:v>
                </c:pt>
                <c:pt idx="907">
                  <c:v>2.96</c:v>
                </c:pt>
                <c:pt idx="908">
                  <c:v>2.96</c:v>
                </c:pt>
                <c:pt idx="909">
                  <c:v>2.96</c:v>
                </c:pt>
                <c:pt idx="910">
                  <c:v>2.96</c:v>
                </c:pt>
                <c:pt idx="911">
                  <c:v>2.96</c:v>
                </c:pt>
                <c:pt idx="912">
                  <c:v>2.96</c:v>
                </c:pt>
                <c:pt idx="913">
                  <c:v>2.96</c:v>
                </c:pt>
                <c:pt idx="914">
                  <c:v>2.96</c:v>
                </c:pt>
                <c:pt idx="915">
                  <c:v>2.96</c:v>
                </c:pt>
                <c:pt idx="916">
                  <c:v>2.96</c:v>
                </c:pt>
                <c:pt idx="917">
                  <c:v>2.96</c:v>
                </c:pt>
                <c:pt idx="918">
                  <c:v>2.96</c:v>
                </c:pt>
                <c:pt idx="919">
                  <c:v>2.96</c:v>
                </c:pt>
                <c:pt idx="920">
                  <c:v>2.96</c:v>
                </c:pt>
                <c:pt idx="921">
                  <c:v>2.96</c:v>
                </c:pt>
                <c:pt idx="922">
                  <c:v>2.96</c:v>
                </c:pt>
                <c:pt idx="923">
                  <c:v>2.96</c:v>
                </c:pt>
                <c:pt idx="924">
                  <c:v>2.96</c:v>
                </c:pt>
                <c:pt idx="925">
                  <c:v>2.96</c:v>
                </c:pt>
                <c:pt idx="926">
                  <c:v>2.96</c:v>
                </c:pt>
                <c:pt idx="927">
                  <c:v>2.96</c:v>
                </c:pt>
                <c:pt idx="928">
                  <c:v>2.96</c:v>
                </c:pt>
                <c:pt idx="929">
                  <c:v>2.96</c:v>
                </c:pt>
                <c:pt idx="930">
                  <c:v>2.96</c:v>
                </c:pt>
                <c:pt idx="931">
                  <c:v>2.96</c:v>
                </c:pt>
                <c:pt idx="932">
                  <c:v>2.96</c:v>
                </c:pt>
                <c:pt idx="933">
                  <c:v>2.96</c:v>
                </c:pt>
                <c:pt idx="934">
                  <c:v>2.96</c:v>
                </c:pt>
                <c:pt idx="935">
                  <c:v>2.96</c:v>
                </c:pt>
                <c:pt idx="936">
                  <c:v>2.96</c:v>
                </c:pt>
                <c:pt idx="937">
                  <c:v>2.96</c:v>
                </c:pt>
                <c:pt idx="938">
                  <c:v>2.96</c:v>
                </c:pt>
                <c:pt idx="939">
                  <c:v>2.96</c:v>
                </c:pt>
                <c:pt idx="940">
                  <c:v>2.96</c:v>
                </c:pt>
                <c:pt idx="941">
                  <c:v>2.96</c:v>
                </c:pt>
              </c:numCache>
            </c:numRef>
          </c:val>
          <c:extLst xmlns:c16r2="http://schemas.microsoft.com/office/drawing/2015/06/chart">
            <c:ext xmlns:c16="http://schemas.microsoft.com/office/drawing/2014/chart" uri="{C3380CC4-5D6E-409C-BE32-E72D297353CC}">
              <c16:uniqueId val="{00000008-C04E-46A7-B756-BAE151EF47BF}"/>
            </c:ext>
          </c:extLst>
        </c:ser>
        <c:ser>
          <c:idx val="3"/>
          <c:order val="3"/>
          <c:tx>
            <c:strRef>
              <c:f>Feuil1!$D$6</c:f>
              <c:strCache>
                <c:ptCount val="1"/>
              </c:strCache>
            </c:strRef>
          </c:tx>
          <c:spPr>
            <a:ln w="28575" cap="rnd">
              <a:solidFill>
                <a:srgbClr val="FFC000"/>
              </a:solidFill>
              <a:prstDash val="dash"/>
              <a:round/>
            </a:ln>
            <a:effectLst/>
          </c:spPr>
          <c:marker>
            <c:symbol val="none"/>
          </c:marker>
          <c:dLbls>
            <c:dLbl>
              <c:idx val="106"/>
              <c:layout>
                <c:manualLayout>
                  <c:x val="-2.8462450390566055E-2"/>
                  <c:y val="-6.6024261106332693E-2"/>
                </c:manualLayout>
              </c:layout>
              <c:dLblPos val="r"/>
              <c:showVal val="1"/>
              <c:extLst xmlns:c16r2="http://schemas.microsoft.com/office/drawing/2015/06/chart">
                <c:ext xmlns:c16="http://schemas.microsoft.com/office/drawing/2014/chart" uri="{C3380CC4-5D6E-409C-BE32-E72D297353CC}">
                  <c16:uniqueId val="{00000009-C04E-46A7-B756-BAE151EF47BF}"/>
                </c:ext>
                <c:ext xmlns:c15="http://schemas.microsoft.com/office/drawing/2012/chart" uri="{CE6537A1-D6FC-4f65-9D91-7224C49458BB}">
                  <c15:layout/>
                </c:ext>
              </c:extLst>
            </c:dLbl>
            <c:dLbl>
              <c:idx val="378"/>
              <c:layout>
                <c:manualLayout>
                  <c:x val="-2.1509807469273622E-2"/>
                  <c:y val="-5.9787472846030754E-2"/>
                </c:manualLayout>
              </c:layout>
              <c:dLblPos val="r"/>
              <c:showVal val="1"/>
              <c:extLst xmlns:c16r2="http://schemas.microsoft.com/office/drawing/2015/06/chart">
                <c:ext xmlns:c16="http://schemas.microsoft.com/office/drawing/2014/chart" uri="{C3380CC4-5D6E-409C-BE32-E72D297353CC}">
                  <c16:uniqueId val="{0000000A-C04E-46A7-B756-BAE151EF47BF}"/>
                </c:ext>
                <c:ext xmlns:c15="http://schemas.microsoft.com/office/drawing/2012/chart" uri="{CE6537A1-D6FC-4f65-9D91-7224C49458BB}">
                  <c15:layout/>
                </c:ext>
              </c:extLst>
            </c:dLbl>
            <c:dLbl>
              <c:idx val="639"/>
              <c:layout/>
              <c:dLblPos val="t"/>
              <c:showVal val="1"/>
              <c:extLst xmlns:c16r2="http://schemas.microsoft.com/office/drawing/2015/06/chart">
                <c:ext xmlns:c16="http://schemas.microsoft.com/office/drawing/2014/chart" uri="{C3380CC4-5D6E-409C-BE32-E72D297353CC}">
                  <c16:uniqueId val="{0000000B-C04E-46A7-B756-BAE151EF47BF}"/>
                </c:ext>
                <c:ext xmlns:c15="http://schemas.microsoft.com/office/drawing/2012/chart" uri="{CE6537A1-D6FC-4f65-9D91-7224C49458BB}">
                  <c15:layout/>
                </c:ext>
              </c:extLst>
            </c:dLbl>
            <c:dLbl>
              <c:idx val="848"/>
              <c:layout/>
              <c:dLblPos val="t"/>
              <c:showVal val="1"/>
              <c:extLst xmlns:c16r2="http://schemas.microsoft.com/office/drawing/2015/06/chart">
                <c:ext xmlns:c16="http://schemas.microsoft.com/office/drawing/2014/chart" uri="{C3380CC4-5D6E-409C-BE32-E72D297353CC}">
                  <c16:uniqueId val="{0000000C-C04E-46A7-B756-BAE151EF47BF}"/>
                </c:ext>
                <c:ext xmlns:c15="http://schemas.microsoft.com/office/drawing/2012/chart" uri="{CE6537A1-D6FC-4f65-9D91-7224C49458BB}">
                  <c15:layout/>
                </c:ext>
              </c:extLst>
            </c:dLbl>
            <c:delete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E$2:$AKJ$2</c:f>
              <c:numCache>
                <c:formatCode>dd/mm/yyyy</c:formatCode>
                <c:ptCount val="967"/>
                <c:pt idx="0">
                  <c:v>42373</c:v>
                </c:pt>
                <c:pt idx="1">
                  <c:v>42374</c:v>
                </c:pt>
                <c:pt idx="2">
                  <c:v>42375</c:v>
                </c:pt>
                <c:pt idx="3">
                  <c:v>42376</c:v>
                </c:pt>
                <c:pt idx="4">
                  <c:v>42377</c:v>
                </c:pt>
                <c:pt idx="5">
                  <c:v>42380</c:v>
                </c:pt>
                <c:pt idx="6">
                  <c:v>42381</c:v>
                </c:pt>
                <c:pt idx="7">
                  <c:v>42382</c:v>
                </c:pt>
                <c:pt idx="8">
                  <c:v>42384</c:v>
                </c:pt>
                <c:pt idx="9">
                  <c:v>42387</c:v>
                </c:pt>
                <c:pt idx="10">
                  <c:v>42388</c:v>
                </c:pt>
                <c:pt idx="11">
                  <c:v>42389</c:v>
                </c:pt>
                <c:pt idx="12">
                  <c:v>42390</c:v>
                </c:pt>
                <c:pt idx="13">
                  <c:v>42391</c:v>
                </c:pt>
                <c:pt idx="14">
                  <c:v>42394</c:v>
                </c:pt>
                <c:pt idx="15">
                  <c:v>42395</c:v>
                </c:pt>
                <c:pt idx="16">
                  <c:v>42396</c:v>
                </c:pt>
                <c:pt idx="17">
                  <c:v>42397</c:v>
                </c:pt>
                <c:pt idx="18">
                  <c:v>42398</c:v>
                </c:pt>
                <c:pt idx="19">
                  <c:v>42401</c:v>
                </c:pt>
                <c:pt idx="20">
                  <c:v>42402</c:v>
                </c:pt>
                <c:pt idx="21">
                  <c:v>42403</c:v>
                </c:pt>
                <c:pt idx="22">
                  <c:v>42404</c:v>
                </c:pt>
                <c:pt idx="23">
                  <c:v>42405</c:v>
                </c:pt>
                <c:pt idx="24">
                  <c:v>42408</c:v>
                </c:pt>
                <c:pt idx="25">
                  <c:v>42409</c:v>
                </c:pt>
                <c:pt idx="26">
                  <c:v>42410</c:v>
                </c:pt>
                <c:pt idx="27">
                  <c:v>42411</c:v>
                </c:pt>
                <c:pt idx="28">
                  <c:v>42412</c:v>
                </c:pt>
                <c:pt idx="29">
                  <c:v>42415</c:v>
                </c:pt>
                <c:pt idx="30">
                  <c:v>42416</c:v>
                </c:pt>
                <c:pt idx="31">
                  <c:v>42417</c:v>
                </c:pt>
                <c:pt idx="32">
                  <c:v>42418</c:v>
                </c:pt>
                <c:pt idx="33">
                  <c:v>42419</c:v>
                </c:pt>
                <c:pt idx="34">
                  <c:v>42422</c:v>
                </c:pt>
                <c:pt idx="35">
                  <c:v>42423</c:v>
                </c:pt>
                <c:pt idx="36">
                  <c:v>42424</c:v>
                </c:pt>
                <c:pt idx="37">
                  <c:v>42425</c:v>
                </c:pt>
                <c:pt idx="38">
                  <c:v>42426</c:v>
                </c:pt>
                <c:pt idx="39">
                  <c:v>42429</c:v>
                </c:pt>
                <c:pt idx="40">
                  <c:v>42430</c:v>
                </c:pt>
                <c:pt idx="41">
                  <c:v>42431</c:v>
                </c:pt>
                <c:pt idx="42">
                  <c:v>42432</c:v>
                </c:pt>
                <c:pt idx="43">
                  <c:v>42433</c:v>
                </c:pt>
                <c:pt idx="44">
                  <c:v>42436</c:v>
                </c:pt>
                <c:pt idx="45">
                  <c:v>42437</c:v>
                </c:pt>
                <c:pt idx="46">
                  <c:v>42438</c:v>
                </c:pt>
                <c:pt idx="47">
                  <c:v>42439</c:v>
                </c:pt>
                <c:pt idx="48">
                  <c:v>42440</c:v>
                </c:pt>
                <c:pt idx="49">
                  <c:v>42443</c:v>
                </c:pt>
                <c:pt idx="50">
                  <c:v>42444</c:v>
                </c:pt>
                <c:pt idx="51">
                  <c:v>42445</c:v>
                </c:pt>
                <c:pt idx="52">
                  <c:v>42446</c:v>
                </c:pt>
                <c:pt idx="53">
                  <c:v>42447</c:v>
                </c:pt>
                <c:pt idx="54">
                  <c:v>42450</c:v>
                </c:pt>
                <c:pt idx="55">
                  <c:v>42451</c:v>
                </c:pt>
                <c:pt idx="56">
                  <c:v>42452</c:v>
                </c:pt>
                <c:pt idx="57">
                  <c:v>42453</c:v>
                </c:pt>
                <c:pt idx="58">
                  <c:v>42454</c:v>
                </c:pt>
                <c:pt idx="59">
                  <c:v>42457</c:v>
                </c:pt>
                <c:pt idx="60">
                  <c:v>42458</c:v>
                </c:pt>
                <c:pt idx="61">
                  <c:v>42459</c:v>
                </c:pt>
                <c:pt idx="62">
                  <c:v>42460</c:v>
                </c:pt>
                <c:pt idx="63">
                  <c:v>42461</c:v>
                </c:pt>
                <c:pt idx="64">
                  <c:v>42464</c:v>
                </c:pt>
                <c:pt idx="65">
                  <c:v>42465</c:v>
                </c:pt>
                <c:pt idx="66">
                  <c:v>42466</c:v>
                </c:pt>
                <c:pt idx="67">
                  <c:v>42467</c:v>
                </c:pt>
                <c:pt idx="68">
                  <c:v>42468</c:v>
                </c:pt>
                <c:pt idx="69">
                  <c:v>42471</c:v>
                </c:pt>
                <c:pt idx="70">
                  <c:v>42472</c:v>
                </c:pt>
                <c:pt idx="71">
                  <c:v>42473</c:v>
                </c:pt>
                <c:pt idx="72">
                  <c:v>42474</c:v>
                </c:pt>
                <c:pt idx="73">
                  <c:v>42475</c:v>
                </c:pt>
                <c:pt idx="74">
                  <c:v>42478</c:v>
                </c:pt>
                <c:pt idx="75">
                  <c:v>42479</c:v>
                </c:pt>
                <c:pt idx="76">
                  <c:v>42480</c:v>
                </c:pt>
                <c:pt idx="77">
                  <c:v>42481</c:v>
                </c:pt>
                <c:pt idx="78">
                  <c:v>42482</c:v>
                </c:pt>
                <c:pt idx="79">
                  <c:v>42485</c:v>
                </c:pt>
                <c:pt idx="80">
                  <c:v>42486</c:v>
                </c:pt>
                <c:pt idx="81">
                  <c:v>42487</c:v>
                </c:pt>
                <c:pt idx="82">
                  <c:v>42488</c:v>
                </c:pt>
                <c:pt idx="83">
                  <c:v>42489</c:v>
                </c:pt>
                <c:pt idx="84">
                  <c:v>42492</c:v>
                </c:pt>
                <c:pt idx="85">
                  <c:v>42493</c:v>
                </c:pt>
                <c:pt idx="86">
                  <c:v>42494</c:v>
                </c:pt>
                <c:pt idx="87">
                  <c:v>42495</c:v>
                </c:pt>
                <c:pt idx="88">
                  <c:v>42496</c:v>
                </c:pt>
                <c:pt idx="89">
                  <c:v>42499</c:v>
                </c:pt>
                <c:pt idx="90">
                  <c:v>42500</c:v>
                </c:pt>
                <c:pt idx="91">
                  <c:v>42501</c:v>
                </c:pt>
                <c:pt idx="92">
                  <c:v>42502</c:v>
                </c:pt>
                <c:pt idx="93">
                  <c:v>42503</c:v>
                </c:pt>
                <c:pt idx="94">
                  <c:v>42506</c:v>
                </c:pt>
                <c:pt idx="95">
                  <c:v>42507</c:v>
                </c:pt>
                <c:pt idx="96">
                  <c:v>42508</c:v>
                </c:pt>
                <c:pt idx="97">
                  <c:v>42509</c:v>
                </c:pt>
                <c:pt idx="98">
                  <c:v>42510</c:v>
                </c:pt>
                <c:pt idx="99">
                  <c:v>42513</c:v>
                </c:pt>
                <c:pt idx="100">
                  <c:v>42514</c:v>
                </c:pt>
                <c:pt idx="101">
                  <c:v>42515</c:v>
                </c:pt>
                <c:pt idx="102">
                  <c:v>42516</c:v>
                </c:pt>
                <c:pt idx="103">
                  <c:v>42517</c:v>
                </c:pt>
                <c:pt idx="104">
                  <c:v>42520</c:v>
                </c:pt>
                <c:pt idx="105">
                  <c:v>42521</c:v>
                </c:pt>
                <c:pt idx="106">
                  <c:v>42522</c:v>
                </c:pt>
                <c:pt idx="107">
                  <c:v>42523</c:v>
                </c:pt>
                <c:pt idx="108">
                  <c:v>42524</c:v>
                </c:pt>
                <c:pt idx="109">
                  <c:v>42527</c:v>
                </c:pt>
                <c:pt idx="110">
                  <c:v>42528</c:v>
                </c:pt>
                <c:pt idx="111">
                  <c:v>42529</c:v>
                </c:pt>
                <c:pt idx="112">
                  <c:v>42530</c:v>
                </c:pt>
                <c:pt idx="113">
                  <c:v>42531</c:v>
                </c:pt>
                <c:pt idx="114">
                  <c:v>42534</c:v>
                </c:pt>
                <c:pt idx="115">
                  <c:v>42535</c:v>
                </c:pt>
                <c:pt idx="116">
                  <c:v>42536</c:v>
                </c:pt>
                <c:pt idx="117">
                  <c:v>42537</c:v>
                </c:pt>
                <c:pt idx="118">
                  <c:v>42538</c:v>
                </c:pt>
                <c:pt idx="119">
                  <c:v>42541</c:v>
                </c:pt>
                <c:pt idx="120">
                  <c:v>42542</c:v>
                </c:pt>
                <c:pt idx="121">
                  <c:v>42543</c:v>
                </c:pt>
                <c:pt idx="122">
                  <c:v>42544</c:v>
                </c:pt>
                <c:pt idx="123">
                  <c:v>42545</c:v>
                </c:pt>
                <c:pt idx="124">
                  <c:v>42548</c:v>
                </c:pt>
                <c:pt idx="125">
                  <c:v>42549</c:v>
                </c:pt>
                <c:pt idx="126">
                  <c:v>42550</c:v>
                </c:pt>
                <c:pt idx="127">
                  <c:v>42551</c:v>
                </c:pt>
                <c:pt idx="128">
                  <c:v>42552</c:v>
                </c:pt>
                <c:pt idx="129">
                  <c:v>42555</c:v>
                </c:pt>
                <c:pt idx="130">
                  <c:v>42559</c:v>
                </c:pt>
                <c:pt idx="131">
                  <c:v>42562</c:v>
                </c:pt>
                <c:pt idx="132">
                  <c:v>42563</c:v>
                </c:pt>
                <c:pt idx="133">
                  <c:v>42564</c:v>
                </c:pt>
                <c:pt idx="134">
                  <c:v>42565</c:v>
                </c:pt>
                <c:pt idx="135">
                  <c:v>42566</c:v>
                </c:pt>
                <c:pt idx="136">
                  <c:v>42569</c:v>
                </c:pt>
                <c:pt idx="137">
                  <c:v>42570</c:v>
                </c:pt>
                <c:pt idx="138">
                  <c:v>42571</c:v>
                </c:pt>
                <c:pt idx="139">
                  <c:v>42572</c:v>
                </c:pt>
                <c:pt idx="140">
                  <c:v>42573</c:v>
                </c:pt>
                <c:pt idx="141">
                  <c:v>42577</c:v>
                </c:pt>
                <c:pt idx="142">
                  <c:v>42578</c:v>
                </c:pt>
                <c:pt idx="143">
                  <c:v>42579</c:v>
                </c:pt>
                <c:pt idx="144">
                  <c:v>42580</c:v>
                </c:pt>
                <c:pt idx="145">
                  <c:v>42583</c:v>
                </c:pt>
                <c:pt idx="146">
                  <c:v>42584</c:v>
                </c:pt>
                <c:pt idx="147">
                  <c:v>42585</c:v>
                </c:pt>
                <c:pt idx="148">
                  <c:v>42586</c:v>
                </c:pt>
                <c:pt idx="149">
                  <c:v>42587</c:v>
                </c:pt>
                <c:pt idx="150">
                  <c:v>42590</c:v>
                </c:pt>
                <c:pt idx="151">
                  <c:v>42591</c:v>
                </c:pt>
                <c:pt idx="152">
                  <c:v>42592</c:v>
                </c:pt>
                <c:pt idx="153">
                  <c:v>42593</c:v>
                </c:pt>
                <c:pt idx="154">
                  <c:v>42594</c:v>
                </c:pt>
                <c:pt idx="155">
                  <c:v>42597</c:v>
                </c:pt>
                <c:pt idx="156">
                  <c:v>42598</c:v>
                </c:pt>
                <c:pt idx="157">
                  <c:v>42599</c:v>
                </c:pt>
                <c:pt idx="158">
                  <c:v>42600</c:v>
                </c:pt>
                <c:pt idx="159">
                  <c:v>42601</c:v>
                </c:pt>
                <c:pt idx="160">
                  <c:v>42604</c:v>
                </c:pt>
                <c:pt idx="161">
                  <c:v>42605</c:v>
                </c:pt>
                <c:pt idx="162">
                  <c:v>42606</c:v>
                </c:pt>
                <c:pt idx="163">
                  <c:v>42607</c:v>
                </c:pt>
                <c:pt idx="164">
                  <c:v>42608</c:v>
                </c:pt>
                <c:pt idx="165">
                  <c:v>42611</c:v>
                </c:pt>
                <c:pt idx="166">
                  <c:v>42612</c:v>
                </c:pt>
                <c:pt idx="167">
                  <c:v>42613</c:v>
                </c:pt>
                <c:pt idx="168">
                  <c:v>42614</c:v>
                </c:pt>
                <c:pt idx="169">
                  <c:v>42615</c:v>
                </c:pt>
                <c:pt idx="170">
                  <c:v>42618</c:v>
                </c:pt>
                <c:pt idx="171">
                  <c:v>42619</c:v>
                </c:pt>
                <c:pt idx="172">
                  <c:v>42620</c:v>
                </c:pt>
                <c:pt idx="173">
                  <c:v>42621</c:v>
                </c:pt>
                <c:pt idx="174">
                  <c:v>42622</c:v>
                </c:pt>
                <c:pt idx="175">
                  <c:v>42627</c:v>
                </c:pt>
                <c:pt idx="176">
                  <c:v>42628</c:v>
                </c:pt>
                <c:pt idx="177">
                  <c:v>42629</c:v>
                </c:pt>
                <c:pt idx="178">
                  <c:v>42632</c:v>
                </c:pt>
                <c:pt idx="179">
                  <c:v>42633</c:v>
                </c:pt>
                <c:pt idx="180">
                  <c:v>42634</c:v>
                </c:pt>
                <c:pt idx="181">
                  <c:v>42635</c:v>
                </c:pt>
                <c:pt idx="182">
                  <c:v>42636</c:v>
                </c:pt>
                <c:pt idx="183">
                  <c:v>42639</c:v>
                </c:pt>
                <c:pt idx="184">
                  <c:v>42640</c:v>
                </c:pt>
                <c:pt idx="185">
                  <c:v>42641</c:v>
                </c:pt>
                <c:pt idx="186">
                  <c:v>42642</c:v>
                </c:pt>
                <c:pt idx="187">
                  <c:v>42643</c:v>
                </c:pt>
                <c:pt idx="188">
                  <c:v>42646</c:v>
                </c:pt>
                <c:pt idx="189">
                  <c:v>42647</c:v>
                </c:pt>
                <c:pt idx="190">
                  <c:v>42648</c:v>
                </c:pt>
                <c:pt idx="191">
                  <c:v>42649</c:v>
                </c:pt>
                <c:pt idx="192">
                  <c:v>42650</c:v>
                </c:pt>
                <c:pt idx="193">
                  <c:v>42653</c:v>
                </c:pt>
                <c:pt idx="194">
                  <c:v>42654</c:v>
                </c:pt>
                <c:pt idx="195">
                  <c:v>42655</c:v>
                </c:pt>
                <c:pt idx="196">
                  <c:v>42656</c:v>
                </c:pt>
                <c:pt idx="197">
                  <c:v>42657</c:v>
                </c:pt>
                <c:pt idx="198">
                  <c:v>42660</c:v>
                </c:pt>
                <c:pt idx="199">
                  <c:v>42661</c:v>
                </c:pt>
                <c:pt idx="200">
                  <c:v>42662</c:v>
                </c:pt>
                <c:pt idx="201">
                  <c:v>42663</c:v>
                </c:pt>
                <c:pt idx="202">
                  <c:v>42664</c:v>
                </c:pt>
                <c:pt idx="203">
                  <c:v>42667</c:v>
                </c:pt>
                <c:pt idx="204">
                  <c:v>42668</c:v>
                </c:pt>
                <c:pt idx="205">
                  <c:v>42669</c:v>
                </c:pt>
                <c:pt idx="206">
                  <c:v>42670</c:v>
                </c:pt>
                <c:pt idx="207">
                  <c:v>42671</c:v>
                </c:pt>
                <c:pt idx="208">
                  <c:v>42674</c:v>
                </c:pt>
                <c:pt idx="209">
                  <c:v>42675</c:v>
                </c:pt>
                <c:pt idx="210">
                  <c:v>42676</c:v>
                </c:pt>
                <c:pt idx="211">
                  <c:v>42677</c:v>
                </c:pt>
                <c:pt idx="212">
                  <c:v>42678</c:v>
                </c:pt>
                <c:pt idx="213">
                  <c:v>42681</c:v>
                </c:pt>
                <c:pt idx="214">
                  <c:v>42682</c:v>
                </c:pt>
                <c:pt idx="215">
                  <c:v>42683</c:v>
                </c:pt>
                <c:pt idx="216">
                  <c:v>42684</c:v>
                </c:pt>
                <c:pt idx="217">
                  <c:v>42685</c:v>
                </c:pt>
                <c:pt idx="218">
                  <c:v>42688</c:v>
                </c:pt>
                <c:pt idx="219">
                  <c:v>42689</c:v>
                </c:pt>
                <c:pt idx="220">
                  <c:v>42690</c:v>
                </c:pt>
                <c:pt idx="221">
                  <c:v>42691</c:v>
                </c:pt>
                <c:pt idx="222">
                  <c:v>42692</c:v>
                </c:pt>
                <c:pt idx="223">
                  <c:v>42695</c:v>
                </c:pt>
                <c:pt idx="224">
                  <c:v>42696</c:v>
                </c:pt>
                <c:pt idx="225">
                  <c:v>42697</c:v>
                </c:pt>
                <c:pt idx="226">
                  <c:v>42698</c:v>
                </c:pt>
                <c:pt idx="227">
                  <c:v>42699</c:v>
                </c:pt>
                <c:pt idx="228">
                  <c:v>42702</c:v>
                </c:pt>
                <c:pt idx="229">
                  <c:v>42703</c:v>
                </c:pt>
                <c:pt idx="230">
                  <c:v>42704</c:v>
                </c:pt>
                <c:pt idx="231">
                  <c:v>42705</c:v>
                </c:pt>
                <c:pt idx="232">
                  <c:v>42706</c:v>
                </c:pt>
                <c:pt idx="233">
                  <c:v>42709</c:v>
                </c:pt>
                <c:pt idx="234">
                  <c:v>42710</c:v>
                </c:pt>
                <c:pt idx="235">
                  <c:v>42711</c:v>
                </c:pt>
                <c:pt idx="236">
                  <c:v>42712</c:v>
                </c:pt>
                <c:pt idx="237">
                  <c:v>42713</c:v>
                </c:pt>
                <c:pt idx="238">
                  <c:v>42717</c:v>
                </c:pt>
                <c:pt idx="239">
                  <c:v>42718</c:v>
                </c:pt>
                <c:pt idx="240">
                  <c:v>42719</c:v>
                </c:pt>
                <c:pt idx="241">
                  <c:v>42720</c:v>
                </c:pt>
                <c:pt idx="242">
                  <c:v>42723</c:v>
                </c:pt>
                <c:pt idx="243">
                  <c:v>42724</c:v>
                </c:pt>
                <c:pt idx="244">
                  <c:v>42725</c:v>
                </c:pt>
                <c:pt idx="245">
                  <c:v>42726</c:v>
                </c:pt>
                <c:pt idx="246">
                  <c:v>42727</c:v>
                </c:pt>
                <c:pt idx="247">
                  <c:v>42730</c:v>
                </c:pt>
                <c:pt idx="248">
                  <c:v>42731</c:v>
                </c:pt>
                <c:pt idx="249">
                  <c:v>42732</c:v>
                </c:pt>
                <c:pt idx="250">
                  <c:v>42733</c:v>
                </c:pt>
                <c:pt idx="251">
                  <c:v>42734</c:v>
                </c:pt>
                <c:pt idx="252">
                  <c:v>42737</c:v>
                </c:pt>
                <c:pt idx="253">
                  <c:v>42738</c:v>
                </c:pt>
                <c:pt idx="254">
                  <c:v>42739</c:v>
                </c:pt>
                <c:pt idx="255">
                  <c:v>42740</c:v>
                </c:pt>
                <c:pt idx="256">
                  <c:v>42741</c:v>
                </c:pt>
                <c:pt idx="257">
                  <c:v>42744</c:v>
                </c:pt>
                <c:pt idx="258">
                  <c:v>42745</c:v>
                </c:pt>
                <c:pt idx="259">
                  <c:v>42746</c:v>
                </c:pt>
                <c:pt idx="260">
                  <c:v>42747</c:v>
                </c:pt>
                <c:pt idx="261">
                  <c:v>42748</c:v>
                </c:pt>
                <c:pt idx="262">
                  <c:v>42751</c:v>
                </c:pt>
                <c:pt idx="263">
                  <c:v>42752</c:v>
                </c:pt>
                <c:pt idx="264">
                  <c:v>42753</c:v>
                </c:pt>
                <c:pt idx="265">
                  <c:v>42754</c:v>
                </c:pt>
                <c:pt idx="266">
                  <c:v>42755</c:v>
                </c:pt>
                <c:pt idx="267">
                  <c:v>42758</c:v>
                </c:pt>
                <c:pt idx="268">
                  <c:v>42759</c:v>
                </c:pt>
                <c:pt idx="269">
                  <c:v>42760</c:v>
                </c:pt>
                <c:pt idx="270">
                  <c:v>42761</c:v>
                </c:pt>
                <c:pt idx="271">
                  <c:v>42762</c:v>
                </c:pt>
                <c:pt idx="272">
                  <c:v>42765</c:v>
                </c:pt>
                <c:pt idx="273">
                  <c:v>42766</c:v>
                </c:pt>
                <c:pt idx="274">
                  <c:v>42767</c:v>
                </c:pt>
                <c:pt idx="275">
                  <c:v>42768</c:v>
                </c:pt>
                <c:pt idx="276">
                  <c:v>42769</c:v>
                </c:pt>
                <c:pt idx="277">
                  <c:v>42772</c:v>
                </c:pt>
                <c:pt idx="278">
                  <c:v>42773</c:v>
                </c:pt>
                <c:pt idx="279">
                  <c:v>42774</c:v>
                </c:pt>
                <c:pt idx="280">
                  <c:v>42775</c:v>
                </c:pt>
                <c:pt idx="281">
                  <c:v>42776</c:v>
                </c:pt>
                <c:pt idx="282">
                  <c:v>42779</c:v>
                </c:pt>
                <c:pt idx="283">
                  <c:v>42780</c:v>
                </c:pt>
                <c:pt idx="284">
                  <c:v>42781</c:v>
                </c:pt>
                <c:pt idx="285">
                  <c:v>42782</c:v>
                </c:pt>
                <c:pt idx="286">
                  <c:v>42783</c:v>
                </c:pt>
                <c:pt idx="287">
                  <c:v>42786</c:v>
                </c:pt>
                <c:pt idx="288">
                  <c:v>42787</c:v>
                </c:pt>
                <c:pt idx="289">
                  <c:v>42788</c:v>
                </c:pt>
                <c:pt idx="290">
                  <c:v>42789</c:v>
                </c:pt>
                <c:pt idx="291">
                  <c:v>42790</c:v>
                </c:pt>
                <c:pt idx="292">
                  <c:v>42793</c:v>
                </c:pt>
                <c:pt idx="293">
                  <c:v>42794</c:v>
                </c:pt>
                <c:pt idx="294">
                  <c:v>42795</c:v>
                </c:pt>
                <c:pt idx="295">
                  <c:v>42796</c:v>
                </c:pt>
                <c:pt idx="296">
                  <c:v>42797</c:v>
                </c:pt>
                <c:pt idx="297">
                  <c:v>42800</c:v>
                </c:pt>
                <c:pt idx="298">
                  <c:v>42801</c:v>
                </c:pt>
                <c:pt idx="299">
                  <c:v>42802</c:v>
                </c:pt>
                <c:pt idx="300">
                  <c:v>42803</c:v>
                </c:pt>
                <c:pt idx="301">
                  <c:v>42804</c:v>
                </c:pt>
                <c:pt idx="302">
                  <c:v>42807</c:v>
                </c:pt>
                <c:pt idx="303">
                  <c:v>42808</c:v>
                </c:pt>
                <c:pt idx="304">
                  <c:v>42809</c:v>
                </c:pt>
                <c:pt idx="305">
                  <c:v>42810</c:v>
                </c:pt>
                <c:pt idx="306">
                  <c:v>42811</c:v>
                </c:pt>
                <c:pt idx="307">
                  <c:v>42815</c:v>
                </c:pt>
                <c:pt idx="308">
                  <c:v>42816</c:v>
                </c:pt>
                <c:pt idx="309">
                  <c:v>42817</c:v>
                </c:pt>
                <c:pt idx="310">
                  <c:v>42818</c:v>
                </c:pt>
                <c:pt idx="311">
                  <c:v>42821</c:v>
                </c:pt>
                <c:pt idx="312">
                  <c:v>42822</c:v>
                </c:pt>
                <c:pt idx="313">
                  <c:v>42823</c:v>
                </c:pt>
                <c:pt idx="314">
                  <c:v>42824</c:v>
                </c:pt>
                <c:pt idx="315">
                  <c:v>42825</c:v>
                </c:pt>
                <c:pt idx="316">
                  <c:v>42828</c:v>
                </c:pt>
                <c:pt idx="317">
                  <c:v>42829</c:v>
                </c:pt>
                <c:pt idx="318">
                  <c:v>42830</c:v>
                </c:pt>
                <c:pt idx="319">
                  <c:v>42831</c:v>
                </c:pt>
                <c:pt idx="320">
                  <c:v>42832</c:v>
                </c:pt>
                <c:pt idx="321">
                  <c:v>42835</c:v>
                </c:pt>
                <c:pt idx="322">
                  <c:v>42836</c:v>
                </c:pt>
                <c:pt idx="323">
                  <c:v>42837</c:v>
                </c:pt>
                <c:pt idx="324">
                  <c:v>42838</c:v>
                </c:pt>
                <c:pt idx="325">
                  <c:v>42839</c:v>
                </c:pt>
                <c:pt idx="326">
                  <c:v>42842</c:v>
                </c:pt>
                <c:pt idx="327">
                  <c:v>42843</c:v>
                </c:pt>
                <c:pt idx="328">
                  <c:v>42844</c:v>
                </c:pt>
                <c:pt idx="329">
                  <c:v>42845</c:v>
                </c:pt>
                <c:pt idx="330">
                  <c:v>42846</c:v>
                </c:pt>
                <c:pt idx="331">
                  <c:v>42849</c:v>
                </c:pt>
                <c:pt idx="332">
                  <c:v>42850</c:v>
                </c:pt>
                <c:pt idx="333">
                  <c:v>42851</c:v>
                </c:pt>
                <c:pt idx="334">
                  <c:v>42852</c:v>
                </c:pt>
                <c:pt idx="335">
                  <c:v>42853</c:v>
                </c:pt>
                <c:pt idx="336">
                  <c:v>42857</c:v>
                </c:pt>
                <c:pt idx="337">
                  <c:v>42858</c:v>
                </c:pt>
                <c:pt idx="338">
                  <c:v>42859</c:v>
                </c:pt>
                <c:pt idx="339">
                  <c:v>42860</c:v>
                </c:pt>
                <c:pt idx="340">
                  <c:v>42863</c:v>
                </c:pt>
                <c:pt idx="341">
                  <c:v>42864</c:v>
                </c:pt>
                <c:pt idx="342">
                  <c:v>42865</c:v>
                </c:pt>
                <c:pt idx="343">
                  <c:v>42866</c:v>
                </c:pt>
                <c:pt idx="344">
                  <c:v>42867</c:v>
                </c:pt>
                <c:pt idx="345">
                  <c:v>42870</c:v>
                </c:pt>
                <c:pt idx="346">
                  <c:v>42871</c:v>
                </c:pt>
                <c:pt idx="347">
                  <c:v>42872</c:v>
                </c:pt>
                <c:pt idx="348">
                  <c:v>42873</c:v>
                </c:pt>
                <c:pt idx="349">
                  <c:v>42874</c:v>
                </c:pt>
                <c:pt idx="350">
                  <c:v>42877</c:v>
                </c:pt>
                <c:pt idx="351">
                  <c:v>42878</c:v>
                </c:pt>
                <c:pt idx="352">
                  <c:v>42879</c:v>
                </c:pt>
                <c:pt idx="353">
                  <c:v>42880</c:v>
                </c:pt>
                <c:pt idx="354">
                  <c:v>42881</c:v>
                </c:pt>
                <c:pt idx="355">
                  <c:v>42884</c:v>
                </c:pt>
                <c:pt idx="356">
                  <c:v>42885</c:v>
                </c:pt>
                <c:pt idx="357">
                  <c:v>42886</c:v>
                </c:pt>
                <c:pt idx="358">
                  <c:v>42887</c:v>
                </c:pt>
                <c:pt idx="359">
                  <c:v>42888</c:v>
                </c:pt>
                <c:pt idx="360">
                  <c:v>42891</c:v>
                </c:pt>
                <c:pt idx="361">
                  <c:v>42892</c:v>
                </c:pt>
                <c:pt idx="362">
                  <c:v>42893</c:v>
                </c:pt>
                <c:pt idx="363">
                  <c:v>42894</c:v>
                </c:pt>
                <c:pt idx="364">
                  <c:v>42895</c:v>
                </c:pt>
                <c:pt idx="365">
                  <c:v>42898</c:v>
                </c:pt>
                <c:pt idx="366">
                  <c:v>42899</c:v>
                </c:pt>
                <c:pt idx="367">
                  <c:v>42900</c:v>
                </c:pt>
                <c:pt idx="368">
                  <c:v>42901</c:v>
                </c:pt>
                <c:pt idx="369">
                  <c:v>42902</c:v>
                </c:pt>
                <c:pt idx="370">
                  <c:v>42905</c:v>
                </c:pt>
                <c:pt idx="371">
                  <c:v>42906</c:v>
                </c:pt>
                <c:pt idx="372">
                  <c:v>42907</c:v>
                </c:pt>
                <c:pt idx="373">
                  <c:v>42908</c:v>
                </c:pt>
                <c:pt idx="374">
                  <c:v>42909</c:v>
                </c:pt>
                <c:pt idx="375">
                  <c:v>42914</c:v>
                </c:pt>
                <c:pt idx="376">
                  <c:v>42915</c:v>
                </c:pt>
                <c:pt idx="377">
                  <c:v>42916</c:v>
                </c:pt>
                <c:pt idx="378">
                  <c:v>42919</c:v>
                </c:pt>
                <c:pt idx="379">
                  <c:v>42920</c:v>
                </c:pt>
                <c:pt idx="380">
                  <c:v>42921</c:v>
                </c:pt>
                <c:pt idx="381">
                  <c:v>42922</c:v>
                </c:pt>
                <c:pt idx="382">
                  <c:v>42923</c:v>
                </c:pt>
                <c:pt idx="383">
                  <c:v>42926</c:v>
                </c:pt>
                <c:pt idx="384">
                  <c:v>42927</c:v>
                </c:pt>
                <c:pt idx="385">
                  <c:v>42928</c:v>
                </c:pt>
                <c:pt idx="386">
                  <c:v>42929</c:v>
                </c:pt>
                <c:pt idx="387">
                  <c:v>42930</c:v>
                </c:pt>
                <c:pt idx="388">
                  <c:v>42933</c:v>
                </c:pt>
                <c:pt idx="389">
                  <c:v>42934</c:v>
                </c:pt>
                <c:pt idx="390">
                  <c:v>42935</c:v>
                </c:pt>
                <c:pt idx="391">
                  <c:v>42936</c:v>
                </c:pt>
                <c:pt idx="392">
                  <c:v>42937</c:v>
                </c:pt>
                <c:pt idx="393">
                  <c:v>42940</c:v>
                </c:pt>
                <c:pt idx="394">
                  <c:v>42942</c:v>
                </c:pt>
                <c:pt idx="395">
                  <c:v>42943</c:v>
                </c:pt>
                <c:pt idx="396">
                  <c:v>42944</c:v>
                </c:pt>
                <c:pt idx="397">
                  <c:v>42947</c:v>
                </c:pt>
                <c:pt idx="398">
                  <c:v>42948</c:v>
                </c:pt>
                <c:pt idx="399">
                  <c:v>42949</c:v>
                </c:pt>
                <c:pt idx="400">
                  <c:v>42950</c:v>
                </c:pt>
                <c:pt idx="401">
                  <c:v>42951</c:v>
                </c:pt>
                <c:pt idx="402">
                  <c:v>42954</c:v>
                </c:pt>
                <c:pt idx="403">
                  <c:v>42955</c:v>
                </c:pt>
                <c:pt idx="404">
                  <c:v>42956</c:v>
                </c:pt>
                <c:pt idx="405">
                  <c:v>42957</c:v>
                </c:pt>
                <c:pt idx="406">
                  <c:v>42958</c:v>
                </c:pt>
                <c:pt idx="407">
                  <c:v>42961</c:v>
                </c:pt>
                <c:pt idx="408">
                  <c:v>42962</c:v>
                </c:pt>
                <c:pt idx="409">
                  <c:v>42963</c:v>
                </c:pt>
                <c:pt idx="410">
                  <c:v>42964</c:v>
                </c:pt>
                <c:pt idx="411">
                  <c:v>42965</c:v>
                </c:pt>
                <c:pt idx="412">
                  <c:v>42968</c:v>
                </c:pt>
                <c:pt idx="413">
                  <c:v>42969</c:v>
                </c:pt>
                <c:pt idx="414">
                  <c:v>42970</c:v>
                </c:pt>
                <c:pt idx="415">
                  <c:v>42971</c:v>
                </c:pt>
                <c:pt idx="416">
                  <c:v>42972</c:v>
                </c:pt>
                <c:pt idx="417">
                  <c:v>42975</c:v>
                </c:pt>
                <c:pt idx="418">
                  <c:v>42976</c:v>
                </c:pt>
                <c:pt idx="419">
                  <c:v>42977</c:v>
                </c:pt>
                <c:pt idx="420">
                  <c:v>42978</c:v>
                </c:pt>
                <c:pt idx="421">
                  <c:v>42982</c:v>
                </c:pt>
                <c:pt idx="422">
                  <c:v>42983</c:v>
                </c:pt>
                <c:pt idx="423">
                  <c:v>42984</c:v>
                </c:pt>
                <c:pt idx="424">
                  <c:v>42985</c:v>
                </c:pt>
                <c:pt idx="425">
                  <c:v>42986</c:v>
                </c:pt>
                <c:pt idx="426">
                  <c:v>42989</c:v>
                </c:pt>
                <c:pt idx="427">
                  <c:v>42990</c:v>
                </c:pt>
                <c:pt idx="428">
                  <c:v>42991</c:v>
                </c:pt>
                <c:pt idx="429">
                  <c:v>42992</c:v>
                </c:pt>
                <c:pt idx="430">
                  <c:v>42993</c:v>
                </c:pt>
                <c:pt idx="431">
                  <c:v>42996</c:v>
                </c:pt>
                <c:pt idx="432">
                  <c:v>42997</c:v>
                </c:pt>
                <c:pt idx="433">
                  <c:v>42998</c:v>
                </c:pt>
                <c:pt idx="434">
                  <c:v>43000</c:v>
                </c:pt>
                <c:pt idx="435">
                  <c:v>43003</c:v>
                </c:pt>
                <c:pt idx="436">
                  <c:v>43004</c:v>
                </c:pt>
                <c:pt idx="437">
                  <c:v>43005</c:v>
                </c:pt>
                <c:pt idx="438">
                  <c:v>43006</c:v>
                </c:pt>
                <c:pt idx="439">
                  <c:v>43007</c:v>
                </c:pt>
                <c:pt idx="440">
                  <c:v>43010</c:v>
                </c:pt>
                <c:pt idx="441">
                  <c:v>43011</c:v>
                </c:pt>
                <c:pt idx="442">
                  <c:v>43012</c:v>
                </c:pt>
                <c:pt idx="443">
                  <c:v>43013</c:v>
                </c:pt>
                <c:pt idx="444">
                  <c:v>43014</c:v>
                </c:pt>
                <c:pt idx="445">
                  <c:v>43017</c:v>
                </c:pt>
                <c:pt idx="446">
                  <c:v>43018</c:v>
                </c:pt>
                <c:pt idx="447">
                  <c:v>43019</c:v>
                </c:pt>
                <c:pt idx="448">
                  <c:v>43020</c:v>
                </c:pt>
                <c:pt idx="449">
                  <c:v>43021</c:v>
                </c:pt>
                <c:pt idx="450">
                  <c:v>43024</c:v>
                </c:pt>
                <c:pt idx="451">
                  <c:v>43025</c:v>
                </c:pt>
                <c:pt idx="452">
                  <c:v>43026</c:v>
                </c:pt>
                <c:pt idx="453">
                  <c:v>43027</c:v>
                </c:pt>
                <c:pt idx="454">
                  <c:v>43028</c:v>
                </c:pt>
                <c:pt idx="455">
                  <c:v>43031</c:v>
                </c:pt>
                <c:pt idx="456">
                  <c:v>43032</c:v>
                </c:pt>
                <c:pt idx="457">
                  <c:v>43033</c:v>
                </c:pt>
                <c:pt idx="458">
                  <c:v>43034</c:v>
                </c:pt>
                <c:pt idx="459">
                  <c:v>43035</c:v>
                </c:pt>
                <c:pt idx="460">
                  <c:v>43038</c:v>
                </c:pt>
                <c:pt idx="461">
                  <c:v>43039</c:v>
                </c:pt>
                <c:pt idx="462">
                  <c:v>43040</c:v>
                </c:pt>
                <c:pt idx="463">
                  <c:v>43041</c:v>
                </c:pt>
                <c:pt idx="464">
                  <c:v>43042</c:v>
                </c:pt>
                <c:pt idx="465">
                  <c:v>43045</c:v>
                </c:pt>
                <c:pt idx="466">
                  <c:v>43046</c:v>
                </c:pt>
                <c:pt idx="467">
                  <c:v>43047</c:v>
                </c:pt>
                <c:pt idx="468">
                  <c:v>43048</c:v>
                </c:pt>
                <c:pt idx="469">
                  <c:v>43049</c:v>
                </c:pt>
                <c:pt idx="470">
                  <c:v>43052</c:v>
                </c:pt>
                <c:pt idx="471">
                  <c:v>43053</c:v>
                </c:pt>
                <c:pt idx="472">
                  <c:v>43054</c:v>
                </c:pt>
                <c:pt idx="473">
                  <c:v>43055</c:v>
                </c:pt>
                <c:pt idx="474">
                  <c:v>43056</c:v>
                </c:pt>
                <c:pt idx="475">
                  <c:v>43059</c:v>
                </c:pt>
                <c:pt idx="476">
                  <c:v>43060</c:v>
                </c:pt>
                <c:pt idx="477">
                  <c:v>43061</c:v>
                </c:pt>
                <c:pt idx="478">
                  <c:v>43062</c:v>
                </c:pt>
                <c:pt idx="479">
                  <c:v>43063</c:v>
                </c:pt>
                <c:pt idx="480">
                  <c:v>43066</c:v>
                </c:pt>
                <c:pt idx="481">
                  <c:v>43067</c:v>
                </c:pt>
                <c:pt idx="482">
                  <c:v>43068</c:v>
                </c:pt>
                <c:pt idx="483">
                  <c:v>43069</c:v>
                </c:pt>
                <c:pt idx="484">
                  <c:v>43073</c:v>
                </c:pt>
                <c:pt idx="485">
                  <c:v>43074</c:v>
                </c:pt>
                <c:pt idx="486">
                  <c:v>43075</c:v>
                </c:pt>
                <c:pt idx="487">
                  <c:v>43076</c:v>
                </c:pt>
                <c:pt idx="488">
                  <c:v>43077</c:v>
                </c:pt>
                <c:pt idx="489">
                  <c:v>43080</c:v>
                </c:pt>
                <c:pt idx="490">
                  <c:v>43081</c:v>
                </c:pt>
                <c:pt idx="491">
                  <c:v>43082</c:v>
                </c:pt>
                <c:pt idx="492">
                  <c:v>43083</c:v>
                </c:pt>
                <c:pt idx="493">
                  <c:v>43084</c:v>
                </c:pt>
                <c:pt idx="494">
                  <c:v>43087</c:v>
                </c:pt>
                <c:pt idx="495">
                  <c:v>43088</c:v>
                </c:pt>
                <c:pt idx="496">
                  <c:v>43089</c:v>
                </c:pt>
                <c:pt idx="497">
                  <c:v>43090</c:v>
                </c:pt>
                <c:pt idx="498">
                  <c:v>43091</c:v>
                </c:pt>
                <c:pt idx="499">
                  <c:v>43094</c:v>
                </c:pt>
                <c:pt idx="500">
                  <c:v>43095</c:v>
                </c:pt>
                <c:pt idx="501">
                  <c:v>43096</c:v>
                </c:pt>
                <c:pt idx="502">
                  <c:v>43097</c:v>
                </c:pt>
                <c:pt idx="503">
                  <c:v>43098</c:v>
                </c:pt>
                <c:pt idx="504">
                  <c:v>43102</c:v>
                </c:pt>
                <c:pt idx="505">
                  <c:v>43103</c:v>
                </c:pt>
                <c:pt idx="506">
                  <c:v>43104</c:v>
                </c:pt>
                <c:pt idx="507">
                  <c:v>43105</c:v>
                </c:pt>
                <c:pt idx="508">
                  <c:v>43108</c:v>
                </c:pt>
                <c:pt idx="509">
                  <c:v>43109</c:v>
                </c:pt>
                <c:pt idx="510">
                  <c:v>43110</c:v>
                </c:pt>
                <c:pt idx="511">
                  <c:v>43111</c:v>
                </c:pt>
                <c:pt idx="512">
                  <c:v>43112</c:v>
                </c:pt>
                <c:pt idx="513">
                  <c:v>43115</c:v>
                </c:pt>
                <c:pt idx="514">
                  <c:v>43116</c:v>
                </c:pt>
                <c:pt idx="515">
                  <c:v>43117</c:v>
                </c:pt>
                <c:pt idx="516">
                  <c:v>43118</c:v>
                </c:pt>
                <c:pt idx="517">
                  <c:v>43119</c:v>
                </c:pt>
                <c:pt idx="518">
                  <c:v>43122</c:v>
                </c:pt>
                <c:pt idx="519">
                  <c:v>43123</c:v>
                </c:pt>
                <c:pt idx="520">
                  <c:v>43124</c:v>
                </c:pt>
                <c:pt idx="521">
                  <c:v>43125</c:v>
                </c:pt>
                <c:pt idx="522">
                  <c:v>43126</c:v>
                </c:pt>
                <c:pt idx="523">
                  <c:v>43129</c:v>
                </c:pt>
                <c:pt idx="524">
                  <c:v>43130</c:v>
                </c:pt>
                <c:pt idx="525">
                  <c:v>43131</c:v>
                </c:pt>
                <c:pt idx="526">
                  <c:v>43132</c:v>
                </c:pt>
                <c:pt idx="527">
                  <c:v>43133</c:v>
                </c:pt>
                <c:pt idx="528">
                  <c:v>43136</c:v>
                </c:pt>
                <c:pt idx="529">
                  <c:v>43137</c:v>
                </c:pt>
                <c:pt idx="530">
                  <c:v>43138</c:v>
                </c:pt>
                <c:pt idx="531">
                  <c:v>43139</c:v>
                </c:pt>
                <c:pt idx="532">
                  <c:v>43140</c:v>
                </c:pt>
                <c:pt idx="533">
                  <c:v>43143</c:v>
                </c:pt>
                <c:pt idx="534">
                  <c:v>43144</c:v>
                </c:pt>
                <c:pt idx="535">
                  <c:v>43145</c:v>
                </c:pt>
                <c:pt idx="536">
                  <c:v>43146</c:v>
                </c:pt>
                <c:pt idx="537">
                  <c:v>43147</c:v>
                </c:pt>
                <c:pt idx="538">
                  <c:v>43150</c:v>
                </c:pt>
                <c:pt idx="539">
                  <c:v>43151</c:v>
                </c:pt>
                <c:pt idx="540">
                  <c:v>43152</c:v>
                </c:pt>
                <c:pt idx="541">
                  <c:v>43153</c:v>
                </c:pt>
                <c:pt idx="542">
                  <c:v>43154</c:v>
                </c:pt>
                <c:pt idx="543">
                  <c:v>43157</c:v>
                </c:pt>
                <c:pt idx="544">
                  <c:v>43158</c:v>
                </c:pt>
                <c:pt idx="545">
                  <c:v>43159</c:v>
                </c:pt>
                <c:pt idx="546">
                  <c:v>43160</c:v>
                </c:pt>
                <c:pt idx="547">
                  <c:v>43161</c:v>
                </c:pt>
                <c:pt idx="548">
                  <c:v>43164</c:v>
                </c:pt>
                <c:pt idx="549">
                  <c:v>43165</c:v>
                </c:pt>
                <c:pt idx="550">
                  <c:v>43166</c:v>
                </c:pt>
                <c:pt idx="551">
                  <c:v>43167</c:v>
                </c:pt>
                <c:pt idx="552">
                  <c:v>43168</c:v>
                </c:pt>
                <c:pt idx="553">
                  <c:v>43171</c:v>
                </c:pt>
                <c:pt idx="554">
                  <c:v>43172</c:v>
                </c:pt>
                <c:pt idx="555">
                  <c:v>43173</c:v>
                </c:pt>
                <c:pt idx="556">
                  <c:v>43174</c:v>
                </c:pt>
                <c:pt idx="557">
                  <c:v>43175</c:v>
                </c:pt>
                <c:pt idx="558">
                  <c:v>43178</c:v>
                </c:pt>
                <c:pt idx="559">
                  <c:v>43180</c:v>
                </c:pt>
                <c:pt idx="560">
                  <c:v>43181</c:v>
                </c:pt>
                <c:pt idx="561">
                  <c:v>43182</c:v>
                </c:pt>
                <c:pt idx="562">
                  <c:v>43185</c:v>
                </c:pt>
                <c:pt idx="563">
                  <c:v>43186</c:v>
                </c:pt>
                <c:pt idx="564">
                  <c:v>43187</c:v>
                </c:pt>
                <c:pt idx="565">
                  <c:v>43188</c:v>
                </c:pt>
                <c:pt idx="566">
                  <c:v>43189</c:v>
                </c:pt>
                <c:pt idx="567">
                  <c:v>43192</c:v>
                </c:pt>
                <c:pt idx="568">
                  <c:v>43193</c:v>
                </c:pt>
                <c:pt idx="569">
                  <c:v>43194</c:v>
                </c:pt>
                <c:pt idx="570">
                  <c:v>43195</c:v>
                </c:pt>
                <c:pt idx="571">
                  <c:v>43196</c:v>
                </c:pt>
                <c:pt idx="572">
                  <c:v>43200</c:v>
                </c:pt>
                <c:pt idx="573">
                  <c:v>43201</c:v>
                </c:pt>
                <c:pt idx="574">
                  <c:v>43202</c:v>
                </c:pt>
                <c:pt idx="575">
                  <c:v>43203</c:v>
                </c:pt>
                <c:pt idx="576">
                  <c:v>43206</c:v>
                </c:pt>
                <c:pt idx="577">
                  <c:v>43207</c:v>
                </c:pt>
                <c:pt idx="578">
                  <c:v>43208</c:v>
                </c:pt>
                <c:pt idx="579">
                  <c:v>43209</c:v>
                </c:pt>
                <c:pt idx="580">
                  <c:v>43210</c:v>
                </c:pt>
                <c:pt idx="581">
                  <c:v>43213</c:v>
                </c:pt>
                <c:pt idx="582">
                  <c:v>43214</c:v>
                </c:pt>
                <c:pt idx="583">
                  <c:v>43215</c:v>
                </c:pt>
                <c:pt idx="584">
                  <c:v>43216</c:v>
                </c:pt>
                <c:pt idx="585">
                  <c:v>43217</c:v>
                </c:pt>
                <c:pt idx="586">
                  <c:v>43220</c:v>
                </c:pt>
                <c:pt idx="587">
                  <c:v>43222</c:v>
                </c:pt>
                <c:pt idx="588">
                  <c:v>43223</c:v>
                </c:pt>
                <c:pt idx="589">
                  <c:v>43224</c:v>
                </c:pt>
                <c:pt idx="590">
                  <c:v>43227</c:v>
                </c:pt>
                <c:pt idx="591">
                  <c:v>43228</c:v>
                </c:pt>
                <c:pt idx="592">
                  <c:v>43229</c:v>
                </c:pt>
                <c:pt idx="593">
                  <c:v>43230</c:v>
                </c:pt>
                <c:pt idx="594">
                  <c:v>43231</c:v>
                </c:pt>
                <c:pt idx="595">
                  <c:v>43234</c:v>
                </c:pt>
                <c:pt idx="596">
                  <c:v>43235</c:v>
                </c:pt>
                <c:pt idx="597">
                  <c:v>43236</c:v>
                </c:pt>
                <c:pt idx="598">
                  <c:v>43237</c:v>
                </c:pt>
                <c:pt idx="599">
                  <c:v>43238</c:v>
                </c:pt>
                <c:pt idx="600">
                  <c:v>43241</c:v>
                </c:pt>
                <c:pt idx="601">
                  <c:v>43242</c:v>
                </c:pt>
                <c:pt idx="602">
                  <c:v>43243</c:v>
                </c:pt>
                <c:pt idx="603">
                  <c:v>43244</c:v>
                </c:pt>
                <c:pt idx="604">
                  <c:v>43245</c:v>
                </c:pt>
                <c:pt idx="605">
                  <c:v>43248</c:v>
                </c:pt>
                <c:pt idx="606">
                  <c:v>43249</c:v>
                </c:pt>
                <c:pt idx="607">
                  <c:v>43250</c:v>
                </c:pt>
                <c:pt idx="608">
                  <c:v>43251</c:v>
                </c:pt>
                <c:pt idx="609">
                  <c:v>43252</c:v>
                </c:pt>
                <c:pt idx="610">
                  <c:v>43255</c:v>
                </c:pt>
                <c:pt idx="611">
                  <c:v>43256</c:v>
                </c:pt>
                <c:pt idx="612">
                  <c:v>43257</c:v>
                </c:pt>
                <c:pt idx="613">
                  <c:v>43258</c:v>
                </c:pt>
                <c:pt idx="614">
                  <c:v>43259</c:v>
                </c:pt>
                <c:pt idx="615">
                  <c:v>43262</c:v>
                </c:pt>
                <c:pt idx="616">
                  <c:v>43263</c:v>
                </c:pt>
                <c:pt idx="617">
                  <c:v>43264</c:v>
                </c:pt>
                <c:pt idx="618">
                  <c:v>43265</c:v>
                </c:pt>
                <c:pt idx="619">
                  <c:v>43269</c:v>
                </c:pt>
                <c:pt idx="620">
                  <c:v>43270</c:v>
                </c:pt>
                <c:pt idx="621">
                  <c:v>43271</c:v>
                </c:pt>
                <c:pt idx="622">
                  <c:v>43272</c:v>
                </c:pt>
                <c:pt idx="623">
                  <c:v>43273</c:v>
                </c:pt>
                <c:pt idx="624">
                  <c:v>43276</c:v>
                </c:pt>
                <c:pt idx="625">
                  <c:v>43277</c:v>
                </c:pt>
                <c:pt idx="626">
                  <c:v>43278</c:v>
                </c:pt>
                <c:pt idx="627">
                  <c:v>43279</c:v>
                </c:pt>
                <c:pt idx="628">
                  <c:v>43280</c:v>
                </c:pt>
                <c:pt idx="629">
                  <c:v>43283</c:v>
                </c:pt>
                <c:pt idx="630">
                  <c:v>43284</c:v>
                </c:pt>
                <c:pt idx="631">
                  <c:v>43285</c:v>
                </c:pt>
                <c:pt idx="632">
                  <c:v>43286</c:v>
                </c:pt>
                <c:pt idx="633">
                  <c:v>43287</c:v>
                </c:pt>
                <c:pt idx="634">
                  <c:v>43290</c:v>
                </c:pt>
                <c:pt idx="635">
                  <c:v>43291</c:v>
                </c:pt>
                <c:pt idx="636">
                  <c:v>43292</c:v>
                </c:pt>
                <c:pt idx="637">
                  <c:v>43293</c:v>
                </c:pt>
                <c:pt idx="638">
                  <c:v>43294</c:v>
                </c:pt>
                <c:pt idx="639">
                  <c:v>43297</c:v>
                </c:pt>
                <c:pt idx="640">
                  <c:v>43298</c:v>
                </c:pt>
                <c:pt idx="641">
                  <c:v>43299</c:v>
                </c:pt>
                <c:pt idx="642">
                  <c:v>43300</c:v>
                </c:pt>
                <c:pt idx="643">
                  <c:v>43301</c:v>
                </c:pt>
                <c:pt idx="644">
                  <c:v>43304</c:v>
                </c:pt>
                <c:pt idx="645">
                  <c:v>43305</c:v>
                </c:pt>
                <c:pt idx="646">
                  <c:v>43307</c:v>
                </c:pt>
                <c:pt idx="647">
                  <c:v>43308</c:v>
                </c:pt>
                <c:pt idx="648">
                  <c:v>43311</c:v>
                </c:pt>
                <c:pt idx="649">
                  <c:v>43312</c:v>
                </c:pt>
                <c:pt idx="650">
                  <c:v>43313</c:v>
                </c:pt>
                <c:pt idx="651">
                  <c:v>43314</c:v>
                </c:pt>
                <c:pt idx="652">
                  <c:v>43315</c:v>
                </c:pt>
                <c:pt idx="653">
                  <c:v>43318</c:v>
                </c:pt>
                <c:pt idx="654">
                  <c:v>43319</c:v>
                </c:pt>
                <c:pt idx="655">
                  <c:v>43320</c:v>
                </c:pt>
                <c:pt idx="656">
                  <c:v>43321</c:v>
                </c:pt>
                <c:pt idx="657">
                  <c:v>43322</c:v>
                </c:pt>
                <c:pt idx="658">
                  <c:v>43326</c:v>
                </c:pt>
                <c:pt idx="659">
                  <c:v>43327</c:v>
                </c:pt>
                <c:pt idx="660">
                  <c:v>43328</c:v>
                </c:pt>
                <c:pt idx="661">
                  <c:v>43329</c:v>
                </c:pt>
                <c:pt idx="662">
                  <c:v>43332</c:v>
                </c:pt>
                <c:pt idx="663">
                  <c:v>43335</c:v>
                </c:pt>
                <c:pt idx="664">
                  <c:v>43336</c:v>
                </c:pt>
                <c:pt idx="665">
                  <c:v>43339</c:v>
                </c:pt>
                <c:pt idx="666">
                  <c:v>43340</c:v>
                </c:pt>
                <c:pt idx="667">
                  <c:v>43341</c:v>
                </c:pt>
                <c:pt idx="668">
                  <c:v>43342</c:v>
                </c:pt>
                <c:pt idx="669">
                  <c:v>43343</c:v>
                </c:pt>
                <c:pt idx="670">
                  <c:v>43346</c:v>
                </c:pt>
                <c:pt idx="671">
                  <c:v>43347</c:v>
                </c:pt>
                <c:pt idx="672">
                  <c:v>43348</c:v>
                </c:pt>
                <c:pt idx="673">
                  <c:v>43349</c:v>
                </c:pt>
                <c:pt idx="674">
                  <c:v>43350</c:v>
                </c:pt>
                <c:pt idx="675">
                  <c:v>43353</c:v>
                </c:pt>
                <c:pt idx="676">
                  <c:v>43355</c:v>
                </c:pt>
                <c:pt idx="677">
                  <c:v>43356</c:v>
                </c:pt>
                <c:pt idx="678">
                  <c:v>43357</c:v>
                </c:pt>
                <c:pt idx="679">
                  <c:v>43360</c:v>
                </c:pt>
                <c:pt idx="680">
                  <c:v>43361</c:v>
                </c:pt>
                <c:pt idx="681">
                  <c:v>43362</c:v>
                </c:pt>
                <c:pt idx="682">
                  <c:v>43363</c:v>
                </c:pt>
                <c:pt idx="683">
                  <c:v>43364</c:v>
                </c:pt>
                <c:pt idx="684">
                  <c:v>43367</c:v>
                </c:pt>
                <c:pt idx="685">
                  <c:v>43368</c:v>
                </c:pt>
                <c:pt idx="686">
                  <c:v>43369</c:v>
                </c:pt>
                <c:pt idx="687">
                  <c:v>43370</c:v>
                </c:pt>
                <c:pt idx="688">
                  <c:v>43371</c:v>
                </c:pt>
                <c:pt idx="689">
                  <c:v>43374</c:v>
                </c:pt>
                <c:pt idx="690">
                  <c:v>43375</c:v>
                </c:pt>
                <c:pt idx="691">
                  <c:v>43376</c:v>
                </c:pt>
                <c:pt idx="692">
                  <c:v>43377</c:v>
                </c:pt>
                <c:pt idx="693">
                  <c:v>43378</c:v>
                </c:pt>
                <c:pt idx="694">
                  <c:v>43381</c:v>
                </c:pt>
                <c:pt idx="695">
                  <c:v>43382</c:v>
                </c:pt>
                <c:pt idx="696">
                  <c:v>43383</c:v>
                </c:pt>
                <c:pt idx="697">
                  <c:v>43384</c:v>
                </c:pt>
                <c:pt idx="698">
                  <c:v>43385</c:v>
                </c:pt>
                <c:pt idx="699">
                  <c:v>43389</c:v>
                </c:pt>
                <c:pt idx="700">
                  <c:v>43390</c:v>
                </c:pt>
                <c:pt idx="701">
                  <c:v>43391</c:v>
                </c:pt>
                <c:pt idx="702">
                  <c:v>43392</c:v>
                </c:pt>
                <c:pt idx="703">
                  <c:v>43395</c:v>
                </c:pt>
                <c:pt idx="704">
                  <c:v>43396</c:v>
                </c:pt>
                <c:pt idx="705">
                  <c:v>43397</c:v>
                </c:pt>
                <c:pt idx="706">
                  <c:v>43398</c:v>
                </c:pt>
                <c:pt idx="707">
                  <c:v>43399</c:v>
                </c:pt>
                <c:pt idx="708">
                  <c:v>43402</c:v>
                </c:pt>
                <c:pt idx="709">
                  <c:v>43403</c:v>
                </c:pt>
                <c:pt idx="710">
                  <c:v>43404</c:v>
                </c:pt>
                <c:pt idx="711">
                  <c:v>43405</c:v>
                </c:pt>
                <c:pt idx="712">
                  <c:v>43406</c:v>
                </c:pt>
                <c:pt idx="713">
                  <c:v>43409</c:v>
                </c:pt>
                <c:pt idx="714">
                  <c:v>43410</c:v>
                </c:pt>
                <c:pt idx="715">
                  <c:v>43411</c:v>
                </c:pt>
                <c:pt idx="716">
                  <c:v>43412</c:v>
                </c:pt>
                <c:pt idx="717">
                  <c:v>43413</c:v>
                </c:pt>
                <c:pt idx="718">
                  <c:v>43416</c:v>
                </c:pt>
                <c:pt idx="719">
                  <c:v>43417</c:v>
                </c:pt>
                <c:pt idx="720">
                  <c:v>43418</c:v>
                </c:pt>
                <c:pt idx="721">
                  <c:v>43419</c:v>
                </c:pt>
                <c:pt idx="722">
                  <c:v>43420</c:v>
                </c:pt>
                <c:pt idx="723">
                  <c:v>43423</c:v>
                </c:pt>
                <c:pt idx="724">
                  <c:v>43425</c:v>
                </c:pt>
                <c:pt idx="725">
                  <c:v>43426</c:v>
                </c:pt>
                <c:pt idx="726">
                  <c:v>43427</c:v>
                </c:pt>
                <c:pt idx="727">
                  <c:v>43430</c:v>
                </c:pt>
                <c:pt idx="728">
                  <c:v>43431</c:v>
                </c:pt>
                <c:pt idx="729">
                  <c:v>43432</c:v>
                </c:pt>
                <c:pt idx="730">
                  <c:v>43433</c:v>
                </c:pt>
                <c:pt idx="731">
                  <c:v>43434</c:v>
                </c:pt>
                <c:pt idx="732">
                  <c:v>43437</c:v>
                </c:pt>
                <c:pt idx="733">
                  <c:v>43438</c:v>
                </c:pt>
                <c:pt idx="734">
                  <c:v>43439</c:v>
                </c:pt>
                <c:pt idx="735">
                  <c:v>43440</c:v>
                </c:pt>
                <c:pt idx="736">
                  <c:v>43441</c:v>
                </c:pt>
                <c:pt idx="737">
                  <c:v>43444</c:v>
                </c:pt>
                <c:pt idx="738">
                  <c:v>43445</c:v>
                </c:pt>
                <c:pt idx="739">
                  <c:v>43446</c:v>
                </c:pt>
                <c:pt idx="740">
                  <c:v>43447</c:v>
                </c:pt>
                <c:pt idx="741">
                  <c:v>43448</c:v>
                </c:pt>
                <c:pt idx="742">
                  <c:v>43451</c:v>
                </c:pt>
                <c:pt idx="743">
                  <c:v>43452</c:v>
                </c:pt>
                <c:pt idx="744">
                  <c:v>43453</c:v>
                </c:pt>
                <c:pt idx="745">
                  <c:v>43454</c:v>
                </c:pt>
                <c:pt idx="746">
                  <c:v>43455</c:v>
                </c:pt>
                <c:pt idx="747">
                  <c:v>43458</c:v>
                </c:pt>
                <c:pt idx="748">
                  <c:v>43459</c:v>
                </c:pt>
                <c:pt idx="749">
                  <c:v>43460</c:v>
                </c:pt>
                <c:pt idx="750">
                  <c:v>43461</c:v>
                </c:pt>
                <c:pt idx="751">
                  <c:v>43462</c:v>
                </c:pt>
                <c:pt idx="752">
                  <c:v>43465</c:v>
                </c:pt>
                <c:pt idx="753">
                  <c:v>43467</c:v>
                </c:pt>
                <c:pt idx="754">
                  <c:v>43468</c:v>
                </c:pt>
                <c:pt idx="755">
                  <c:v>43469</c:v>
                </c:pt>
                <c:pt idx="756">
                  <c:v>43472</c:v>
                </c:pt>
                <c:pt idx="757">
                  <c:v>43473</c:v>
                </c:pt>
                <c:pt idx="758">
                  <c:v>43474</c:v>
                </c:pt>
                <c:pt idx="759">
                  <c:v>43475</c:v>
                </c:pt>
                <c:pt idx="760">
                  <c:v>43476</c:v>
                </c:pt>
                <c:pt idx="761">
                  <c:v>43480</c:v>
                </c:pt>
                <c:pt idx="762">
                  <c:v>43481</c:v>
                </c:pt>
                <c:pt idx="763">
                  <c:v>43482</c:v>
                </c:pt>
                <c:pt idx="764">
                  <c:v>43483</c:v>
                </c:pt>
                <c:pt idx="765">
                  <c:v>43486</c:v>
                </c:pt>
                <c:pt idx="766">
                  <c:v>43487</c:v>
                </c:pt>
                <c:pt idx="767">
                  <c:v>43488</c:v>
                </c:pt>
                <c:pt idx="768">
                  <c:v>43489</c:v>
                </c:pt>
                <c:pt idx="769">
                  <c:v>43490</c:v>
                </c:pt>
                <c:pt idx="770">
                  <c:v>43493</c:v>
                </c:pt>
                <c:pt idx="771">
                  <c:v>43494</c:v>
                </c:pt>
                <c:pt idx="772">
                  <c:v>43495</c:v>
                </c:pt>
                <c:pt idx="773">
                  <c:v>43496</c:v>
                </c:pt>
                <c:pt idx="774">
                  <c:v>43497</c:v>
                </c:pt>
                <c:pt idx="775">
                  <c:v>43500</c:v>
                </c:pt>
                <c:pt idx="776">
                  <c:v>43501</c:v>
                </c:pt>
                <c:pt idx="777">
                  <c:v>43502</c:v>
                </c:pt>
                <c:pt idx="778">
                  <c:v>43503</c:v>
                </c:pt>
                <c:pt idx="779">
                  <c:v>43504</c:v>
                </c:pt>
                <c:pt idx="780">
                  <c:v>43507</c:v>
                </c:pt>
                <c:pt idx="781">
                  <c:v>43508</c:v>
                </c:pt>
                <c:pt idx="782">
                  <c:v>43509</c:v>
                </c:pt>
                <c:pt idx="783">
                  <c:v>43510</c:v>
                </c:pt>
                <c:pt idx="784">
                  <c:v>43511</c:v>
                </c:pt>
                <c:pt idx="785">
                  <c:v>43514</c:v>
                </c:pt>
                <c:pt idx="786">
                  <c:v>43515</c:v>
                </c:pt>
                <c:pt idx="787">
                  <c:v>43516</c:v>
                </c:pt>
                <c:pt idx="788">
                  <c:v>43517</c:v>
                </c:pt>
                <c:pt idx="789">
                  <c:v>43518</c:v>
                </c:pt>
                <c:pt idx="790">
                  <c:v>43521</c:v>
                </c:pt>
                <c:pt idx="791">
                  <c:v>43522</c:v>
                </c:pt>
                <c:pt idx="792">
                  <c:v>43523</c:v>
                </c:pt>
                <c:pt idx="793">
                  <c:v>43524</c:v>
                </c:pt>
                <c:pt idx="794">
                  <c:v>43525</c:v>
                </c:pt>
                <c:pt idx="795">
                  <c:v>43528</c:v>
                </c:pt>
                <c:pt idx="796">
                  <c:v>43529</c:v>
                </c:pt>
                <c:pt idx="797">
                  <c:v>43530</c:v>
                </c:pt>
                <c:pt idx="798">
                  <c:v>43531</c:v>
                </c:pt>
                <c:pt idx="799">
                  <c:v>43532</c:v>
                </c:pt>
                <c:pt idx="800">
                  <c:v>43535</c:v>
                </c:pt>
                <c:pt idx="801">
                  <c:v>43536</c:v>
                </c:pt>
                <c:pt idx="802">
                  <c:v>43537</c:v>
                </c:pt>
                <c:pt idx="803">
                  <c:v>43538</c:v>
                </c:pt>
                <c:pt idx="804">
                  <c:v>43539</c:v>
                </c:pt>
                <c:pt idx="805">
                  <c:v>43542</c:v>
                </c:pt>
                <c:pt idx="806">
                  <c:v>43543</c:v>
                </c:pt>
                <c:pt idx="807">
                  <c:v>43545</c:v>
                </c:pt>
                <c:pt idx="808">
                  <c:v>43546</c:v>
                </c:pt>
                <c:pt idx="809">
                  <c:v>43549</c:v>
                </c:pt>
                <c:pt idx="810">
                  <c:v>43550</c:v>
                </c:pt>
                <c:pt idx="811">
                  <c:v>43551</c:v>
                </c:pt>
                <c:pt idx="812">
                  <c:v>43552</c:v>
                </c:pt>
                <c:pt idx="813">
                  <c:v>43553</c:v>
                </c:pt>
                <c:pt idx="814">
                  <c:v>43556</c:v>
                </c:pt>
                <c:pt idx="815">
                  <c:v>43557</c:v>
                </c:pt>
                <c:pt idx="816">
                  <c:v>43558</c:v>
                </c:pt>
                <c:pt idx="817">
                  <c:v>43559</c:v>
                </c:pt>
                <c:pt idx="818">
                  <c:v>43560</c:v>
                </c:pt>
                <c:pt idx="819">
                  <c:v>43563</c:v>
                </c:pt>
                <c:pt idx="820">
                  <c:v>43565</c:v>
                </c:pt>
                <c:pt idx="821">
                  <c:v>43566</c:v>
                </c:pt>
                <c:pt idx="822">
                  <c:v>43567</c:v>
                </c:pt>
                <c:pt idx="823">
                  <c:v>43570</c:v>
                </c:pt>
                <c:pt idx="824">
                  <c:v>43571</c:v>
                </c:pt>
                <c:pt idx="825">
                  <c:v>43572</c:v>
                </c:pt>
                <c:pt idx="826">
                  <c:v>43573</c:v>
                </c:pt>
                <c:pt idx="827">
                  <c:v>43574</c:v>
                </c:pt>
                <c:pt idx="828">
                  <c:v>43577</c:v>
                </c:pt>
                <c:pt idx="829">
                  <c:v>43578</c:v>
                </c:pt>
                <c:pt idx="830">
                  <c:v>43579</c:v>
                </c:pt>
                <c:pt idx="831">
                  <c:v>43580</c:v>
                </c:pt>
                <c:pt idx="832">
                  <c:v>43581</c:v>
                </c:pt>
                <c:pt idx="833">
                  <c:v>43584</c:v>
                </c:pt>
                <c:pt idx="834">
                  <c:v>43585</c:v>
                </c:pt>
                <c:pt idx="835">
                  <c:v>43587</c:v>
                </c:pt>
                <c:pt idx="836">
                  <c:v>43588</c:v>
                </c:pt>
                <c:pt idx="837">
                  <c:v>43591</c:v>
                </c:pt>
                <c:pt idx="838">
                  <c:v>43592</c:v>
                </c:pt>
                <c:pt idx="839">
                  <c:v>43593</c:v>
                </c:pt>
                <c:pt idx="840">
                  <c:v>43594</c:v>
                </c:pt>
                <c:pt idx="841">
                  <c:v>43595</c:v>
                </c:pt>
                <c:pt idx="842">
                  <c:v>43598</c:v>
                </c:pt>
                <c:pt idx="843">
                  <c:v>43599</c:v>
                </c:pt>
                <c:pt idx="844">
                  <c:v>43600</c:v>
                </c:pt>
                <c:pt idx="845">
                  <c:v>43601</c:v>
                </c:pt>
                <c:pt idx="846">
                  <c:v>43602</c:v>
                </c:pt>
                <c:pt idx="847">
                  <c:v>43605</c:v>
                </c:pt>
                <c:pt idx="848">
                  <c:v>43606</c:v>
                </c:pt>
                <c:pt idx="849">
                  <c:v>43607</c:v>
                </c:pt>
                <c:pt idx="850">
                  <c:v>43608</c:v>
                </c:pt>
                <c:pt idx="851">
                  <c:v>43609</c:v>
                </c:pt>
                <c:pt idx="852">
                  <c:v>43612</c:v>
                </c:pt>
                <c:pt idx="853">
                  <c:v>43613</c:v>
                </c:pt>
                <c:pt idx="854">
                  <c:v>43614</c:v>
                </c:pt>
                <c:pt idx="855">
                  <c:v>43615</c:v>
                </c:pt>
                <c:pt idx="856">
                  <c:v>43616</c:v>
                </c:pt>
                <c:pt idx="857">
                  <c:v>43619</c:v>
                </c:pt>
                <c:pt idx="858">
                  <c:v>43623</c:v>
                </c:pt>
                <c:pt idx="859">
                  <c:v>43626</c:v>
                </c:pt>
                <c:pt idx="860">
                  <c:v>43627</c:v>
                </c:pt>
                <c:pt idx="861">
                  <c:v>43628</c:v>
                </c:pt>
                <c:pt idx="862">
                  <c:v>43629</c:v>
                </c:pt>
                <c:pt idx="863">
                  <c:v>43630</c:v>
                </c:pt>
                <c:pt idx="864">
                  <c:v>43633</c:v>
                </c:pt>
                <c:pt idx="865">
                  <c:v>43634</c:v>
                </c:pt>
                <c:pt idx="866">
                  <c:v>43635</c:v>
                </c:pt>
                <c:pt idx="867">
                  <c:v>43636</c:v>
                </c:pt>
                <c:pt idx="868">
                  <c:v>43637</c:v>
                </c:pt>
                <c:pt idx="869">
                  <c:v>43640</c:v>
                </c:pt>
                <c:pt idx="870">
                  <c:v>43641</c:v>
                </c:pt>
                <c:pt idx="871">
                  <c:v>43642</c:v>
                </c:pt>
                <c:pt idx="872">
                  <c:v>43643</c:v>
                </c:pt>
                <c:pt idx="873">
                  <c:v>43644</c:v>
                </c:pt>
                <c:pt idx="874">
                  <c:v>43647</c:v>
                </c:pt>
                <c:pt idx="875">
                  <c:v>43648</c:v>
                </c:pt>
                <c:pt idx="876">
                  <c:v>43649</c:v>
                </c:pt>
                <c:pt idx="877">
                  <c:v>43650</c:v>
                </c:pt>
                <c:pt idx="878">
                  <c:v>43651</c:v>
                </c:pt>
                <c:pt idx="879">
                  <c:v>43654</c:v>
                </c:pt>
                <c:pt idx="880">
                  <c:v>43655</c:v>
                </c:pt>
                <c:pt idx="881">
                  <c:v>43656</c:v>
                </c:pt>
                <c:pt idx="882">
                  <c:v>43657</c:v>
                </c:pt>
                <c:pt idx="883">
                  <c:v>43658</c:v>
                </c:pt>
                <c:pt idx="884">
                  <c:v>43661</c:v>
                </c:pt>
                <c:pt idx="885">
                  <c:v>43662</c:v>
                </c:pt>
                <c:pt idx="886">
                  <c:v>43663</c:v>
                </c:pt>
                <c:pt idx="887">
                  <c:v>43664</c:v>
                </c:pt>
                <c:pt idx="888">
                  <c:v>43665</c:v>
                </c:pt>
                <c:pt idx="889">
                  <c:v>43668</c:v>
                </c:pt>
                <c:pt idx="890">
                  <c:v>43669</c:v>
                </c:pt>
                <c:pt idx="891">
                  <c:v>43670</c:v>
                </c:pt>
                <c:pt idx="892">
                  <c:v>43672</c:v>
                </c:pt>
                <c:pt idx="893">
                  <c:v>43675</c:v>
                </c:pt>
                <c:pt idx="894">
                  <c:v>43676</c:v>
                </c:pt>
                <c:pt idx="895">
                  <c:v>43677</c:v>
                </c:pt>
                <c:pt idx="896">
                  <c:v>43678</c:v>
                </c:pt>
                <c:pt idx="897">
                  <c:v>43679</c:v>
                </c:pt>
                <c:pt idx="898">
                  <c:v>43682</c:v>
                </c:pt>
                <c:pt idx="899">
                  <c:v>43683</c:v>
                </c:pt>
                <c:pt idx="900">
                  <c:v>43684</c:v>
                </c:pt>
                <c:pt idx="901">
                  <c:v>43685</c:v>
                </c:pt>
                <c:pt idx="902">
                  <c:v>43686</c:v>
                </c:pt>
                <c:pt idx="903">
                  <c:v>43691</c:v>
                </c:pt>
                <c:pt idx="904">
                  <c:v>43692</c:v>
                </c:pt>
                <c:pt idx="905">
                  <c:v>43693</c:v>
                </c:pt>
                <c:pt idx="906">
                  <c:v>43696</c:v>
                </c:pt>
                <c:pt idx="907">
                  <c:v>43697</c:v>
                </c:pt>
                <c:pt idx="908">
                  <c:v>43698</c:v>
                </c:pt>
                <c:pt idx="909">
                  <c:v>43699</c:v>
                </c:pt>
                <c:pt idx="910">
                  <c:v>43700</c:v>
                </c:pt>
                <c:pt idx="911">
                  <c:v>43703</c:v>
                </c:pt>
                <c:pt idx="912">
                  <c:v>43704</c:v>
                </c:pt>
                <c:pt idx="913">
                  <c:v>43705</c:v>
                </c:pt>
                <c:pt idx="914">
                  <c:v>43706</c:v>
                </c:pt>
                <c:pt idx="915">
                  <c:v>43707</c:v>
                </c:pt>
                <c:pt idx="916">
                  <c:v>43710</c:v>
                </c:pt>
                <c:pt idx="917">
                  <c:v>43711</c:v>
                </c:pt>
                <c:pt idx="918">
                  <c:v>43712</c:v>
                </c:pt>
                <c:pt idx="919">
                  <c:v>43713</c:v>
                </c:pt>
                <c:pt idx="920">
                  <c:v>43714</c:v>
                </c:pt>
                <c:pt idx="921">
                  <c:v>43717</c:v>
                </c:pt>
                <c:pt idx="922">
                  <c:v>43718</c:v>
                </c:pt>
                <c:pt idx="923">
                  <c:v>43719</c:v>
                </c:pt>
                <c:pt idx="924">
                  <c:v>43720</c:v>
                </c:pt>
                <c:pt idx="925">
                  <c:v>43721</c:v>
                </c:pt>
                <c:pt idx="926">
                  <c:v>43724</c:v>
                </c:pt>
                <c:pt idx="927">
                  <c:v>43725</c:v>
                </c:pt>
                <c:pt idx="928">
                  <c:v>43726</c:v>
                </c:pt>
                <c:pt idx="929">
                  <c:v>43727</c:v>
                </c:pt>
                <c:pt idx="930">
                  <c:v>43728</c:v>
                </c:pt>
                <c:pt idx="931">
                  <c:v>43731</c:v>
                </c:pt>
                <c:pt idx="932">
                  <c:v>43732</c:v>
                </c:pt>
                <c:pt idx="933">
                  <c:v>43733</c:v>
                </c:pt>
                <c:pt idx="934">
                  <c:v>43734</c:v>
                </c:pt>
                <c:pt idx="935">
                  <c:v>43735</c:v>
                </c:pt>
                <c:pt idx="936">
                  <c:v>43738</c:v>
                </c:pt>
                <c:pt idx="937">
                  <c:v>43739</c:v>
                </c:pt>
                <c:pt idx="938">
                  <c:v>43740</c:v>
                </c:pt>
                <c:pt idx="939">
                  <c:v>43741</c:v>
                </c:pt>
                <c:pt idx="940">
                  <c:v>43742</c:v>
                </c:pt>
                <c:pt idx="941">
                  <c:v>43745</c:v>
                </c:pt>
                <c:pt idx="942">
                  <c:v>43746</c:v>
                </c:pt>
                <c:pt idx="943">
                  <c:v>43747</c:v>
                </c:pt>
                <c:pt idx="944">
                  <c:v>43748</c:v>
                </c:pt>
                <c:pt idx="945">
                  <c:v>43749</c:v>
                </c:pt>
                <c:pt idx="946">
                  <c:v>43752</c:v>
                </c:pt>
                <c:pt idx="947">
                  <c:v>43754</c:v>
                </c:pt>
                <c:pt idx="948">
                  <c:v>43755</c:v>
                </c:pt>
                <c:pt idx="949">
                  <c:v>43756</c:v>
                </c:pt>
                <c:pt idx="950">
                  <c:v>43759</c:v>
                </c:pt>
                <c:pt idx="951">
                  <c:v>43760</c:v>
                </c:pt>
                <c:pt idx="952">
                  <c:v>43761</c:v>
                </c:pt>
                <c:pt idx="953">
                  <c:v>43762</c:v>
                </c:pt>
                <c:pt idx="954">
                  <c:v>43763</c:v>
                </c:pt>
                <c:pt idx="955">
                  <c:v>43766</c:v>
                </c:pt>
                <c:pt idx="956">
                  <c:v>43767</c:v>
                </c:pt>
                <c:pt idx="957">
                  <c:v>43768</c:v>
                </c:pt>
                <c:pt idx="958">
                  <c:v>43769</c:v>
                </c:pt>
                <c:pt idx="959">
                  <c:v>43770</c:v>
                </c:pt>
                <c:pt idx="960">
                  <c:v>43773</c:v>
                </c:pt>
                <c:pt idx="961">
                  <c:v>43774</c:v>
                </c:pt>
                <c:pt idx="962">
                  <c:v>43775</c:v>
                </c:pt>
                <c:pt idx="963">
                  <c:v>43776</c:v>
                </c:pt>
                <c:pt idx="964">
                  <c:v>43777</c:v>
                </c:pt>
                <c:pt idx="965">
                  <c:v>43780</c:v>
                </c:pt>
                <c:pt idx="966">
                  <c:v>43781</c:v>
                </c:pt>
              </c:numCache>
            </c:numRef>
          </c:cat>
          <c:val>
            <c:numRef>
              <c:f>Feuil1!$E$6:$AKJ$6</c:f>
              <c:numCache>
                <c:formatCode>General</c:formatCode>
                <c:ptCount val="967"/>
                <c:pt idx="13">
                  <c:v>2.3739999999999997</c:v>
                </c:pt>
                <c:pt idx="14">
                  <c:v>2.3739999999999997</c:v>
                </c:pt>
                <c:pt idx="15">
                  <c:v>2.3739999999999997</c:v>
                </c:pt>
                <c:pt idx="16">
                  <c:v>2.3739999999999997</c:v>
                </c:pt>
                <c:pt idx="17">
                  <c:v>2.3739999999999997</c:v>
                </c:pt>
                <c:pt idx="18">
                  <c:v>2.3739999999999997</c:v>
                </c:pt>
                <c:pt idx="19">
                  <c:v>2.3739999999999997</c:v>
                </c:pt>
                <c:pt idx="20">
                  <c:v>2.3739999999999997</c:v>
                </c:pt>
                <c:pt idx="21">
                  <c:v>2.3739999999999997</c:v>
                </c:pt>
                <c:pt idx="22">
                  <c:v>2.3739999999999997</c:v>
                </c:pt>
                <c:pt idx="23">
                  <c:v>2.3739999999999997</c:v>
                </c:pt>
                <c:pt idx="24">
                  <c:v>2.3739999999999997</c:v>
                </c:pt>
                <c:pt idx="25">
                  <c:v>2.3739999999999997</c:v>
                </c:pt>
                <c:pt idx="26">
                  <c:v>2.3739999999999997</c:v>
                </c:pt>
                <c:pt idx="27">
                  <c:v>2.3739999999999997</c:v>
                </c:pt>
                <c:pt idx="28">
                  <c:v>2.3739999999999997</c:v>
                </c:pt>
                <c:pt idx="29">
                  <c:v>2.3739999999999997</c:v>
                </c:pt>
                <c:pt idx="30">
                  <c:v>2.3739999999999997</c:v>
                </c:pt>
                <c:pt idx="31">
                  <c:v>2.3739999999999997</c:v>
                </c:pt>
                <c:pt idx="32">
                  <c:v>2.3739999999999997</c:v>
                </c:pt>
                <c:pt idx="33">
                  <c:v>2.3739999999999997</c:v>
                </c:pt>
                <c:pt idx="34">
                  <c:v>2.3739999999999997</c:v>
                </c:pt>
                <c:pt idx="35">
                  <c:v>2.3739999999999997</c:v>
                </c:pt>
                <c:pt idx="36">
                  <c:v>2.3739999999999997</c:v>
                </c:pt>
                <c:pt idx="37">
                  <c:v>2.3739999999999997</c:v>
                </c:pt>
                <c:pt idx="38">
                  <c:v>2.3739999999999997</c:v>
                </c:pt>
                <c:pt idx="39">
                  <c:v>2.3739999999999997</c:v>
                </c:pt>
                <c:pt idx="40">
                  <c:v>2.3739999999999997</c:v>
                </c:pt>
                <c:pt idx="41">
                  <c:v>2.3739999999999997</c:v>
                </c:pt>
                <c:pt idx="42">
                  <c:v>2.3739999999999997</c:v>
                </c:pt>
                <c:pt idx="43">
                  <c:v>2.3739999999999997</c:v>
                </c:pt>
                <c:pt idx="44">
                  <c:v>2.3739999999999997</c:v>
                </c:pt>
                <c:pt idx="45">
                  <c:v>2.3739999999999997</c:v>
                </c:pt>
                <c:pt idx="46">
                  <c:v>2.3739999999999997</c:v>
                </c:pt>
                <c:pt idx="47">
                  <c:v>2.3739999999999997</c:v>
                </c:pt>
                <c:pt idx="48">
                  <c:v>2.3739999999999997</c:v>
                </c:pt>
                <c:pt idx="49">
                  <c:v>2.3739999999999997</c:v>
                </c:pt>
                <c:pt idx="50">
                  <c:v>2.3739999999999997</c:v>
                </c:pt>
                <c:pt idx="51">
                  <c:v>2.3739999999999997</c:v>
                </c:pt>
                <c:pt idx="52">
                  <c:v>2.3739999999999997</c:v>
                </c:pt>
                <c:pt idx="53">
                  <c:v>2.3739999999999997</c:v>
                </c:pt>
                <c:pt idx="54">
                  <c:v>2.3739999999999997</c:v>
                </c:pt>
                <c:pt idx="55">
                  <c:v>2.3739999999999997</c:v>
                </c:pt>
                <c:pt idx="56">
                  <c:v>2.3739999999999997</c:v>
                </c:pt>
                <c:pt idx="57">
                  <c:v>2.3739999999999997</c:v>
                </c:pt>
                <c:pt idx="58">
                  <c:v>2.3739999999999997</c:v>
                </c:pt>
                <c:pt idx="59">
                  <c:v>2.3739999999999997</c:v>
                </c:pt>
                <c:pt idx="60">
                  <c:v>2.3739999999999997</c:v>
                </c:pt>
                <c:pt idx="61">
                  <c:v>2.3739999999999997</c:v>
                </c:pt>
                <c:pt idx="62">
                  <c:v>2.3739999999999997</c:v>
                </c:pt>
                <c:pt idx="63">
                  <c:v>2.3739999999999997</c:v>
                </c:pt>
                <c:pt idx="64">
                  <c:v>2.3739999999999997</c:v>
                </c:pt>
                <c:pt idx="65">
                  <c:v>2.3739999999999997</c:v>
                </c:pt>
                <c:pt idx="66">
                  <c:v>2.3739999999999997</c:v>
                </c:pt>
                <c:pt idx="67">
                  <c:v>2.3739999999999997</c:v>
                </c:pt>
                <c:pt idx="68">
                  <c:v>2.3739999999999997</c:v>
                </c:pt>
                <c:pt idx="69">
                  <c:v>2.3739999999999997</c:v>
                </c:pt>
                <c:pt idx="70">
                  <c:v>2.3739999999999997</c:v>
                </c:pt>
                <c:pt idx="71">
                  <c:v>2.3739999999999997</c:v>
                </c:pt>
                <c:pt idx="72">
                  <c:v>2.3739999999999997</c:v>
                </c:pt>
                <c:pt idx="73">
                  <c:v>2.3739999999999997</c:v>
                </c:pt>
                <c:pt idx="74">
                  <c:v>2.3739999999999997</c:v>
                </c:pt>
                <c:pt idx="75">
                  <c:v>2.3739999999999997</c:v>
                </c:pt>
                <c:pt idx="76">
                  <c:v>2.3739999999999997</c:v>
                </c:pt>
                <c:pt idx="77">
                  <c:v>2.3739999999999997</c:v>
                </c:pt>
                <c:pt idx="78">
                  <c:v>2.3739999999999997</c:v>
                </c:pt>
                <c:pt idx="79">
                  <c:v>2.3739999999999997</c:v>
                </c:pt>
                <c:pt idx="80">
                  <c:v>2.3739999999999997</c:v>
                </c:pt>
                <c:pt idx="81">
                  <c:v>2.3739999999999997</c:v>
                </c:pt>
                <c:pt idx="82">
                  <c:v>2.3739999999999997</c:v>
                </c:pt>
                <c:pt idx="83">
                  <c:v>2.3739999999999997</c:v>
                </c:pt>
                <c:pt idx="84">
                  <c:v>2.3739999999999997</c:v>
                </c:pt>
                <c:pt idx="85">
                  <c:v>2.3739999999999997</c:v>
                </c:pt>
                <c:pt idx="86">
                  <c:v>2.3739999999999997</c:v>
                </c:pt>
                <c:pt idx="87">
                  <c:v>2.3739999999999997</c:v>
                </c:pt>
                <c:pt idx="88">
                  <c:v>2.3739999999999997</c:v>
                </c:pt>
                <c:pt idx="89">
                  <c:v>2.3739999999999997</c:v>
                </c:pt>
                <c:pt idx="90">
                  <c:v>2.3739999999999997</c:v>
                </c:pt>
                <c:pt idx="91">
                  <c:v>2.3739999999999997</c:v>
                </c:pt>
                <c:pt idx="92">
                  <c:v>2.3739999999999997</c:v>
                </c:pt>
                <c:pt idx="93">
                  <c:v>2.3739999999999997</c:v>
                </c:pt>
                <c:pt idx="94">
                  <c:v>2.3739999999999997</c:v>
                </c:pt>
                <c:pt idx="95">
                  <c:v>2.3739999999999997</c:v>
                </c:pt>
                <c:pt idx="96">
                  <c:v>2.3739999999999997</c:v>
                </c:pt>
                <c:pt idx="97">
                  <c:v>2.3739999999999997</c:v>
                </c:pt>
                <c:pt idx="98">
                  <c:v>2.3739999999999997</c:v>
                </c:pt>
                <c:pt idx="99">
                  <c:v>2.3739999999999997</c:v>
                </c:pt>
                <c:pt idx="100">
                  <c:v>2.3739999999999997</c:v>
                </c:pt>
                <c:pt idx="101">
                  <c:v>2.3739999999999997</c:v>
                </c:pt>
                <c:pt idx="102">
                  <c:v>2.3739999999999997</c:v>
                </c:pt>
                <c:pt idx="103">
                  <c:v>2.3739999999999997</c:v>
                </c:pt>
                <c:pt idx="104">
                  <c:v>2.3739999999999997</c:v>
                </c:pt>
                <c:pt idx="105">
                  <c:v>2.3739999999999997</c:v>
                </c:pt>
                <c:pt idx="106">
                  <c:v>2.3739999999999997</c:v>
                </c:pt>
                <c:pt idx="107">
                  <c:v>2.3739999999999997</c:v>
                </c:pt>
                <c:pt idx="108">
                  <c:v>2.3739999999999997</c:v>
                </c:pt>
                <c:pt idx="109">
                  <c:v>2.3739999999999997</c:v>
                </c:pt>
                <c:pt idx="110">
                  <c:v>2.3739999999999997</c:v>
                </c:pt>
                <c:pt idx="111">
                  <c:v>2.3739999999999997</c:v>
                </c:pt>
                <c:pt idx="112">
                  <c:v>2.3739999999999997</c:v>
                </c:pt>
                <c:pt idx="113">
                  <c:v>2.3739999999999997</c:v>
                </c:pt>
                <c:pt idx="114">
                  <c:v>2.3739999999999997</c:v>
                </c:pt>
                <c:pt idx="115">
                  <c:v>2.3739999999999997</c:v>
                </c:pt>
                <c:pt idx="116">
                  <c:v>2.3739999999999997</c:v>
                </c:pt>
                <c:pt idx="117">
                  <c:v>2.3739999999999997</c:v>
                </c:pt>
                <c:pt idx="118">
                  <c:v>2.3739999999999997</c:v>
                </c:pt>
                <c:pt idx="119">
                  <c:v>2.3739999999999997</c:v>
                </c:pt>
                <c:pt idx="120">
                  <c:v>2.3739999999999997</c:v>
                </c:pt>
                <c:pt idx="121">
                  <c:v>2.3739999999999997</c:v>
                </c:pt>
                <c:pt idx="122">
                  <c:v>2.3739999999999997</c:v>
                </c:pt>
                <c:pt idx="123">
                  <c:v>2.3739999999999997</c:v>
                </c:pt>
                <c:pt idx="124">
                  <c:v>2.3739999999999997</c:v>
                </c:pt>
                <c:pt idx="125">
                  <c:v>2.3739999999999997</c:v>
                </c:pt>
                <c:pt idx="126">
                  <c:v>2.3739999999999997</c:v>
                </c:pt>
                <c:pt idx="127">
                  <c:v>2.3739999999999997</c:v>
                </c:pt>
                <c:pt idx="128">
                  <c:v>2.3739999999999997</c:v>
                </c:pt>
                <c:pt idx="129">
                  <c:v>2.3739999999999997</c:v>
                </c:pt>
                <c:pt idx="130">
                  <c:v>2.3739999999999997</c:v>
                </c:pt>
                <c:pt idx="131">
                  <c:v>2.3739999999999997</c:v>
                </c:pt>
                <c:pt idx="132">
                  <c:v>2.3739999999999997</c:v>
                </c:pt>
                <c:pt idx="133">
                  <c:v>2.3739999999999997</c:v>
                </c:pt>
                <c:pt idx="134">
                  <c:v>2.3739999999999997</c:v>
                </c:pt>
                <c:pt idx="135">
                  <c:v>2.3739999999999997</c:v>
                </c:pt>
                <c:pt idx="136">
                  <c:v>2.3739999999999997</c:v>
                </c:pt>
                <c:pt idx="137">
                  <c:v>2.3739999999999997</c:v>
                </c:pt>
                <c:pt idx="138">
                  <c:v>2.3739999999999997</c:v>
                </c:pt>
                <c:pt idx="139">
                  <c:v>2.3739999999999997</c:v>
                </c:pt>
                <c:pt idx="140">
                  <c:v>2.3739999999999997</c:v>
                </c:pt>
                <c:pt idx="141">
                  <c:v>2.3739999999999997</c:v>
                </c:pt>
                <c:pt idx="142">
                  <c:v>2.3739999999999997</c:v>
                </c:pt>
                <c:pt idx="143">
                  <c:v>2.3739999999999997</c:v>
                </c:pt>
                <c:pt idx="144">
                  <c:v>2.3739999999999997</c:v>
                </c:pt>
                <c:pt idx="145">
                  <c:v>2.3739999999999997</c:v>
                </c:pt>
                <c:pt idx="146">
                  <c:v>2.3739999999999997</c:v>
                </c:pt>
                <c:pt idx="147">
                  <c:v>2.3739999999999997</c:v>
                </c:pt>
                <c:pt idx="148">
                  <c:v>2.3739999999999997</c:v>
                </c:pt>
                <c:pt idx="149">
                  <c:v>2.3739999999999997</c:v>
                </c:pt>
                <c:pt idx="150">
                  <c:v>2.3739999999999997</c:v>
                </c:pt>
                <c:pt idx="151">
                  <c:v>2.3739999999999997</c:v>
                </c:pt>
                <c:pt idx="152">
                  <c:v>2.3739999999999997</c:v>
                </c:pt>
                <c:pt idx="153">
                  <c:v>2.3739999999999997</c:v>
                </c:pt>
                <c:pt idx="154">
                  <c:v>2.3739999999999997</c:v>
                </c:pt>
                <c:pt idx="155">
                  <c:v>2.3739999999999997</c:v>
                </c:pt>
                <c:pt idx="156">
                  <c:v>2.3739999999999997</c:v>
                </c:pt>
                <c:pt idx="157">
                  <c:v>2.3739999999999997</c:v>
                </c:pt>
                <c:pt idx="158">
                  <c:v>2.3739999999999997</c:v>
                </c:pt>
                <c:pt idx="159">
                  <c:v>2.3739999999999997</c:v>
                </c:pt>
                <c:pt idx="160">
                  <c:v>2.3739999999999997</c:v>
                </c:pt>
                <c:pt idx="161">
                  <c:v>2.3739999999999997</c:v>
                </c:pt>
                <c:pt idx="162">
                  <c:v>2.3739999999999997</c:v>
                </c:pt>
                <c:pt idx="163">
                  <c:v>2.3739999999999997</c:v>
                </c:pt>
                <c:pt idx="164">
                  <c:v>2.3739999999999997</c:v>
                </c:pt>
                <c:pt idx="165">
                  <c:v>2.3739999999999997</c:v>
                </c:pt>
                <c:pt idx="166">
                  <c:v>2.3739999999999997</c:v>
                </c:pt>
                <c:pt idx="167">
                  <c:v>2.3739999999999997</c:v>
                </c:pt>
                <c:pt idx="168">
                  <c:v>2.3739999999999997</c:v>
                </c:pt>
                <c:pt idx="169">
                  <c:v>2.3739999999999997</c:v>
                </c:pt>
                <c:pt idx="170">
                  <c:v>2.3739999999999997</c:v>
                </c:pt>
                <c:pt idx="171">
                  <c:v>2.3739999999999997</c:v>
                </c:pt>
                <c:pt idx="172">
                  <c:v>2.3739999999999997</c:v>
                </c:pt>
                <c:pt idx="173">
                  <c:v>2.3739999999999997</c:v>
                </c:pt>
                <c:pt idx="174">
                  <c:v>2.3739999999999997</c:v>
                </c:pt>
                <c:pt idx="175">
                  <c:v>2.3739999999999997</c:v>
                </c:pt>
                <c:pt idx="176">
                  <c:v>2.3739999999999997</c:v>
                </c:pt>
                <c:pt idx="177">
                  <c:v>2.3739999999999997</c:v>
                </c:pt>
                <c:pt idx="178">
                  <c:v>2.3739999999999997</c:v>
                </c:pt>
                <c:pt idx="179">
                  <c:v>2.3739999999999997</c:v>
                </c:pt>
                <c:pt idx="180">
                  <c:v>2.3739999999999997</c:v>
                </c:pt>
                <c:pt idx="181">
                  <c:v>2.3739999999999997</c:v>
                </c:pt>
                <c:pt idx="182">
                  <c:v>2.3739999999999997</c:v>
                </c:pt>
                <c:pt idx="183">
                  <c:v>2.3739999999999997</c:v>
                </c:pt>
                <c:pt idx="184">
                  <c:v>2.3739999999999997</c:v>
                </c:pt>
                <c:pt idx="185">
                  <c:v>2.3739999999999997</c:v>
                </c:pt>
                <c:pt idx="186">
                  <c:v>2.3739999999999997</c:v>
                </c:pt>
                <c:pt idx="187">
                  <c:v>2.3739999999999997</c:v>
                </c:pt>
                <c:pt idx="188">
                  <c:v>2.3739999999999997</c:v>
                </c:pt>
                <c:pt idx="189">
                  <c:v>2.3739999999999997</c:v>
                </c:pt>
                <c:pt idx="190">
                  <c:v>2.3739999999999997</c:v>
                </c:pt>
                <c:pt idx="191">
                  <c:v>2.3739999999999997</c:v>
                </c:pt>
                <c:pt idx="192">
                  <c:v>2.3739999999999997</c:v>
                </c:pt>
                <c:pt idx="193">
                  <c:v>2.3739999999999997</c:v>
                </c:pt>
                <c:pt idx="194">
                  <c:v>2.3739999999999997</c:v>
                </c:pt>
                <c:pt idx="195">
                  <c:v>2.3739999999999997</c:v>
                </c:pt>
                <c:pt idx="196">
                  <c:v>2.3739999999999997</c:v>
                </c:pt>
                <c:pt idx="197">
                  <c:v>2.3739999999999997</c:v>
                </c:pt>
                <c:pt idx="198">
                  <c:v>2.3739999999999997</c:v>
                </c:pt>
                <c:pt idx="199">
                  <c:v>2.3739999999999997</c:v>
                </c:pt>
                <c:pt idx="200">
                  <c:v>2.3739999999999997</c:v>
                </c:pt>
                <c:pt idx="201">
                  <c:v>2.3739999999999997</c:v>
                </c:pt>
                <c:pt idx="202">
                  <c:v>2.3739999999999997</c:v>
                </c:pt>
                <c:pt idx="203">
                  <c:v>2.3739999999999997</c:v>
                </c:pt>
                <c:pt idx="204">
                  <c:v>2.3739999999999997</c:v>
                </c:pt>
                <c:pt idx="205">
                  <c:v>2.3739999999999997</c:v>
                </c:pt>
                <c:pt idx="206">
                  <c:v>2.3739999999999997</c:v>
                </c:pt>
                <c:pt idx="207">
                  <c:v>2.3739999999999997</c:v>
                </c:pt>
                <c:pt idx="208">
                  <c:v>2.3739999999999997</c:v>
                </c:pt>
                <c:pt idx="209">
                  <c:v>2.3739999999999997</c:v>
                </c:pt>
                <c:pt idx="210">
                  <c:v>2.3739999999999997</c:v>
                </c:pt>
                <c:pt idx="211">
                  <c:v>2.3739999999999997</c:v>
                </c:pt>
                <c:pt idx="212">
                  <c:v>2.3739999999999997</c:v>
                </c:pt>
                <c:pt idx="213">
                  <c:v>2.3739999999999997</c:v>
                </c:pt>
                <c:pt idx="214">
                  <c:v>2.3739999999999997</c:v>
                </c:pt>
                <c:pt idx="215">
                  <c:v>2.3739999999999997</c:v>
                </c:pt>
                <c:pt idx="216">
                  <c:v>2.3739999999999997</c:v>
                </c:pt>
                <c:pt idx="217">
                  <c:v>2.3739999999999997</c:v>
                </c:pt>
                <c:pt idx="218">
                  <c:v>2.3739999999999997</c:v>
                </c:pt>
                <c:pt idx="219">
                  <c:v>2.3739999999999997</c:v>
                </c:pt>
                <c:pt idx="220">
                  <c:v>2.3739999999999997</c:v>
                </c:pt>
                <c:pt idx="221">
                  <c:v>2.3739999999999997</c:v>
                </c:pt>
                <c:pt idx="222">
                  <c:v>2.3739999999999997</c:v>
                </c:pt>
                <c:pt idx="223">
                  <c:v>2.3739999999999997</c:v>
                </c:pt>
                <c:pt idx="224">
                  <c:v>2.3739999999999997</c:v>
                </c:pt>
                <c:pt idx="225">
                  <c:v>2.3739999999999997</c:v>
                </c:pt>
                <c:pt idx="226">
                  <c:v>2.3739999999999997</c:v>
                </c:pt>
                <c:pt idx="227">
                  <c:v>2.3739999999999997</c:v>
                </c:pt>
                <c:pt idx="228">
                  <c:v>2.3739999999999997</c:v>
                </c:pt>
                <c:pt idx="229">
                  <c:v>2.3739999999999997</c:v>
                </c:pt>
                <c:pt idx="230">
                  <c:v>2.3739999999999997</c:v>
                </c:pt>
                <c:pt idx="231">
                  <c:v>2.3739999999999997</c:v>
                </c:pt>
                <c:pt idx="232">
                  <c:v>2.3739999999999997</c:v>
                </c:pt>
                <c:pt idx="233">
                  <c:v>2.3739999999999997</c:v>
                </c:pt>
                <c:pt idx="234">
                  <c:v>2.3739999999999997</c:v>
                </c:pt>
                <c:pt idx="235">
                  <c:v>2.3739999999999997</c:v>
                </c:pt>
                <c:pt idx="236">
                  <c:v>2.3739999999999997</c:v>
                </c:pt>
                <c:pt idx="237">
                  <c:v>2.3739999999999997</c:v>
                </c:pt>
                <c:pt idx="238">
                  <c:v>2.3739999999999997</c:v>
                </c:pt>
                <c:pt idx="239">
                  <c:v>2.3739999999999997</c:v>
                </c:pt>
                <c:pt idx="240">
                  <c:v>2.3739999999999997</c:v>
                </c:pt>
                <c:pt idx="241">
                  <c:v>2.3739999999999997</c:v>
                </c:pt>
                <c:pt idx="242">
                  <c:v>2.3739999999999997</c:v>
                </c:pt>
                <c:pt idx="243">
                  <c:v>2.3739999999999997</c:v>
                </c:pt>
                <c:pt idx="244">
                  <c:v>2.3739999999999997</c:v>
                </c:pt>
                <c:pt idx="245">
                  <c:v>2.3739999999999997</c:v>
                </c:pt>
                <c:pt idx="246">
                  <c:v>2.3739999999999997</c:v>
                </c:pt>
                <c:pt idx="247">
                  <c:v>2.3739999999999997</c:v>
                </c:pt>
                <c:pt idx="248">
                  <c:v>2.3739999999999997</c:v>
                </c:pt>
                <c:pt idx="249">
                  <c:v>2.3739999999999997</c:v>
                </c:pt>
                <c:pt idx="250">
                  <c:v>2.3739999999999997</c:v>
                </c:pt>
                <c:pt idx="251">
                  <c:v>2.3739999999999997</c:v>
                </c:pt>
                <c:pt idx="264">
                  <c:v>2.7238000000000002</c:v>
                </c:pt>
                <c:pt idx="265">
                  <c:v>2.7238000000000002</c:v>
                </c:pt>
                <c:pt idx="266">
                  <c:v>2.7238000000000002</c:v>
                </c:pt>
                <c:pt idx="267">
                  <c:v>2.7238000000000002</c:v>
                </c:pt>
                <c:pt idx="268">
                  <c:v>2.7238000000000002</c:v>
                </c:pt>
                <c:pt idx="269">
                  <c:v>2.7238000000000002</c:v>
                </c:pt>
                <c:pt idx="270">
                  <c:v>2.7238000000000002</c:v>
                </c:pt>
                <c:pt idx="271">
                  <c:v>2.7238000000000002</c:v>
                </c:pt>
                <c:pt idx="272">
                  <c:v>2.7238000000000002</c:v>
                </c:pt>
                <c:pt idx="273">
                  <c:v>2.7238000000000002</c:v>
                </c:pt>
                <c:pt idx="274">
                  <c:v>2.7238000000000002</c:v>
                </c:pt>
                <c:pt idx="275">
                  <c:v>2.7238000000000002</c:v>
                </c:pt>
                <c:pt idx="276">
                  <c:v>2.7238000000000002</c:v>
                </c:pt>
                <c:pt idx="277">
                  <c:v>2.7238000000000002</c:v>
                </c:pt>
                <c:pt idx="278">
                  <c:v>2.7238000000000002</c:v>
                </c:pt>
                <c:pt idx="279">
                  <c:v>2.7238000000000002</c:v>
                </c:pt>
                <c:pt idx="280">
                  <c:v>2.7238000000000002</c:v>
                </c:pt>
                <c:pt idx="281">
                  <c:v>2.7238000000000002</c:v>
                </c:pt>
                <c:pt idx="282">
                  <c:v>2.7238000000000002</c:v>
                </c:pt>
                <c:pt idx="283">
                  <c:v>2.7238000000000002</c:v>
                </c:pt>
                <c:pt idx="284">
                  <c:v>2.7238000000000002</c:v>
                </c:pt>
                <c:pt idx="285">
                  <c:v>2.7238000000000002</c:v>
                </c:pt>
                <c:pt idx="286">
                  <c:v>2.7238000000000002</c:v>
                </c:pt>
                <c:pt idx="287">
                  <c:v>2.7238000000000002</c:v>
                </c:pt>
                <c:pt idx="288">
                  <c:v>2.7238000000000002</c:v>
                </c:pt>
                <c:pt idx="289">
                  <c:v>2.7238000000000002</c:v>
                </c:pt>
                <c:pt idx="290">
                  <c:v>2.7238000000000002</c:v>
                </c:pt>
                <c:pt idx="291">
                  <c:v>2.7238000000000002</c:v>
                </c:pt>
                <c:pt idx="292">
                  <c:v>2.7238000000000002</c:v>
                </c:pt>
                <c:pt idx="293">
                  <c:v>2.7238000000000002</c:v>
                </c:pt>
                <c:pt idx="294">
                  <c:v>2.7238000000000002</c:v>
                </c:pt>
                <c:pt idx="295">
                  <c:v>2.7238000000000002</c:v>
                </c:pt>
                <c:pt idx="296">
                  <c:v>2.7238000000000002</c:v>
                </c:pt>
                <c:pt idx="297">
                  <c:v>2.7238000000000002</c:v>
                </c:pt>
                <c:pt idx="298">
                  <c:v>2.7238000000000002</c:v>
                </c:pt>
                <c:pt idx="299">
                  <c:v>2.7238000000000002</c:v>
                </c:pt>
                <c:pt idx="300">
                  <c:v>2.7238000000000002</c:v>
                </c:pt>
                <c:pt idx="301">
                  <c:v>2.7238000000000002</c:v>
                </c:pt>
                <c:pt idx="302">
                  <c:v>2.7238000000000002</c:v>
                </c:pt>
                <c:pt idx="303">
                  <c:v>2.7238000000000002</c:v>
                </c:pt>
                <c:pt idx="304">
                  <c:v>2.7238000000000002</c:v>
                </c:pt>
                <c:pt idx="305">
                  <c:v>2.7238000000000002</c:v>
                </c:pt>
                <c:pt idx="306">
                  <c:v>2.7238000000000002</c:v>
                </c:pt>
                <c:pt idx="307">
                  <c:v>2.7238000000000002</c:v>
                </c:pt>
                <c:pt idx="308">
                  <c:v>2.7238000000000002</c:v>
                </c:pt>
                <c:pt idx="309">
                  <c:v>2.7238000000000002</c:v>
                </c:pt>
                <c:pt idx="310">
                  <c:v>2.7238000000000002</c:v>
                </c:pt>
                <c:pt idx="311">
                  <c:v>2.7238000000000002</c:v>
                </c:pt>
                <c:pt idx="312">
                  <c:v>2.7238000000000002</c:v>
                </c:pt>
                <c:pt idx="313">
                  <c:v>2.7238000000000002</c:v>
                </c:pt>
                <c:pt idx="314">
                  <c:v>2.7238000000000002</c:v>
                </c:pt>
                <c:pt idx="315">
                  <c:v>2.7238000000000002</c:v>
                </c:pt>
                <c:pt idx="316">
                  <c:v>2.7238000000000002</c:v>
                </c:pt>
                <c:pt idx="317">
                  <c:v>2.7238000000000002</c:v>
                </c:pt>
                <c:pt idx="318">
                  <c:v>2.7238000000000002</c:v>
                </c:pt>
                <c:pt idx="319">
                  <c:v>2.7238000000000002</c:v>
                </c:pt>
                <c:pt idx="320">
                  <c:v>2.7238000000000002</c:v>
                </c:pt>
                <c:pt idx="321">
                  <c:v>2.7238000000000002</c:v>
                </c:pt>
                <c:pt idx="322">
                  <c:v>2.7238000000000002</c:v>
                </c:pt>
                <c:pt idx="323">
                  <c:v>2.7238000000000002</c:v>
                </c:pt>
                <c:pt idx="324">
                  <c:v>2.7238000000000002</c:v>
                </c:pt>
                <c:pt idx="325">
                  <c:v>2.7238000000000002</c:v>
                </c:pt>
                <c:pt idx="326">
                  <c:v>2.7238000000000002</c:v>
                </c:pt>
                <c:pt idx="327">
                  <c:v>2.7238000000000002</c:v>
                </c:pt>
                <c:pt idx="328">
                  <c:v>2.7238000000000002</c:v>
                </c:pt>
                <c:pt idx="329">
                  <c:v>2.7238000000000002</c:v>
                </c:pt>
                <c:pt idx="330">
                  <c:v>2.7238000000000002</c:v>
                </c:pt>
                <c:pt idx="331">
                  <c:v>2.7238000000000002</c:v>
                </c:pt>
                <c:pt idx="332">
                  <c:v>2.7238000000000002</c:v>
                </c:pt>
                <c:pt idx="333">
                  <c:v>2.7238000000000002</c:v>
                </c:pt>
                <c:pt idx="334">
                  <c:v>2.7238000000000002</c:v>
                </c:pt>
                <c:pt idx="335">
                  <c:v>2.7238000000000002</c:v>
                </c:pt>
                <c:pt idx="336">
                  <c:v>2.7238000000000002</c:v>
                </c:pt>
                <c:pt idx="337">
                  <c:v>2.7238000000000002</c:v>
                </c:pt>
                <c:pt idx="338">
                  <c:v>2.7238000000000002</c:v>
                </c:pt>
                <c:pt idx="339">
                  <c:v>2.7238000000000002</c:v>
                </c:pt>
                <c:pt idx="340">
                  <c:v>2.7238000000000002</c:v>
                </c:pt>
                <c:pt idx="341">
                  <c:v>2.7238000000000002</c:v>
                </c:pt>
                <c:pt idx="342">
                  <c:v>2.7238000000000002</c:v>
                </c:pt>
                <c:pt idx="343">
                  <c:v>2.7238000000000002</c:v>
                </c:pt>
                <c:pt idx="344">
                  <c:v>2.7238000000000002</c:v>
                </c:pt>
                <c:pt idx="345">
                  <c:v>2.7238000000000002</c:v>
                </c:pt>
                <c:pt idx="346">
                  <c:v>2.7238000000000002</c:v>
                </c:pt>
                <c:pt idx="347">
                  <c:v>2.7238000000000002</c:v>
                </c:pt>
                <c:pt idx="348">
                  <c:v>2.7238000000000002</c:v>
                </c:pt>
                <c:pt idx="349">
                  <c:v>2.7238000000000002</c:v>
                </c:pt>
                <c:pt idx="350">
                  <c:v>2.7238000000000002</c:v>
                </c:pt>
                <c:pt idx="351">
                  <c:v>2.7238000000000002</c:v>
                </c:pt>
                <c:pt idx="352">
                  <c:v>2.7238000000000002</c:v>
                </c:pt>
                <c:pt idx="353">
                  <c:v>2.7238000000000002</c:v>
                </c:pt>
                <c:pt idx="354">
                  <c:v>2.7238000000000002</c:v>
                </c:pt>
                <c:pt idx="355">
                  <c:v>2.7238000000000002</c:v>
                </c:pt>
                <c:pt idx="356">
                  <c:v>2.7238000000000002</c:v>
                </c:pt>
                <c:pt idx="357">
                  <c:v>2.7238000000000002</c:v>
                </c:pt>
                <c:pt idx="358">
                  <c:v>2.7238000000000002</c:v>
                </c:pt>
                <c:pt idx="359">
                  <c:v>2.7238000000000002</c:v>
                </c:pt>
                <c:pt idx="360">
                  <c:v>2.7238000000000002</c:v>
                </c:pt>
                <c:pt idx="361">
                  <c:v>2.7238000000000002</c:v>
                </c:pt>
                <c:pt idx="362">
                  <c:v>2.7238000000000002</c:v>
                </c:pt>
                <c:pt idx="363">
                  <c:v>2.7238000000000002</c:v>
                </c:pt>
                <c:pt idx="364">
                  <c:v>2.7238000000000002</c:v>
                </c:pt>
                <c:pt idx="365">
                  <c:v>2.7238000000000002</c:v>
                </c:pt>
                <c:pt idx="366">
                  <c:v>2.7238000000000002</c:v>
                </c:pt>
                <c:pt idx="367">
                  <c:v>2.7238000000000002</c:v>
                </c:pt>
                <c:pt idx="368">
                  <c:v>2.7238000000000002</c:v>
                </c:pt>
                <c:pt idx="369">
                  <c:v>2.7238000000000002</c:v>
                </c:pt>
                <c:pt idx="370">
                  <c:v>2.7238000000000002</c:v>
                </c:pt>
                <c:pt idx="371">
                  <c:v>2.7238000000000002</c:v>
                </c:pt>
                <c:pt idx="372">
                  <c:v>2.7238000000000002</c:v>
                </c:pt>
                <c:pt idx="373">
                  <c:v>2.7238000000000002</c:v>
                </c:pt>
                <c:pt idx="374">
                  <c:v>2.7238000000000002</c:v>
                </c:pt>
                <c:pt idx="375">
                  <c:v>2.7238000000000002</c:v>
                </c:pt>
                <c:pt idx="376">
                  <c:v>2.7238000000000002</c:v>
                </c:pt>
                <c:pt idx="377">
                  <c:v>2.7238000000000002</c:v>
                </c:pt>
                <c:pt idx="378">
                  <c:v>2.7238000000000002</c:v>
                </c:pt>
                <c:pt idx="379">
                  <c:v>2.7238000000000002</c:v>
                </c:pt>
                <c:pt idx="380">
                  <c:v>2.7238000000000002</c:v>
                </c:pt>
                <c:pt idx="381">
                  <c:v>2.7238000000000002</c:v>
                </c:pt>
                <c:pt idx="382">
                  <c:v>2.7238000000000002</c:v>
                </c:pt>
                <c:pt idx="383">
                  <c:v>2.7238000000000002</c:v>
                </c:pt>
                <c:pt idx="384">
                  <c:v>2.7238000000000002</c:v>
                </c:pt>
                <c:pt idx="385">
                  <c:v>2.7238000000000002</c:v>
                </c:pt>
                <c:pt idx="386">
                  <c:v>2.7238000000000002</c:v>
                </c:pt>
                <c:pt idx="387">
                  <c:v>2.7238000000000002</c:v>
                </c:pt>
                <c:pt idx="388">
                  <c:v>2.7238000000000002</c:v>
                </c:pt>
                <c:pt idx="389">
                  <c:v>2.7238000000000002</c:v>
                </c:pt>
                <c:pt idx="390">
                  <c:v>2.7238000000000002</c:v>
                </c:pt>
                <c:pt idx="391">
                  <c:v>2.7238000000000002</c:v>
                </c:pt>
                <c:pt idx="392">
                  <c:v>2.7238000000000002</c:v>
                </c:pt>
                <c:pt idx="393">
                  <c:v>2.7238000000000002</c:v>
                </c:pt>
                <c:pt idx="394">
                  <c:v>2.7238000000000002</c:v>
                </c:pt>
                <c:pt idx="395">
                  <c:v>2.7238000000000002</c:v>
                </c:pt>
                <c:pt idx="396">
                  <c:v>2.7238000000000002</c:v>
                </c:pt>
                <c:pt idx="397">
                  <c:v>2.7238000000000002</c:v>
                </c:pt>
                <c:pt idx="398">
                  <c:v>2.7238000000000002</c:v>
                </c:pt>
                <c:pt idx="399">
                  <c:v>2.7238000000000002</c:v>
                </c:pt>
                <c:pt idx="400">
                  <c:v>2.7238000000000002</c:v>
                </c:pt>
                <c:pt idx="401">
                  <c:v>2.7238000000000002</c:v>
                </c:pt>
                <c:pt idx="402">
                  <c:v>2.7238000000000002</c:v>
                </c:pt>
                <c:pt idx="403">
                  <c:v>2.7238000000000002</c:v>
                </c:pt>
                <c:pt idx="404">
                  <c:v>2.7238000000000002</c:v>
                </c:pt>
                <c:pt idx="405">
                  <c:v>2.7238000000000002</c:v>
                </c:pt>
                <c:pt idx="406">
                  <c:v>2.7238000000000002</c:v>
                </c:pt>
                <c:pt idx="407">
                  <c:v>2.7238000000000002</c:v>
                </c:pt>
                <c:pt idx="408">
                  <c:v>2.7238000000000002</c:v>
                </c:pt>
                <c:pt idx="409">
                  <c:v>2.7238000000000002</c:v>
                </c:pt>
                <c:pt idx="410">
                  <c:v>2.7238000000000002</c:v>
                </c:pt>
                <c:pt idx="411">
                  <c:v>2.7238000000000002</c:v>
                </c:pt>
                <c:pt idx="412">
                  <c:v>2.7238000000000002</c:v>
                </c:pt>
                <c:pt idx="413">
                  <c:v>2.7238000000000002</c:v>
                </c:pt>
                <c:pt idx="414">
                  <c:v>2.7238000000000002</c:v>
                </c:pt>
                <c:pt idx="415">
                  <c:v>2.7238000000000002</c:v>
                </c:pt>
                <c:pt idx="416">
                  <c:v>2.7238000000000002</c:v>
                </c:pt>
                <c:pt idx="417">
                  <c:v>2.7238000000000002</c:v>
                </c:pt>
                <c:pt idx="418">
                  <c:v>2.7238000000000002</c:v>
                </c:pt>
                <c:pt idx="419">
                  <c:v>2.7238000000000002</c:v>
                </c:pt>
                <c:pt idx="420">
                  <c:v>2.7238000000000002</c:v>
                </c:pt>
                <c:pt idx="421">
                  <c:v>2.7238000000000002</c:v>
                </c:pt>
                <c:pt idx="422">
                  <c:v>2.7238000000000002</c:v>
                </c:pt>
                <c:pt idx="423">
                  <c:v>2.7238000000000002</c:v>
                </c:pt>
                <c:pt idx="424">
                  <c:v>2.7238000000000002</c:v>
                </c:pt>
                <c:pt idx="425">
                  <c:v>2.7238000000000002</c:v>
                </c:pt>
                <c:pt idx="426">
                  <c:v>2.7238000000000002</c:v>
                </c:pt>
                <c:pt idx="427">
                  <c:v>2.7238000000000002</c:v>
                </c:pt>
                <c:pt idx="428">
                  <c:v>2.7238000000000002</c:v>
                </c:pt>
                <c:pt idx="429">
                  <c:v>2.7238000000000002</c:v>
                </c:pt>
                <c:pt idx="430">
                  <c:v>2.7238000000000002</c:v>
                </c:pt>
                <c:pt idx="431">
                  <c:v>2.7238000000000002</c:v>
                </c:pt>
                <c:pt idx="432">
                  <c:v>2.7238000000000002</c:v>
                </c:pt>
                <c:pt idx="433">
                  <c:v>2.7238000000000002</c:v>
                </c:pt>
                <c:pt idx="434">
                  <c:v>2.7238000000000002</c:v>
                </c:pt>
                <c:pt idx="435">
                  <c:v>2.7238000000000002</c:v>
                </c:pt>
                <c:pt idx="436">
                  <c:v>2.7238000000000002</c:v>
                </c:pt>
                <c:pt idx="437">
                  <c:v>2.7238000000000002</c:v>
                </c:pt>
                <c:pt idx="438">
                  <c:v>2.7238000000000002</c:v>
                </c:pt>
                <c:pt idx="439">
                  <c:v>2.7238000000000002</c:v>
                </c:pt>
                <c:pt idx="440">
                  <c:v>2.7238000000000002</c:v>
                </c:pt>
                <c:pt idx="441">
                  <c:v>2.7238000000000002</c:v>
                </c:pt>
                <c:pt idx="442">
                  <c:v>2.7238000000000002</c:v>
                </c:pt>
                <c:pt idx="443">
                  <c:v>2.7238000000000002</c:v>
                </c:pt>
                <c:pt idx="444">
                  <c:v>2.7238000000000002</c:v>
                </c:pt>
                <c:pt idx="445">
                  <c:v>2.7238000000000002</c:v>
                </c:pt>
                <c:pt idx="446">
                  <c:v>2.7238000000000002</c:v>
                </c:pt>
                <c:pt idx="447">
                  <c:v>2.7238000000000002</c:v>
                </c:pt>
                <c:pt idx="448">
                  <c:v>2.7238000000000002</c:v>
                </c:pt>
                <c:pt idx="449">
                  <c:v>2.7238000000000002</c:v>
                </c:pt>
                <c:pt idx="450">
                  <c:v>2.7238000000000002</c:v>
                </c:pt>
                <c:pt idx="451">
                  <c:v>2.7238000000000002</c:v>
                </c:pt>
                <c:pt idx="452">
                  <c:v>2.7238000000000002</c:v>
                </c:pt>
                <c:pt idx="453">
                  <c:v>2.7238000000000002</c:v>
                </c:pt>
                <c:pt idx="454">
                  <c:v>2.7238000000000002</c:v>
                </c:pt>
                <c:pt idx="455">
                  <c:v>2.7238000000000002</c:v>
                </c:pt>
                <c:pt idx="456">
                  <c:v>2.7238000000000002</c:v>
                </c:pt>
                <c:pt idx="457">
                  <c:v>2.7238000000000002</c:v>
                </c:pt>
                <c:pt idx="458">
                  <c:v>2.7238000000000002</c:v>
                </c:pt>
                <c:pt idx="459">
                  <c:v>2.7238000000000002</c:v>
                </c:pt>
                <c:pt idx="460">
                  <c:v>2.7238000000000002</c:v>
                </c:pt>
                <c:pt idx="461">
                  <c:v>2.7238000000000002</c:v>
                </c:pt>
                <c:pt idx="462">
                  <c:v>2.7238000000000002</c:v>
                </c:pt>
                <c:pt idx="463">
                  <c:v>2.7238000000000002</c:v>
                </c:pt>
                <c:pt idx="464">
                  <c:v>2.7238000000000002</c:v>
                </c:pt>
                <c:pt idx="465">
                  <c:v>2.7238000000000002</c:v>
                </c:pt>
                <c:pt idx="466">
                  <c:v>2.7238000000000002</c:v>
                </c:pt>
                <c:pt idx="467">
                  <c:v>2.7238000000000002</c:v>
                </c:pt>
                <c:pt idx="468">
                  <c:v>2.7238000000000002</c:v>
                </c:pt>
                <c:pt idx="469">
                  <c:v>2.7238000000000002</c:v>
                </c:pt>
                <c:pt idx="470">
                  <c:v>2.7238000000000002</c:v>
                </c:pt>
                <c:pt idx="471">
                  <c:v>2.7238000000000002</c:v>
                </c:pt>
                <c:pt idx="472">
                  <c:v>2.7238000000000002</c:v>
                </c:pt>
                <c:pt idx="473">
                  <c:v>2.7238000000000002</c:v>
                </c:pt>
                <c:pt idx="474">
                  <c:v>2.7238000000000002</c:v>
                </c:pt>
                <c:pt idx="475">
                  <c:v>2.7238000000000002</c:v>
                </c:pt>
                <c:pt idx="476">
                  <c:v>2.7238000000000002</c:v>
                </c:pt>
                <c:pt idx="477">
                  <c:v>2.7238000000000002</c:v>
                </c:pt>
                <c:pt idx="478">
                  <c:v>2.7238000000000002</c:v>
                </c:pt>
                <c:pt idx="479">
                  <c:v>2.7238000000000002</c:v>
                </c:pt>
                <c:pt idx="480">
                  <c:v>2.7238000000000002</c:v>
                </c:pt>
                <c:pt idx="481">
                  <c:v>2.7238000000000002</c:v>
                </c:pt>
                <c:pt idx="482">
                  <c:v>2.7238000000000002</c:v>
                </c:pt>
                <c:pt idx="483">
                  <c:v>2.7238000000000002</c:v>
                </c:pt>
                <c:pt idx="484">
                  <c:v>2.7238000000000002</c:v>
                </c:pt>
                <c:pt idx="485">
                  <c:v>2.7238000000000002</c:v>
                </c:pt>
                <c:pt idx="486">
                  <c:v>2.7238000000000002</c:v>
                </c:pt>
                <c:pt idx="487">
                  <c:v>2.7238000000000002</c:v>
                </c:pt>
                <c:pt idx="488">
                  <c:v>2.7238000000000002</c:v>
                </c:pt>
                <c:pt idx="489">
                  <c:v>2.7238000000000002</c:v>
                </c:pt>
                <c:pt idx="490">
                  <c:v>2.7238000000000002</c:v>
                </c:pt>
                <c:pt idx="491">
                  <c:v>2.7238000000000002</c:v>
                </c:pt>
                <c:pt idx="492">
                  <c:v>2.7238000000000002</c:v>
                </c:pt>
                <c:pt idx="493">
                  <c:v>2.7238000000000002</c:v>
                </c:pt>
                <c:pt idx="494">
                  <c:v>2.7238000000000002</c:v>
                </c:pt>
                <c:pt idx="495">
                  <c:v>2.7238000000000002</c:v>
                </c:pt>
                <c:pt idx="496">
                  <c:v>2.7238000000000002</c:v>
                </c:pt>
                <c:pt idx="497">
                  <c:v>2.7238000000000002</c:v>
                </c:pt>
                <c:pt idx="498">
                  <c:v>2.7238000000000002</c:v>
                </c:pt>
                <c:pt idx="499">
                  <c:v>2.7238000000000002</c:v>
                </c:pt>
                <c:pt idx="500">
                  <c:v>2.7238000000000002</c:v>
                </c:pt>
                <c:pt idx="501">
                  <c:v>2.7238000000000002</c:v>
                </c:pt>
                <c:pt idx="502">
                  <c:v>2.7238000000000002</c:v>
                </c:pt>
                <c:pt idx="503">
                  <c:v>2.7238000000000002</c:v>
                </c:pt>
                <c:pt idx="525">
                  <c:v>3.1272000000000002</c:v>
                </c:pt>
                <c:pt idx="526">
                  <c:v>3.1272000000000002</c:v>
                </c:pt>
                <c:pt idx="527">
                  <c:v>3.1272000000000002</c:v>
                </c:pt>
                <c:pt idx="528">
                  <c:v>3.1272000000000002</c:v>
                </c:pt>
                <c:pt idx="529">
                  <c:v>3.1272000000000002</c:v>
                </c:pt>
                <c:pt idx="530">
                  <c:v>3.1272000000000002</c:v>
                </c:pt>
                <c:pt idx="531">
                  <c:v>3.1272000000000002</c:v>
                </c:pt>
                <c:pt idx="532">
                  <c:v>3.1272000000000002</c:v>
                </c:pt>
                <c:pt idx="533">
                  <c:v>3.1272000000000002</c:v>
                </c:pt>
                <c:pt idx="534">
                  <c:v>3.1272000000000002</c:v>
                </c:pt>
                <c:pt idx="535">
                  <c:v>3.1272000000000002</c:v>
                </c:pt>
                <c:pt idx="536">
                  <c:v>3.1272000000000002</c:v>
                </c:pt>
                <c:pt idx="537">
                  <c:v>3.1272000000000002</c:v>
                </c:pt>
                <c:pt idx="538">
                  <c:v>3.1272000000000002</c:v>
                </c:pt>
                <c:pt idx="539">
                  <c:v>3.1272000000000002</c:v>
                </c:pt>
                <c:pt idx="540">
                  <c:v>3.1272000000000002</c:v>
                </c:pt>
                <c:pt idx="541">
                  <c:v>3.1272000000000002</c:v>
                </c:pt>
                <c:pt idx="542">
                  <c:v>3.1272000000000002</c:v>
                </c:pt>
                <c:pt idx="543">
                  <c:v>3.1272000000000002</c:v>
                </c:pt>
                <c:pt idx="544">
                  <c:v>3.1272000000000002</c:v>
                </c:pt>
                <c:pt idx="545">
                  <c:v>3.1272000000000002</c:v>
                </c:pt>
                <c:pt idx="546">
                  <c:v>3.1272000000000002</c:v>
                </c:pt>
                <c:pt idx="547">
                  <c:v>3.1272000000000002</c:v>
                </c:pt>
                <c:pt idx="548">
                  <c:v>3.1272000000000002</c:v>
                </c:pt>
                <c:pt idx="549">
                  <c:v>3.1272000000000002</c:v>
                </c:pt>
                <c:pt idx="550">
                  <c:v>3.1272000000000002</c:v>
                </c:pt>
                <c:pt idx="551">
                  <c:v>3.1272000000000002</c:v>
                </c:pt>
                <c:pt idx="552">
                  <c:v>3.1272000000000002</c:v>
                </c:pt>
                <c:pt idx="553">
                  <c:v>3.1272000000000002</c:v>
                </c:pt>
                <c:pt idx="554">
                  <c:v>3.1272000000000002</c:v>
                </c:pt>
                <c:pt idx="555">
                  <c:v>3.1272000000000002</c:v>
                </c:pt>
                <c:pt idx="556">
                  <c:v>3.1272000000000002</c:v>
                </c:pt>
                <c:pt idx="557">
                  <c:v>3.1272000000000002</c:v>
                </c:pt>
                <c:pt idx="558">
                  <c:v>3.1272000000000002</c:v>
                </c:pt>
                <c:pt idx="559">
                  <c:v>3.1272000000000002</c:v>
                </c:pt>
                <c:pt idx="560">
                  <c:v>3.1272000000000002</c:v>
                </c:pt>
                <c:pt idx="561">
                  <c:v>3.1272000000000002</c:v>
                </c:pt>
                <c:pt idx="562">
                  <c:v>3.1272000000000002</c:v>
                </c:pt>
                <c:pt idx="563">
                  <c:v>3.1272000000000002</c:v>
                </c:pt>
                <c:pt idx="564">
                  <c:v>3.1272000000000002</c:v>
                </c:pt>
                <c:pt idx="565">
                  <c:v>3.1272000000000002</c:v>
                </c:pt>
                <c:pt idx="566">
                  <c:v>3.1272000000000002</c:v>
                </c:pt>
                <c:pt idx="567">
                  <c:v>3.1272000000000002</c:v>
                </c:pt>
                <c:pt idx="568">
                  <c:v>3.1272000000000002</c:v>
                </c:pt>
                <c:pt idx="569">
                  <c:v>3.1272000000000002</c:v>
                </c:pt>
                <c:pt idx="570">
                  <c:v>3.1272000000000002</c:v>
                </c:pt>
                <c:pt idx="571">
                  <c:v>3.1272000000000002</c:v>
                </c:pt>
                <c:pt idx="572">
                  <c:v>3.1272000000000002</c:v>
                </c:pt>
                <c:pt idx="573">
                  <c:v>3.1272000000000002</c:v>
                </c:pt>
                <c:pt idx="574">
                  <c:v>3.1272000000000002</c:v>
                </c:pt>
                <c:pt idx="575">
                  <c:v>3.1272000000000002</c:v>
                </c:pt>
                <c:pt idx="576">
                  <c:v>3.1272000000000002</c:v>
                </c:pt>
                <c:pt idx="577">
                  <c:v>3.1272000000000002</c:v>
                </c:pt>
                <c:pt idx="578">
                  <c:v>3.1272000000000002</c:v>
                </c:pt>
                <c:pt idx="579">
                  <c:v>3.1272000000000002</c:v>
                </c:pt>
                <c:pt idx="580">
                  <c:v>3.1272000000000002</c:v>
                </c:pt>
                <c:pt idx="581">
                  <c:v>3.1272000000000002</c:v>
                </c:pt>
                <c:pt idx="582">
                  <c:v>3.1272000000000002</c:v>
                </c:pt>
                <c:pt idx="583">
                  <c:v>3.1272000000000002</c:v>
                </c:pt>
                <c:pt idx="584">
                  <c:v>3.1272000000000002</c:v>
                </c:pt>
                <c:pt idx="585">
                  <c:v>3.1272000000000002</c:v>
                </c:pt>
                <c:pt idx="586">
                  <c:v>3.1272000000000002</c:v>
                </c:pt>
                <c:pt idx="587">
                  <c:v>3.1272000000000002</c:v>
                </c:pt>
                <c:pt idx="588">
                  <c:v>3.1272000000000002</c:v>
                </c:pt>
                <c:pt idx="589">
                  <c:v>3.1272000000000002</c:v>
                </c:pt>
                <c:pt idx="590">
                  <c:v>3.1272000000000002</c:v>
                </c:pt>
                <c:pt idx="591">
                  <c:v>3.1272000000000002</c:v>
                </c:pt>
                <c:pt idx="592">
                  <c:v>3.1272000000000002</c:v>
                </c:pt>
                <c:pt idx="593">
                  <c:v>3.1272000000000002</c:v>
                </c:pt>
                <c:pt idx="594">
                  <c:v>3.1272000000000002</c:v>
                </c:pt>
                <c:pt idx="595">
                  <c:v>3.1272000000000002</c:v>
                </c:pt>
                <c:pt idx="596">
                  <c:v>3.1272000000000002</c:v>
                </c:pt>
                <c:pt idx="597">
                  <c:v>3.1272000000000002</c:v>
                </c:pt>
                <c:pt idx="598">
                  <c:v>3.1272000000000002</c:v>
                </c:pt>
                <c:pt idx="599">
                  <c:v>3.1272000000000002</c:v>
                </c:pt>
                <c:pt idx="600">
                  <c:v>3.1272000000000002</c:v>
                </c:pt>
                <c:pt idx="601">
                  <c:v>3.1272000000000002</c:v>
                </c:pt>
                <c:pt idx="602">
                  <c:v>3.1272000000000002</c:v>
                </c:pt>
                <c:pt idx="603">
                  <c:v>3.1272000000000002</c:v>
                </c:pt>
                <c:pt idx="604">
                  <c:v>3.1272000000000002</c:v>
                </c:pt>
                <c:pt idx="605">
                  <c:v>3.1272000000000002</c:v>
                </c:pt>
                <c:pt idx="606">
                  <c:v>3.1272000000000002</c:v>
                </c:pt>
                <c:pt idx="607">
                  <c:v>3.1272000000000002</c:v>
                </c:pt>
                <c:pt idx="608">
                  <c:v>3.1272000000000002</c:v>
                </c:pt>
                <c:pt idx="609">
                  <c:v>3.1272000000000002</c:v>
                </c:pt>
                <c:pt idx="610">
                  <c:v>3.1272000000000002</c:v>
                </c:pt>
                <c:pt idx="611">
                  <c:v>3.1272000000000002</c:v>
                </c:pt>
                <c:pt idx="612">
                  <c:v>3.1272000000000002</c:v>
                </c:pt>
                <c:pt idx="613">
                  <c:v>3.1272000000000002</c:v>
                </c:pt>
                <c:pt idx="614">
                  <c:v>3.1272000000000002</c:v>
                </c:pt>
                <c:pt idx="615">
                  <c:v>3.1272000000000002</c:v>
                </c:pt>
                <c:pt idx="616">
                  <c:v>3.1272000000000002</c:v>
                </c:pt>
                <c:pt idx="617">
                  <c:v>3.1272000000000002</c:v>
                </c:pt>
                <c:pt idx="618">
                  <c:v>3.1272000000000002</c:v>
                </c:pt>
                <c:pt idx="619">
                  <c:v>3.1272000000000002</c:v>
                </c:pt>
                <c:pt idx="620">
                  <c:v>3.1272000000000002</c:v>
                </c:pt>
                <c:pt idx="621">
                  <c:v>3.1272000000000002</c:v>
                </c:pt>
                <c:pt idx="622">
                  <c:v>3.1272000000000002</c:v>
                </c:pt>
                <c:pt idx="623">
                  <c:v>3.1272000000000002</c:v>
                </c:pt>
                <c:pt idx="624">
                  <c:v>3.1272000000000002</c:v>
                </c:pt>
                <c:pt idx="625">
                  <c:v>3.1272000000000002</c:v>
                </c:pt>
                <c:pt idx="626">
                  <c:v>3.1272000000000002</c:v>
                </c:pt>
                <c:pt idx="627">
                  <c:v>3.1272000000000002</c:v>
                </c:pt>
                <c:pt idx="628">
                  <c:v>3.1272000000000002</c:v>
                </c:pt>
                <c:pt idx="629">
                  <c:v>3.1272000000000002</c:v>
                </c:pt>
                <c:pt idx="630">
                  <c:v>3.1272000000000002</c:v>
                </c:pt>
                <c:pt idx="631">
                  <c:v>3.1272000000000002</c:v>
                </c:pt>
                <c:pt idx="632">
                  <c:v>3.1272000000000002</c:v>
                </c:pt>
                <c:pt idx="633">
                  <c:v>3.1272000000000002</c:v>
                </c:pt>
                <c:pt idx="634">
                  <c:v>3.1272000000000002</c:v>
                </c:pt>
                <c:pt idx="635">
                  <c:v>3.1272000000000002</c:v>
                </c:pt>
                <c:pt idx="636">
                  <c:v>3.1272000000000002</c:v>
                </c:pt>
                <c:pt idx="637">
                  <c:v>3.1272000000000002</c:v>
                </c:pt>
                <c:pt idx="638">
                  <c:v>3.1272000000000002</c:v>
                </c:pt>
                <c:pt idx="639">
                  <c:v>3.1272000000000002</c:v>
                </c:pt>
                <c:pt idx="640">
                  <c:v>3.1272000000000002</c:v>
                </c:pt>
                <c:pt idx="641">
                  <c:v>3.1272000000000002</c:v>
                </c:pt>
                <c:pt idx="642">
                  <c:v>3.1272000000000002</c:v>
                </c:pt>
                <c:pt idx="643">
                  <c:v>3.1272000000000002</c:v>
                </c:pt>
                <c:pt idx="644">
                  <c:v>3.1272000000000002</c:v>
                </c:pt>
                <c:pt idx="645">
                  <c:v>3.1272000000000002</c:v>
                </c:pt>
                <c:pt idx="646">
                  <c:v>3.1272000000000002</c:v>
                </c:pt>
                <c:pt idx="647">
                  <c:v>3.1272000000000002</c:v>
                </c:pt>
                <c:pt idx="648">
                  <c:v>3.1272000000000002</c:v>
                </c:pt>
                <c:pt idx="649">
                  <c:v>3.1272000000000002</c:v>
                </c:pt>
                <c:pt idx="650">
                  <c:v>3.1272000000000002</c:v>
                </c:pt>
                <c:pt idx="651">
                  <c:v>3.1272000000000002</c:v>
                </c:pt>
                <c:pt idx="652">
                  <c:v>3.1272000000000002</c:v>
                </c:pt>
                <c:pt idx="653">
                  <c:v>3.1272000000000002</c:v>
                </c:pt>
                <c:pt idx="654">
                  <c:v>3.1272000000000002</c:v>
                </c:pt>
                <c:pt idx="655">
                  <c:v>3.1272000000000002</c:v>
                </c:pt>
                <c:pt idx="656">
                  <c:v>3.1272000000000002</c:v>
                </c:pt>
                <c:pt idx="657">
                  <c:v>3.1272000000000002</c:v>
                </c:pt>
                <c:pt idx="658">
                  <c:v>3.1272000000000002</c:v>
                </c:pt>
                <c:pt idx="659">
                  <c:v>3.1272000000000002</c:v>
                </c:pt>
                <c:pt idx="660">
                  <c:v>3.1272000000000002</c:v>
                </c:pt>
                <c:pt idx="661">
                  <c:v>3.1272000000000002</c:v>
                </c:pt>
                <c:pt idx="662">
                  <c:v>3.1272000000000002</c:v>
                </c:pt>
                <c:pt idx="663">
                  <c:v>3.1272000000000002</c:v>
                </c:pt>
                <c:pt idx="664">
                  <c:v>3.1272000000000002</c:v>
                </c:pt>
                <c:pt idx="665">
                  <c:v>3.1272000000000002</c:v>
                </c:pt>
                <c:pt idx="666">
                  <c:v>3.1272000000000002</c:v>
                </c:pt>
                <c:pt idx="667">
                  <c:v>3.1272000000000002</c:v>
                </c:pt>
                <c:pt idx="668">
                  <c:v>3.1272000000000002</c:v>
                </c:pt>
                <c:pt idx="669">
                  <c:v>3.1272000000000002</c:v>
                </c:pt>
                <c:pt idx="670">
                  <c:v>3.1272000000000002</c:v>
                </c:pt>
                <c:pt idx="671">
                  <c:v>3.1272000000000002</c:v>
                </c:pt>
                <c:pt idx="672">
                  <c:v>3.1272000000000002</c:v>
                </c:pt>
                <c:pt idx="673">
                  <c:v>3.1272000000000002</c:v>
                </c:pt>
                <c:pt idx="674">
                  <c:v>3.1272000000000002</c:v>
                </c:pt>
                <c:pt idx="675">
                  <c:v>3.1272000000000002</c:v>
                </c:pt>
                <c:pt idx="676">
                  <c:v>3.1272000000000002</c:v>
                </c:pt>
                <c:pt idx="677">
                  <c:v>3.1272000000000002</c:v>
                </c:pt>
                <c:pt idx="678">
                  <c:v>3.1272000000000002</c:v>
                </c:pt>
                <c:pt idx="679">
                  <c:v>3.1272000000000002</c:v>
                </c:pt>
                <c:pt idx="680">
                  <c:v>3.1272000000000002</c:v>
                </c:pt>
                <c:pt idx="681">
                  <c:v>3.1272000000000002</c:v>
                </c:pt>
                <c:pt idx="682">
                  <c:v>3.1272000000000002</c:v>
                </c:pt>
                <c:pt idx="683">
                  <c:v>3.1272000000000002</c:v>
                </c:pt>
                <c:pt idx="684">
                  <c:v>3.1272000000000002</c:v>
                </c:pt>
                <c:pt idx="685">
                  <c:v>3.1272000000000002</c:v>
                </c:pt>
                <c:pt idx="686">
                  <c:v>3.1272000000000002</c:v>
                </c:pt>
                <c:pt idx="687">
                  <c:v>3.1272000000000002</c:v>
                </c:pt>
                <c:pt idx="688">
                  <c:v>3.1272000000000002</c:v>
                </c:pt>
                <c:pt idx="689">
                  <c:v>3.1272000000000002</c:v>
                </c:pt>
                <c:pt idx="690">
                  <c:v>3.1272000000000002</c:v>
                </c:pt>
                <c:pt idx="691">
                  <c:v>3.1272000000000002</c:v>
                </c:pt>
                <c:pt idx="692">
                  <c:v>3.1272000000000002</c:v>
                </c:pt>
                <c:pt idx="693">
                  <c:v>3.1272000000000002</c:v>
                </c:pt>
                <c:pt idx="694">
                  <c:v>3.1272000000000002</c:v>
                </c:pt>
                <c:pt idx="695">
                  <c:v>3.1272000000000002</c:v>
                </c:pt>
                <c:pt idx="696">
                  <c:v>3.1272000000000002</c:v>
                </c:pt>
                <c:pt idx="697">
                  <c:v>3.1272000000000002</c:v>
                </c:pt>
                <c:pt idx="698">
                  <c:v>3.1272000000000002</c:v>
                </c:pt>
                <c:pt idx="699">
                  <c:v>3.1272000000000002</c:v>
                </c:pt>
                <c:pt idx="700">
                  <c:v>3.1272000000000002</c:v>
                </c:pt>
                <c:pt idx="701">
                  <c:v>3.1272000000000002</c:v>
                </c:pt>
                <c:pt idx="702">
                  <c:v>3.1272000000000002</c:v>
                </c:pt>
                <c:pt idx="703">
                  <c:v>3.1272000000000002</c:v>
                </c:pt>
                <c:pt idx="704">
                  <c:v>3.1272000000000002</c:v>
                </c:pt>
                <c:pt idx="705">
                  <c:v>3.1272000000000002</c:v>
                </c:pt>
                <c:pt idx="706">
                  <c:v>3.1272000000000002</c:v>
                </c:pt>
                <c:pt idx="707">
                  <c:v>3.1272000000000002</c:v>
                </c:pt>
                <c:pt idx="708">
                  <c:v>3.1272000000000002</c:v>
                </c:pt>
                <c:pt idx="709">
                  <c:v>3.1272000000000002</c:v>
                </c:pt>
                <c:pt idx="710">
                  <c:v>3.1272000000000002</c:v>
                </c:pt>
                <c:pt idx="711">
                  <c:v>3.1272000000000002</c:v>
                </c:pt>
                <c:pt idx="712">
                  <c:v>3.1272000000000002</c:v>
                </c:pt>
                <c:pt idx="713">
                  <c:v>3.1272000000000002</c:v>
                </c:pt>
                <c:pt idx="714">
                  <c:v>3.1272000000000002</c:v>
                </c:pt>
                <c:pt idx="715">
                  <c:v>3.1272000000000002</c:v>
                </c:pt>
                <c:pt idx="716">
                  <c:v>3.1272000000000002</c:v>
                </c:pt>
                <c:pt idx="717">
                  <c:v>3.1272000000000002</c:v>
                </c:pt>
                <c:pt idx="718">
                  <c:v>3.1272000000000002</c:v>
                </c:pt>
                <c:pt idx="719">
                  <c:v>3.1272000000000002</c:v>
                </c:pt>
                <c:pt idx="720">
                  <c:v>3.1272000000000002</c:v>
                </c:pt>
                <c:pt idx="721">
                  <c:v>3.1272000000000002</c:v>
                </c:pt>
                <c:pt idx="722">
                  <c:v>3.1272000000000002</c:v>
                </c:pt>
                <c:pt idx="723">
                  <c:v>3.1272000000000002</c:v>
                </c:pt>
                <c:pt idx="724">
                  <c:v>3.1272000000000002</c:v>
                </c:pt>
                <c:pt idx="725">
                  <c:v>3.1272000000000002</c:v>
                </c:pt>
                <c:pt idx="726">
                  <c:v>3.1272000000000002</c:v>
                </c:pt>
                <c:pt idx="727">
                  <c:v>3.1272000000000002</c:v>
                </c:pt>
                <c:pt idx="728">
                  <c:v>3.1272000000000002</c:v>
                </c:pt>
                <c:pt idx="729">
                  <c:v>3.1272000000000002</c:v>
                </c:pt>
                <c:pt idx="730">
                  <c:v>3.1272000000000002</c:v>
                </c:pt>
                <c:pt idx="731">
                  <c:v>3.1272000000000002</c:v>
                </c:pt>
                <c:pt idx="732">
                  <c:v>3.1272000000000002</c:v>
                </c:pt>
                <c:pt idx="733">
                  <c:v>3.1272000000000002</c:v>
                </c:pt>
                <c:pt idx="734">
                  <c:v>3.1272000000000002</c:v>
                </c:pt>
                <c:pt idx="735">
                  <c:v>3.1272000000000002</c:v>
                </c:pt>
                <c:pt idx="736">
                  <c:v>3.1272000000000002</c:v>
                </c:pt>
                <c:pt idx="737">
                  <c:v>3.1272000000000002</c:v>
                </c:pt>
                <c:pt idx="738">
                  <c:v>3.1272000000000002</c:v>
                </c:pt>
                <c:pt idx="739">
                  <c:v>3.1272000000000002</c:v>
                </c:pt>
                <c:pt idx="740">
                  <c:v>3.1272000000000002</c:v>
                </c:pt>
                <c:pt idx="741">
                  <c:v>3.1272000000000002</c:v>
                </c:pt>
                <c:pt idx="742">
                  <c:v>3.1272000000000002</c:v>
                </c:pt>
                <c:pt idx="743">
                  <c:v>3.1272000000000002</c:v>
                </c:pt>
                <c:pt idx="744">
                  <c:v>3.1272000000000002</c:v>
                </c:pt>
                <c:pt idx="745">
                  <c:v>3.1272000000000002</c:v>
                </c:pt>
                <c:pt idx="746">
                  <c:v>3.1272000000000002</c:v>
                </c:pt>
                <c:pt idx="747">
                  <c:v>3.1272000000000002</c:v>
                </c:pt>
                <c:pt idx="748">
                  <c:v>3.1272000000000002</c:v>
                </c:pt>
                <c:pt idx="749">
                  <c:v>3.1272000000000002</c:v>
                </c:pt>
                <c:pt idx="750">
                  <c:v>3.1272000000000002</c:v>
                </c:pt>
                <c:pt idx="751">
                  <c:v>3.1272000000000002</c:v>
                </c:pt>
                <c:pt idx="752">
                  <c:v>3.1272000000000002</c:v>
                </c:pt>
                <c:pt idx="766">
                  <c:v>3.3299999999999987</c:v>
                </c:pt>
                <c:pt idx="767">
                  <c:v>3.3299999999999987</c:v>
                </c:pt>
                <c:pt idx="768">
                  <c:v>3.3299999999999987</c:v>
                </c:pt>
                <c:pt idx="769">
                  <c:v>3.3299999999999987</c:v>
                </c:pt>
                <c:pt idx="770">
                  <c:v>3.3299999999999987</c:v>
                </c:pt>
                <c:pt idx="771">
                  <c:v>3.3299999999999987</c:v>
                </c:pt>
                <c:pt idx="772">
                  <c:v>3.3299999999999987</c:v>
                </c:pt>
                <c:pt idx="773">
                  <c:v>3.3299999999999987</c:v>
                </c:pt>
                <c:pt idx="774">
                  <c:v>3.3299999999999987</c:v>
                </c:pt>
                <c:pt idx="775">
                  <c:v>3.3299999999999987</c:v>
                </c:pt>
                <c:pt idx="776">
                  <c:v>3.3299999999999987</c:v>
                </c:pt>
                <c:pt idx="777">
                  <c:v>3.3299999999999987</c:v>
                </c:pt>
                <c:pt idx="778">
                  <c:v>3.3299999999999987</c:v>
                </c:pt>
                <c:pt idx="779">
                  <c:v>3.3299999999999987</c:v>
                </c:pt>
                <c:pt idx="780">
                  <c:v>3.3299999999999987</c:v>
                </c:pt>
                <c:pt idx="781">
                  <c:v>3.3299999999999987</c:v>
                </c:pt>
                <c:pt idx="782">
                  <c:v>3.3299999999999987</c:v>
                </c:pt>
                <c:pt idx="783">
                  <c:v>3.3299999999999987</c:v>
                </c:pt>
                <c:pt idx="784">
                  <c:v>3.3299999999999987</c:v>
                </c:pt>
                <c:pt idx="785">
                  <c:v>3.3299999999999987</c:v>
                </c:pt>
                <c:pt idx="786">
                  <c:v>3.3299999999999987</c:v>
                </c:pt>
                <c:pt idx="787">
                  <c:v>3.3299999999999987</c:v>
                </c:pt>
                <c:pt idx="788">
                  <c:v>3.3299999999999987</c:v>
                </c:pt>
                <c:pt idx="789">
                  <c:v>3.3299999999999987</c:v>
                </c:pt>
                <c:pt idx="790">
                  <c:v>3.3299999999999987</c:v>
                </c:pt>
                <c:pt idx="791">
                  <c:v>3.3299999999999987</c:v>
                </c:pt>
                <c:pt idx="792">
                  <c:v>3.3299999999999987</c:v>
                </c:pt>
                <c:pt idx="793">
                  <c:v>3.3299999999999987</c:v>
                </c:pt>
                <c:pt idx="794">
                  <c:v>3.3299999999999987</c:v>
                </c:pt>
                <c:pt idx="795">
                  <c:v>3.3299999999999987</c:v>
                </c:pt>
                <c:pt idx="796">
                  <c:v>3.3299999999999987</c:v>
                </c:pt>
                <c:pt idx="797">
                  <c:v>3.3299999999999987</c:v>
                </c:pt>
                <c:pt idx="798">
                  <c:v>3.3299999999999987</c:v>
                </c:pt>
                <c:pt idx="799">
                  <c:v>3.3299999999999987</c:v>
                </c:pt>
                <c:pt idx="800">
                  <c:v>3.3299999999999987</c:v>
                </c:pt>
                <c:pt idx="801">
                  <c:v>3.3299999999999987</c:v>
                </c:pt>
                <c:pt idx="802">
                  <c:v>3.3299999999999987</c:v>
                </c:pt>
                <c:pt idx="803">
                  <c:v>3.3299999999999987</c:v>
                </c:pt>
                <c:pt idx="804">
                  <c:v>3.3299999999999987</c:v>
                </c:pt>
                <c:pt idx="805">
                  <c:v>3.3299999999999987</c:v>
                </c:pt>
                <c:pt idx="806">
                  <c:v>3.3299999999999987</c:v>
                </c:pt>
                <c:pt idx="807">
                  <c:v>3.3299999999999987</c:v>
                </c:pt>
                <c:pt idx="808">
                  <c:v>3.3299999999999987</c:v>
                </c:pt>
                <c:pt idx="809">
                  <c:v>3.3299999999999987</c:v>
                </c:pt>
                <c:pt idx="810">
                  <c:v>3.3299999999999987</c:v>
                </c:pt>
                <c:pt idx="811">
                  <c:v>3.3299999999999987</c:v>
                </c:pt>
                <c:pt idx="812">
                  <c:v>3.3299999999999987</c:v>
                </c:pt>
                <c:pt idx="813">
                  <c:v>3.3299999999999987</c:v>
                </c:pt>
                <c:pt idx="814">
                  <c:v>3.3299999999999987</c:v>
                </c:pt>
                <c:pt idx="815">
                  <c:v>3.3299999999999987</c:v>
                </c:pt>
                <c:pt idx="816">
                  <c:v>3.3299999999999987</c:v>
                </c:pt>
                <c:pt idx="817">
                  <c:v>3.3299999999999987</c:v>
                </c:pt>
                <c:pt idx="818">
                  <c:v>3.3299999999999987</c:v>
                </c:pt>
                <c:pt idx="819">
                  <c:v>3.3299999999999987</c:v>
                </c:pt>
                <c:pt idx="820">
                  <c:v>3.3299999999999987</c:v>
                </c:pt>
                <c:pt idx="821">
                  <c:v>3.3299999999999987</c:v>
                </c:pt>
                <c:pt idx="822">
                  <c:v>3.3299999999999987</c:v>
                </c:pt>
                <c:pt idx="823">
                  <c:v>3.3299999999999987</c:v>
                </c:pt>
                <c:pt idx="824">
                  <c:v>3.3299999999999987</c:v>
                </c:pt>
                <c:pt idx="825">
                  <c:v>3.3299999999999987</c:v>
                </c:pt>
                <c:pt idx="826">
                  <c:v>3.3299999999999987</c:v>
                </c:pt>
                <c:pt idx="827">
                  <c:v>3.3299999999999987</c:v>
                </c:pt>
                <c:pt idx="828">
                  <c:v>3.3299999999999987</c:v>
                </c:pt>
                <c:pt idx="829">
                  <c:v>3.3299999999999987</c:v>
                </c:pt>
                <c:pt idx="830">
                  <c:v>3.3299999999999987</c:v>
                </c:pt>
                <c:pt idx="831">
                  <c:v>3.3299999999999987</c:v>
                </c:pt>
                <c:pt idx="832">
                  <c:v>3.3299999999999987</c:v>
                </c:pt>
                <c:pt idx="833">
                  <c:v>3.3299999999999987</c:v>
                </c:pt>
                <c:pt idx="834">
                  <c:v>3.3299999999999987</c:v>
                </c:pt>
                <c:pt idx="835">
                  <c:v>3.3299999999999987</c:v>
                </c:pt>
                <c:pt idx="836">
                  <c:v>3.3299999999999987</c:v>
                </c:pt>
                <c:pt idx="837">
                  <c:v>3.3299999999999987</c:v>
                </c:pt>
                <c:pt idx="838">
                  <c:v>3.3299999999999987</c:v>
                </c:pt>
                <c:pt idx="839">
                  <c:v>3.3299999999999987</c:v>
                </c:pt>
                <c:pt idx="840">
                  <c:v>3.3299999999999987</c:v>
                </c:pt>
                <c:pt idx="841">
                  <c:v>3.3299999999999987</c:v>
                </c:pt>
                <c:pt idx="842">
                  <c:v>3.3299999999999987</c:v>
                </c:pt>
                <c:pt idx="843">
                  <c:v>3.3299999999999987</c:v>
                </c:pt>
                <c:pt idx="844">
                  <c:v>3.3299999999999987</c:v>
                </c:pt>
                <c:pt idx="845">
                  <c:v>3.3299999999999987</c:v>
                </c:pt>
                <c:pt idx="846">
                  <c:v>3.3299999999999987</c:v>
                </c:pt>
                <c:pt idx="847">
                  <c:v>3.3299999999999987</c:v>
                </c:pt>
                <c:pt idx="848">
                  <c:v>3.3299999999999987</c:v>
                </c:pt>
                <c:pt idx="849">
                  <c:v>3.3299999999999987</c:v>
                </c:pt>
                <c:pt idx="850">
                  <c:v>3.3299999999999987</c:v>
                </c:pt>
                <c:pt idx="851">
                  <c:v>3.3299999999999987</c:v>
                </c:pt>
                <c:pt idx="852">
                  <c:v>3.3299999999999987</c:v>
                </c:pt>
                <c:pt idx="853">
                  <c:v>3.3299999999999987</c:v>
                </c:pt>
                <c:pt idx="854">
                  <c:v>3.3299999999999987</c:v>
                </c:pt>
                <c:pt idx="855">
                  <c:v>3.3299999999999987</c:v>
                </c:pt>
                <c:pt idx="856">
                  <c:v>3.3299999999999987</c:v>
                </c:pt>
                <c:pt idx="857">
                  <c:v>3.3299999999999987</c:v>
                </c:pt>
                <c:pt idx="858">
                  <c:v>3.3299999999999987</c:v>
                </c:pt>
                <c:pt idx="859">
                  <c:v>3.3299999999999987</c:v>
                </c:pt>
                <c:pt idx="860">
                  <c:v>3.3299999999999987</c:v>
                </c:pt>
                <c:pt idx="861">
                  <c:v>3.3299999999999987</c:v>
                </c:pt>
                <c:pt idx="862">
                  <c:v>3.3299999999999987</c:v>
                </c:pt>
                <c:pt idx="863">
                  <c:v>3.3299999999999987</c:v>
                </c:pt>
                <c:pt idx="864">
                  <c:v>3.3299999999999987</c:v>
                </c:pt>
                <c:pt idx="865">
                  <c:v>3.3299999999999987</c:v>
                </c:pt>
                <c:pt idx="866">
                  <c:v>3.3299999999999987</c:v>
                </c:pt>
                <c:pt idx="867">
                  <c:v>3.3299999999999987</c:v>
                </c:pt>
                <c:pt idx="868">
                  <c:v>3.3299999999999987</c:v>
                </c:pt>
                <c:pt idx="869">
                  <c:v>3.3299999999999987</c:v>
                </c:pt>
                <c:pt idx="870">
                  <c:v>3.3299999999999987</c:v>
                </c:pt>
                <c:pt idx="871">
                  <c:v>3.3299999999999987</c:v>
                </c:pt>
                <c:pt idx="872">
                  <c:v>3.3299999999999987</c:v>
                </c:pt>
                <c:pt idx="873">
                  <c:v>3.3299999999999987</c:v>
                </c:pt>
                <c:pt idx="874">
                  <c:v>3.3299999999999987</c:v>
                </c:pt>
                <c:pt idx="875">
                  <c:v>3.3299999999999987</c:v>
                </c:pt>
                <c:pt idx="876">
                  <c:v>3.3299999999999987</c:v>
                </c:pt>
                <c:pt idx="877">
                  <c:v>3.3299999999999987</c:v>
                </c:pt>
                <c:pt idx="878">
                  <c:v>3.3299999999999987</c:v>
                </c:pt>
                <c:pt idx="879">
                  <c:v>3.3299999999999987</c:v>
                </c:pt>
                <c:pt idx="880">
                  <c:v>3.3299999999999987</c:v>
                </c:pt>
                <c:pt idx="881">
                  <c:v>3.3299999999999987</c:v>
                </c:pt>
                <c:pt idx="882">
                  <c:v>3.3299999999999987</c:v>
                </c:pt>
                <c:pt idx="883">
                  <c:v>3.3299999999999987</c:v>
                </c:pt>
                <c:pt idx="884">
                  <c:v>3.3299999999999987</c:v>
                </c:pt>
                <c:pt idx="885">
                  <c:v>3.3299999999999987</c:v>
                </c:pt>
                <c:pt idx="886">
                  <c:v>3.3299999999999987</c:v>
                </c:pt>
                <c:pt idx="887">
                  <c:v>3.3299999999999987</c:v>
                </c:pt>
                <c:pt idx="888">
                  <c:v>3.3299999999999987</c:v>
                </c:pt>
                <c:pt idx="889">
                  <c:v>3.3299999999999987</c:v>
                </c:pt>
                <c:pt idx="890">
                  <c:v>3.3299999999999987</c:v>
                </c:pt>
                <c:pt idx="891">
                  <c:v>3.3299999999999987</c:v>
                </c:pt>
                <c:pt idx="892">
                  <c:v>3.3299999999999987</c:v>
                </c:pt>
                <c:pt idx="893">
                  <c:v>3.3299999999999987</c:v>
                </c:pt>
                <c:pt idx="894">
                  <c:v>3.3299999999999987</c:v>
                </c:pt>
                <c:pt idx="895">
                  <c:v>3.3299999999999987</c:v>
                </c:pt>
                <c:pt idx="896">
                  <c:v>3.3299999999999987</c:v>
                </c:pt>
                <c:pt idx="897">
                  <c:v>3.3299999999999987</c:v>
                </c:pt>
                <c:pt idx="898">
                  <c:v>3.3299999999999987</c:v>
                </c:pt>
                <c:pt idx="899">
                  <c:v>3.3299999999999987</c:v>
                </c:pt>
                <c:pt idx="900">
                  <c:v>3.3299999999999987</c:v>
                </c:pt>
                <c:pt idx="901">
                  <c:v>3.3299999999999987</c:v>
                </c:pt>
                <c:pt idx="902">
                  <c:v>3.3299999999999987</c:v>
                </c:pt>
                <c:pt idx="903">
                  <c:v>3.3299999999999987</c:v>
                </c:pt>
                <c:pt idx="904">
                  <c:v>3.3299999999999987</c:v>
                </c:pt>
                <c:pt idx="905">
                  <c:v>3.3299999999999987</c:v>
                </c:pt>
                <c:pt idx="906">
                  <c:v>3.3299999999999987</c:v>
                </c:pt>
                <c:pt idx="907">
                  <c:v>3.3299999999999987</c:v>
                </c:pt>
                <c:pt idx="908">
                  <c:v>3.3299999999999987</c:v>
                </c:pt>
                <c:pt idx="909">
                  <c:v>3.3299999999999987</c:v>
                </c:pt>
                <c:pt idx="910">
                  <c:v>3.3299999999999987</c:v>
                </c:pt>
                <c:pt idx="911">
                  <c:v>3.3299999999999987</c:v>
                </c:pt>
                <c:pt idx="912">
                  <c:v>3.3299999999999987</c:v>
                </c:pt>
                <c:pt idx="913">
                  <c:v>3.3299999999999987</c:v>
                </c:pt>
                <c:pt idx="914">
                  <c:v>3.3299999999999987</c:v>
                </c:pt>
                <c:pt idx="915">
                  <c:v>3.3299999999999987</c:v>
                </c:pt>
                <c:pt idx="916">
                  <c:v>3.3299999999999987</c:v>
                </c:pt>
                <c:pt idx="917">
                  <c:v>3.3299999999999987</c:v>
                </c:pt>
                <c:pt idx="918">
                  <c:v>3.3299999999999987</c:v>
                </c:pt>
                <c:pt idx="919">
                  <c:v>3.3299999999999987</c:v>
                </c:pt>
                <c:pt idx="920">
                  <c:v>3.3299999999999987</c:v>
                </c:pt>
                <c:pt idx="921">
                  <c:v>3.3299999999999987</c:v>
                </c:pt>
                <c:pt idx="922">
                  <c:v>3.3299999999999987</c:v>
                </c:pt>
                <c:pt idx="923">
                  <c:v>3.3299999999999987</c:v>
                </c:pt>
                <c:pt idx="924">
                  <c:v>3.3299999999999987</c:v>
                </c:pt>
                <c:pt idx="925">
                  <c:v>3.3299999999999987</c:v>
                </c:pt>
                <c:pt idx="926">
                  <c:v>3.3299999999999987</c:v>
                </c:pt>
                <c:pt idx="927">
                  <c:v>3.3299999999999987</c:v>
                </c:pt>
                <c:pt idx="928">
                  <c:v>3.3299999999999987</c:v>
                </c:pt>
                <c:pt idx="929">
                  <c:v>3.3299999999999987</c:v>
                </c:pt>
                <c:pt idx="930">
                  <c:v>3.3299999999999987</c:v>
                </c:pt>
                <c:pt idx="931">
                  <c:v>3.3299999999999987</c:v>
                </c:pt>
                <c:pt idx="932">
                  <c:v>3.3299999999999987</c:v>
                </c:pt>
                <c:pt idx="933">
                  <c:v>3.3299999999999987</c:v>
                </c:pt>
                <c:pt idx="934">
                  <c:v>3.3299999999999987</c:v>
                </c:pt>
                <c:pt idx="935">
                  <c:v>3.3299999999999987</c:v>
                </c:pt>
                <c:pt idx="936">
                  <c:v>3.3299999999999987</c:v>
                </c:pt>
                <c:pt idx="937">
                  <c:v>3.3299999999999987</c:v>
                </c:pt>
                <c:pt idx="938">
                  <c:v>3.3299999999999987</c:v>
                </c:pt>
                <c:pt idx="939">
                  <c:v>3.3299999999999987</c:v>
                </c:pt>
                <c:pt idx="940">
                  <c:v>3.3299999999999987</c:v>
                </c:pt>
                <c:pt idx="941">
                  <c:v>3.3299999999999987</c:v>
                </c:pt>
              </c:numCache>
            </c:numRef>
          </c:val>
          <c:extLst xmlns:c16r2="http://schemas.microsoft.com/office/drawing/2015/06/chart">
            <c:ext xmlns:c16="http://schemas.microsoft.com/office/drawing/2014/chart" uri="{C3380CC4-5D6E-409C-BE32-E72D297353CC}">
              <c16:uniqueId val="{0000000D-C04E-46A7-B756-BAE151EF47BF}"/>
            </c:ext>
          </c:extLst>
        </c:ser>
        <c:marker val="1"/>
        <c:axId val="184299520"/>
        <c:axId val="184301056"/>
      </c:lineChart>
      <c:dateAx>
        <c:axId val="184299520"/>
        <c:scaling>
          <c:orientation val="maxMin"/>
        </c:scaling>
        <c:axPos val="b"/>
        <c:numFmt formatCode="dd/mm/yyyy" sourceLinked="1"/>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84301056"/>
        <c:crosses val="autoZero"/>
        <c:auto val="1"/>
        <c:lblOffset val="100"/>
        <c:baseTimeUnit val="days"/>
      </c:dateAx>
      <c:valAx>
        <c:axId val="184301056"/>
        <c:scaling>
          <c:orientation val="minMax"/>
          <c:max val="3.5"/>
          <c:min val="1.9000000000000001"/>
        </c:scaling>
        <c:axPos val="r"/>
        <c:numFmt formatCode="General" sourceLinked="1"/>
        <c:maj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84299520"/>
        <c:crosses val="autoZero"/>
        <c:crossBetween val="between"/>
        <c:majorUnit val="0.5"/>
      </c:valAx>
      <c:spPr>
        <a:noFill/>
        <a:ln w="25400">
          <a:noFill/>
        </a:ln>
        <a:effectLst/>
      </c:spPr>
    </c:plotArea>
    <c:legend>
      <c:legendPos val="b"/>
      <c:legendEntry>
        <c:idx val="3"/>
        <c:delete val="1"/>
      </c:legendEntry>
      <c:legendEntry>
        <c:idx val="2"/>
        <c:delete val="1"/>
      </c:legendEntry>
      <c:layout>
        <c:manualLayout>
          <c:xMode val="edge"/>
          <c:yMode val="edge"/>
          <c:x val="0.35810350334344443"/>
          <c:y val="0.89830777098801251"/>
          <c:w val="0.2780516230559868"/>
          <c:h val="8.412851768638073E-2"/>
        </c:manualLayout>
      </c:layout>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Simplified Arabic" panose="02020603050405020304" pitchFamily="18" charset="-78"/>
              <a:ea typeface="+mn-ea"/>
              <a:cs typeface="Simplified Arabic" panose="02020603050405020304" pitchFamily="18" charset="-78"/>
            </a:defRPr>
          </a:pPr>
          <a:endParaRPr lang="fr-FR"/>
        </a:p>
      </c:txPr>
    </c:legend>
    <c:plotVisOnly val="1"/>
    <c:dispBlanksAs val="gap"/>
  </c:chart>
  <c:spPr>
    <a:noFill/>
    <a:ln>
      <a:solidFill>
        <a:srgbClr val="FF0000"/>
      </a:solidFill>
    </a:ln>
    <a:effectLst/>
  </c:spPr>
  <c:txPr>
    <a:bodyPr/>
    <a:lstStyle/>
    <a:p>
      <a:pPr>
        <a:defRPr/>
      </a:pPr>
      <a:endParaRPr lang="fr-FR"/>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date1904 val="1"/>
  <c:lang val="fr-FR"/>
  <c:chart>
    <c:autoTitleDeleted val="1"/>
    <c:plotArea>
      <c:layout>
        <c:manualLayout>
          <c:layoutTarget val="inner"/>
          <c:xMode val="edge"/>
          <c:yMode val="edge"/>
          <c:x val="1.6003261432057499E-2"/>
          <c:y val="3.7746358532020532E-2"/>
          <c:w val="0.89276171654784575"/>
          <c:h val="0.57387541703962974"/>
        </c:manualLayout>
      </c:layout>
      <c:lineChart>
        <c:grouping val="standard"/>
        <c:ser>
          <c:idx val="1"/>
          <c:order val="0"/>
          <c:tx>
            <c:strRef>
              <c:f>Feuil1!$C$1</c:f>
              <c:strCache>
                <c:ptCount val="1"/>
                <c:pt idx="0">
                  <c:v>التضخم</c:v>
                </c:pt>
              </c:strCache>
            </c:strRef>
          </c:tx>
          <c:spPr>
            <a:ln w="22225" cap="rnd" cmpd="sng" algn="ctr">
              <a:solidFill>
                <a:schemeClr val="accent2"/>
              </a:solidFill>
              <a:round/>
            </a:ln>
            <a:effectLst/>
          </c:spPr>
          <c:marker>
            <c:symbol val="none"/>
          </c:marker>
          <c:cat>
            <c:multiLvlStrRef>
              <c:f>Feuil1!$A$2:$B$23</c:f>
              <c:multiLvlStrCache>
                <c:ptCount val="22"/>
                <c:lvl>
                  <c:pt idx="0">
                    <c:v>جانفي</c:v>
                  </c:pt>
                  <c:pt idx="1">
                    <c:v>فيفري</c:v>
                  </c:pt>
                  <c:pt idx="2">
                    <c:v>مارس</c:v>
                  </c:pt>
                  <c:pt idx="3">
                    <c:v>أفريل</c:v>
                  </c:pt>
                  <c:pt idx="4">
                    <c:v>ماي</c:v>
                  </c:pt>
                  <c:pt idx="5">
                    <c:v>جوان</c:v>
                  </c:pt>
                  <c:pt idx="6">
                    <c:v>جويلية</c:v>
                  </c:pt>
                  <c:pt idx="7">
                    <c:v>أوت</c:v>
                  </c:pt>
                  <c:pt idx="8">
                    <c:v>سبتمبر</c:v>
                  </c:pt>
                  <c:pt idx="9">
                    <c:v>أكتوبر</c:v>
                  </c:pt>
                  <c:pt idx="10">
                    <c:v>نوفمبر</c:v>
                  </c:pt>
                  <c:pt idx="11">
                    <c:v>ديسمبر</c:v>
                  </c:pt>
                  <c:pt idx="12">
                    <c:v>جانفي</c:v>
                  </c:pt>
                  <c:pt idx="13">
                    <c:v>فيفري</c:v>
                  </c:pt>
                  <c:pt idx="14">
                    <c:v>مارس</c:v>
                  </c:pt>
                  <c:pt idx="15">
                    <c:v>أفريل</c:v>
                  </c:pt>
                  <c:pt idx="16">
                    <c:v>ماي</c:v>
                  </c:pt>
                  <c:pt idx="17">
                    <c:v>جوان</c:v>
                  </c:pt>
                  <c:pt idx="18">
                    <c:v>جويلية</c:v>
                  </c:pt>
                  <c:pt idx="19">
                    <c:v>أوت</c:v>
                  </c:pt>
                  <c:pt idx="20">
                    <c:v>سبتمبر</c:v>
                  </c:pt>
                  <c:pt idx="21">
                    <c:v>أكتوبر</c:v>
                  </c:pt>
                </c:lvl>
                <c:lvl>
                  <c:pt idx="0">
                    <c:v>2018</c:v>
                  </c:pt>
                  <c:pt idx="12">
                    <c:v>2019</c:v>
                  </c:pt>
                </c:lvl>
              </c:multiLvlStrCache>
            </c:multiLvlStrRef>
          </c:cat>
          <c:val>
            <c:numRef>
              <c:f>Feuil1!$C$2:$C$23</c:f>
              <c:numCache>
                <c:formatCode>0.0%</c:formatCode>
                <c:ptCount val="22"/>
                <c:pt idx="0">
                  <c:v>6.6413816337996173E-2</c:v>
                </c:pt>
                <c:pt idx="1">
                  <c:v>6.7834289598888833E-2</c:v>
                </c:pt>
                <c:pt idx="2">
                  <c:v>7.2410174323259024E-2</c:v>
                </c:pt>
                <c:pt idx="3">
                  <c:v>7.4541906452183782E-2</c:v>
                </c:pt>
                <c:pt idx="4">
                  <c:v>7.5354577924361912E-2</c:v>
                </c:pt>
                <c:pt idx="5">
                  <c:v>7.6806570299517804E-2</c:v>
                </c:pt>
                <c:pt idx="6">
                  <c:v>7.2804150917467503E-2</c:v>
                </c:pt>
                <c:pt idx="7">
                  <c:v>7.3394960983514779E-2</c:v>
                </c:pt>
                <c:pt idx="8">
                  <c:v>7.352526603373756E-2</c:v>
                </c:pt>
                <c:pt idx="9">
                  <c:v>7.4540949943539714E-2</c:v>
                </c:pt>
                <c:pt idx="10">
                  <c:v>7.4024932977952332E-2</c:v>
                </c:pt>
                <c:pt idx="11">
                  <c:v>7.4931556648830278E-2</c:v>
                </c:pt>
                <c:pt idx="12">
                  <c:v>7.10812730997048E-2</c:v>
                </c:pt>
                <c:pt idx="13">
                  <c:v>7.3000000000000009E-2</c:v>
                </c:pt>
                <c:pt idx="14">
                  <c:v>7.0999999999999994E-2</c:v>
                </c:pt>
                <c:pt idx="15">
                  <c:v>6.9000000000000034E-2</c:v>
                </c:pt>
                <c:pt idx="16">
                  <c:v>7.0000000000000021E-2</c:v>
                </c:pt>
                <c:pt idx="17">
                  <c:v>6.8000000000000019E-2</c:v>
                </c:pt>
                <c:pt idx="18">
                  <c:v>6.5000000000000002E-2</c:v>
                </c:pt>
                <c:pt idx="19">
                  <c:v>6.7000000000000004E-2</c:v>
                </c:pt>
                <c:pt idx="20">
                  <c:v>6.7000000000000004E-2</c:v>
                </c:pt>
                <c:pt idx="21">
                  <c:v>6.5000000000000002E-2</c:v>
                </c:pt>
              </c:numCache>
            </c:numRef>
          </c:val>
          <c:extLst xmlns:c16r2="http://schemas.microsoft.com/office/drawing/2015/06/chart">
            <c:ext xmlns:c16="http://schemas.microsoft.com/office/drawing/2014/chart" uri="{C3380CC4-5D6E-409C-BE32-E72D297353CC}">
              <c16:uniqueId val="{00000000-BC48-45C6-8CBD-1AE7F900842D}"/>
            </c:ext>
          </c:extLst>
        </c:ser>
        <c:ser>
          <c:idx val="2"/>
          <c:order val="1"/>
          <c:tx>
            <c:strRef>
              <c:f>Feuil1!$D$1</c:f>
              <c:strCache>
                <c:ptCount val="1"/>
                <c:pt idx="0">
                  <c:v>التضخم الضمني</c:v>
                </c:pt>
              </c:strCache>
            </c:strRef>
          </c:tx>
          <c:spPr>
            <a:ln w="22225" cap="rnd" cmpd="sng" algn="ctr">
              <a:solidFill>
                <a:srgbClr val="0070C0"/>
              </a:solidFill>
              <a:round/>
            </a:ln>
            <a:effectLst/>
          </c:spPr>
          <c:marker>
            <c:symbol val="none"/>
          </c:marker>
          <c:cat>
            <c:multiLvlStrRef>
              <c:f>Feuil1!$A$2:$B$23</c:f>
              <c:multiLvlStrCache>
                <c:ptCount val="22"/>
                <c:lvl>
                  <c:pt idx="0">
                    <c:v>جانفي</c:v>
                  </c:pt>
                  <c:pt idx="1">
                    <c:v>فيفري</c:v>
                  </c:pt>
                  <c:pt idx="2">
                    <c:v>مارس</c:v>
                  </c:pt>
                  <c:pt idx="3">
                    <c:v>أفريل</c:v>
                  </c:pt>
                  <c:pt idx="4">
                    <c:v>ماي</c:v>
                  </c:pt>
                  <c:pt idx="5">
                    <c:v>جوان</c:v>
                  </c:pt>
                  <c:pt idx="6">
                    <c:v>جويلية</c:v>
                  </c:pt>
                  <c:pt idx="7">
                    <c:v>أوت</c:v>
                  </c:pt>
                  <c:pt idx="8">
                    <c:v>سبتمبر</c:v>
                  </c:pt>
                  <c:pt idx="9">
                    <c:v>أكتوبر</c:v>
                  </c:pt>
                  <c:pt idx="10">
                    <c:v>نوفمبر</c:v>
                  </c:pt>
                  <c:pt idx="11">
                    <c:v>ديسمبر</c:v>
                  </c:pt>
                  <c:pt idx="12">
                    <c:v>جانفي</c:v>
                  </c:pt>
                  <c:pt idx="13">
                    <c:v>فيفري</c:v>
                  </c:pt>
                  <c:pt idx="14">
                    <c:v>مارس</c:v>
                  </c:pt>
                  <c:pt idx="15">
                    <c:v>أفريل</c:v>
                  </c:pt>
                  <c:pt idx="16">
                    <c:v>ماي</c:v>
                  </c:pt>
                  <c:pt idx="17">
                    <c:v>جوان</c:v>
                  </c:pt>
                  <c:pt idx="18">
                    <c:v>جويلية</c:v>
                  </c:pt>
                  <c:pt idx="19">
                    <c:v>أوت</c:v>
                  </c:pt>
                  <c:pt idx="20">
                    <c:v>سبتمبر</c:v>
                  </c:pt>
                  <c:pt idx="21">
                    <c:v>أكتوبر</c:v>
                  </c:pt>
                </c:lvl>
                <c:lvl>
                  <c:pt idx="0">
                    <c:v>2018</c:v>
                  </c:pt>
                  <c:pt idx="12">
                    <c:v>2019</c:v>
                  </c:pt>
                </c:lvl>
              </c:multiLvlStrCache>
            </c:multiLvlStrRef>
          </c:cat>
          <c:val>
            <c:numRef>
              <c:f>Feuil1!$D$2:$D$23</c:f>
              <c:numCache>
                <c:formatCode>0.0%</c:formatCode>
                <c:ptCount val="22"/>
                <c:pt idx="0">
                  <c:v>6.5058013554637931E-2</c:v>
                </c:pt>
                <c:pt idx="1">
                  <c:v>6.9053996317230582E-2</c:v>
                </c:pt>
                <c:pt idx="2">
                  <c:v>7.24623112592514E-2</c:v>
                </c:pt>
                <c:pt idx="3">
                  <c:v>7.2634659148762562E-2</c:v>
                </c:pt>
                <c:pt idx="4">
                  <c:v>7.160789376699038E-2</c:v>
                </c:pt>
                <c:pt idx="5">
                  <c:v>7.4912270643273327E-2</c:v>
                </c:pt>
                <c:pt idx="6">
                  <c:v>7.1810374419778902E-2</c:v>
                </c:pt>
                <c:pt idx="7">
                  <c:v>7.5314867406996611E-2</c:v>
                </c:pt>
                <c:pt idx="8">
                  <c:v>7.74741410903792E-2</c:v>
                </c:pt>
                <c:pt idx="9">
                  <c:v>7.6310512414781428E-2</c:v>
                </c:pt>
                <c:pt idx="10">
                  <c:v>7.8241364199955046E-2</c:v>
                </c:pt>
                <c:pt idx="11">
                  <c:v>7.8803628789412938E-2</c:v>
                </c:pt>
                <c:pt idx="12">
                  <c:v>7.0515608801931487E-2</c:v>
                </c:pt>
                <c:pt idx="13">
                  <c:v>6.9000000000000034E-2</c:v>
                </c:pt>
                <c:pt idx="14">
                  <c:v>6.9000000000000034E-2</c:v>
                </c:pt>
                <c:pt idx="15">
                  <c:v>6.8000000000000019E-2</c:v>
                </c:pt>
                <c:pt idx="16">
                  <c:v>6.7000000000000004E-2</c:v>
                </c:pt>
                <c:pt idx="17">
                  <c:v>7.0000000000000021E-2</c:v>
                </c:pt>
                <c:pt idx="18">
                  <c:v>6.5000000000000002E-2</c:v>
                </c:pt>
                <c:pt idx="19">
                  <c:v>6.7000000000000004E-2</c:v>
                </c:pt>
                <c:pt idx="20">
                  <c:v>6.9000000000000034E-2</c:v>
                </c:pt>
                <c:pt idx="21">
                  <c:v>6.8000000000000019E-2</c:v>
                </c:pt>
              </c:numCache>
            </c:numRef>
          </c:val>
          <c:extLst xmlns:c16r2="http://schemas.microsoft.com/office/drawing/2015/06/chart">
            <c:ext xmlns:c16="http://schemas.microsoft.com/office/drawing/2014/chart" uri="{C3380CC4-5D6E-409C-BE32-E72D297353CC}">
              <c16:uniqueId val="{00000001-BC48-45C6-8CBD-1AE7F900842D}"/>
            </c:ext>
          </c:extLst>
        </c:ser>
        <c:ser>
          <c:idx val="0"/>
          <c:order val="2"/>
          <c:tx>
            <c:strRef>
              <c:f>Feuil1!$E$1</c:f>
              <c:strCache>
                <c:ptCount val="1"/>
              </c:strCache>
            </c:strRef>
          </c:tx>
          <c:spPr>
            <a:ln w="34925" cap="rnd" cmpd="dbl" algn="ctr">
              <a:solidFill>
                <a:srgbClr val="7030A0"/>
              </a:solidFill>
              <a:prstDash val="dash"/>
              <a:round/>
            </a:ln>
            <a:effectLst/>
          </c:spPr>
          <c:marker>
            <c:symbol val="none"/>
          </c:marker>
          <c:cat>
            <c:multiLvlStrRef>
              <c:f>Feuil1!$A$2:$B$23</c:f>
              <c:multiLvlStrCache>
                <c:ptCount val="22"/>
                <c:lvl>
                  <c:pt idx="0">
                    <c:v>جانفي</c:v>
                  </c:pt>
                  <c:pt idx="1">
                    <c:v>فيفري</c:v>
                  </c:pt>
                  <c:pt idx="2">
                    <c:v>مارس</c:v>
                  </c:pt>
                  <c:pt idx="3">
                    <c:v>أفريل</c:v>
                  </c:pt>
                  <c:pt idx="4">
                    <c:v>ماي</c:v>
                  </c:pt>
                  <c:pt idx="5">
                    <c:v>جوان</c:v>
                  </c:pt>
                  <c:pt idx="6">
                    <c:v>جويلية</c:v>
                  </c:pt>
                  <c:pt idx="7">
                    <c:v>أوت</c:v>
                  </c:pt>
                  <c:pt idx="8">
                    <c:v>سبتمبر</c:v>
                  </c:pt>
                  <c:pt idx="9">
                    <c:v>أكتوبر</c:v>
                  </c:pt>
                  <c:pt idx="10">
                    <c:v>نوفمبر</c:v>
                  </c:pt>
                  <c:pt idx="11">
                    <c:v>ديسمبر</c:v>
                  </c:pt>
                  <c:pt idx="12">
                    <c:v>جانفي</c:v>
                  </c:pt>
                  <c:pt idx="13">
                    <c:v>فيفري</c:v>
                  </c:pt>
                  <c:pt idx="14">
                    <c:v>مارس</c:v>
                  </c:pt>
                  <c:pt idx="15">
                    <c:v>أفريل</c:v>
                  </c:pt>
                  <c:pt idx="16">
                    <c:v>ماي</c:v>
                  </c:pt>
                  <c:pt idx="17">
                    <c:v>جوان</c:v>
                  </c:pt>
                  <c:pt idx="18">
                    <c:v>جويلية</c:v>
                  </c:pt>
                  <c:pt idx="19">
                    <c:v>أوت</c:v>
                  </c:pt>
                  <c:pt idx="20">
                    <c:v>سبتمبر</c:v>
                  </c:pt>
                  <c:pt idx="21">
                    <c:v>أكتوبر</c:v>
                  </c:pt>
                </c:lvl>
                <c:lvl>
                  <c:pt idx="0">
                    <c:v>2018</c:v>
                  </c:pt>
                  <c:pt idx="12">
                    <c:v>2019</c:v>
                  </c:pt>
                </c:lvl>
              </c:multiLvlStrCache>
            </c:multiLvlStrRef>
          </c:cat>
          <c:val>
            <c:numRef>
              <c:f>Feuil1!$E$2:$E$23</c:f>
              <c:numCache>
                <c:formatCode>0.0%</c:formatCode>
                <c:ptCount val="22"/>
                <c:pt idx="0">
                  <c:v>7.0000000000000021E-2</c:v>
                </c:pt>
                <c:pt idx="1">
                  <c:v>7.0000000000000021E-2</c:v>
                </c:pt>
                <c:pt idx="2">
                  <c:v>7.0000000000000021E-2</c:v>
                </c:pt>
                <c:pt idx="3">
                  <c:v>7.0000000000000021E-2</c:v>
                </c:pt>
                <c:pt idx="4">
                  <c:v>7.0000000000000021E-2</c:v>
                </c:pt>
                <c:pt idx="5">
                  <c:v>7.0000000000000021E-2</c:v>
                </c:pt>
                <c:pt idx="6">
                  <c:v>7.0000000000000021E-2</c:v>
                </c:pt>
                <c:pt idx="7">
                  <c:v>7.0000000000000021E-2</c:v>
                </c:pt>
                <c:pt idx="8">
                  <c:v>7.0000000000000021E-2</c:v>
                </c:pt>
                <c:pt idx="9">
                  <c:v>7.0000000000000021E-2</c:v>
                </c:pt>
                <c:pt idx="10">
                  <c:v>7.0000000000000021E-2</c:v>
                </c:pt>
                <c:pt idx="11">
                  <c:v>7.0000000000000021E-2</c:v>
                </c:pt>
                <c:pt idx="12">
                  <c:v>7.0000000000000021E-2</c:v>
                </c:pt>
                <c:pt idx="13">
                  <c:v>7.0000000000000021E-2</c:v>
                </c:pt>
                <c:pt idx="14">
                  <c:v>7.0000000000000021E-2</c:v>
                </c:pt>
                <c:pt idx="15">
                  <c:v>7.0000000000000021E-2</c:v>
                </c:pt>
                <c:pt idx="16">
                  <c:v>7.0000000000000021E-2</c:v>
                </c:pt>
                <c:pt idx="17">
                  <c:v>7.0000000000000021E-2</c:v>
                </c:pt>
                <c:pt idx="18">
                  <c:v>7.0000000000000021E-2</c:v>
                </c:pt>
                <c:pt idx="19">
                  <c:v>7.0000000000000021E-2</c:v>
                </c:pt>
                <c:pt idx="20">
                  <c:v>7.0000000000000021E-2</c:v>
                </c:pt>
                <c:pt idx="21">
                  <c:v>7.0000000000000021E-2</c:v>
                </c:pt>
              </c:numCache>
            </c:numRef>
          </c:val>
          <c:extLst xmlns:c16r2="http://schemas.microsoft.com/office/drawing/2015/06/chart">
            <c:ext xmlns:c16="http://schemas.microsoft.com/office/drawing/2014/chart" uri="{C3380CC4-5D6E-409C-BE32-E72D297353CC}">
              <c16:uniqueId val="{00000002-BC48-45C6-8CBD-1AE7F900842D}"/>
            </c:ext>
          </c:extLst>
        </c:ser>
        <c:dropLines>
          <c:spPr>
            <a:ln w="9525" cap="flat" cmpd="sng" algn="ctr">
              <a:solidFill>
                <a:schemeClr val="dk1">
                  <a:lumMod val="35000"/>
                  <a:lumOff val="65000"/>
                  <a:alpha val="33000"/>
                </a:schemeClr>
              </a:solidFill>
              <a:round/>
            </a:ln>
            <a:effectLst/>
          </c:spPr>
        </c:dropLines>
        <c:marker val="1"/>
        <c:axId val="184509952"/>
        <c:axId val="184511488"/>
      </c:lineChart>
      <c:catAx>
        <c:axId val="184509952"/>
        <c:scaling>
          <c:orientation val="maxMin"/>
        </c:scaling>
        <c:axPos val="b"/>
        <c:numFmt formatCode="General" sourceLinked="1"/>
        <c:maj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1" i="0" u="none" strike="noStrike" kern="1200" spc="20" baseline="0">
                <a:solidFill>
                  <a:schemeClr val="dk1">
                    <a:lumMod val="65000"/>
                    <a:lumOff val="35000"/>
                  </a:schemeClr>
                </a:solidFill>
                <a:latin typeface="Simplified Arabic" panose="02020603050405020304" pitchFamily="18" charset="-78"/>
                <a:ea typeface="+mn-ea"/>
                <a:cs typeface="Simplified Arabic" panose="02020603050405020304" pitchFamily="18" charset="-78"/>
              </a:defRPr>
            </a:pPr>
            <a:endParaRPr lang="fr-FR"/>
          </a:p>
        </c:txPr>
        <c:crossAx val="184511488"/>
        <c:crosses val="autoZero"/>
        <c:auto val="1"/>
        <c:lblAlgn val="ctr"/>
        <c:lblOffset val="100"/>
      </c:catAx>
      <c:valAx>
        <c:axId val="184511488"/>
        <c:scaling>
          <c:orientation val="minMax"/>
          <c:max val="8.0000000000000043E-2"/>
          <c:min val="6.0000000000000032E-2"/>
        </c:scaling>
        <c:axPos val="r"/>
        <c:numFmt formatCode="0.0%" sourceLinked="1"/>
        <c:majorTickMark val="none"/>
        <c:tickLblPos val="nextTo"/>
        <c:spPr>
          <a:noFill/>
          <a:ln>
            <a:noFill/>
          </a:ln>
          <a:effectLst/>
        </c:spPr>
        <c:txPr>
          <a:bodyPr rot="-60000000" spcFirstLastPara="1" vertOverflow="ellipsis" vert="horz" wrap="square" anchor="ctr" anchorCtr="1"/>
          <a:lstStyle/>
          <a:p>
            <a:pPr>
              <a:defRPr sz="800" b="1" i="0" u="none" strike="noStrike" kern="1200" spc="20" baseline="0">
                <a:solidFill>
                  <a:schemeClr val="dk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84509952"/>
        <c:crosses val="autoZero"/>
        <c:crossBetween val="between"/>
        <c:majorUnit val="5.0000000000000044E-3"/>
      </c:valAx>
      <c:spPr>
        <a:noFill/>
        <a:ln w="25400">
          <a:noFill/>
        </a:ln>
        <a:effectLst/>
      </c:spPr>
    </c:plotArea>
    <c:legend>
      <c:legendPos val="b"/>
      <c:legendEntry>
        <c:idx val="1"/>
        <c:txPr>
          <a:bodyPr rot="0" spcFirstLastPara="1" vertOverflow="ellipsis" vert="horz" wrap="square" anchor="ctr" anchorCtr="1"/>
          <a:lstStyle/>
          <a:p>
            <a:pPr>
              <a:defRPr sz="1000" b="1" i="0" u="none" strike="noStrike" kern="1200" baseline="0">
                <a:solidFill>
                  <a:schemeClr val="dk1">
                    <a:lumMod val="65000"/>
                    <a:lumOff val="35000"/>
                  </a:schemeClr>
                </a:solidFill>
                <a:latin typeface="Simplified Arabic" panose="02020603050405020304" pitchFamily="18" charset="-78"/>
                <a:ea typeface="+mn-ea"/>
                <a:cs typeface="Simplified Arabic" panose="02020603050405020304" pitchFamily="18" charset="-78"/>
              </a:defRPr>
            </a:pPr>
            <a:endParaRPr lang="fr-FR"/>
          </a:p>
        </c:txPr>
      </c:legendEntry>
      <c:legendEntry>
        <c:idx val="2"/>
        <c:delete val="1"/>
      </c:legendEntry>
      <c:layout>
        <c:manualLayout>
          <c:xMode val="edge"/>
          <c:yMode val="edge"/>
          <c:x val="0.20918739940012676"/>
          <c:y val="0.89233745626169769"/>
          <c:w val="0.63535579604959214"/>
          <c:h val="0.10766254373830265"/>
        </c:manualLayout>
      </c:layout>
      <c:spPr>
        <a:noFill/>
        <a:ln>
          <a:noFill/>
        </a:ln>
        <a:effectLst/>
      </c:spPr>
      <c:txPr>
        <a:bodyPr rot="0" spcFirstLastPara="1" vertOverflow="ellipsis" vert="horz" wrap="square" anchor="ctr" anchorCtr="1"/>
        <a:lstStyle/>
        <a:p>
          <a:pPr>
            <a:defRPr sz="1050" b="1" i="0" u="none" strike="noStrike" kern="1200" baseline="0">
              <a:solidFill>
                <a:schemeClr val="dk1">
                  <a:lumMod val="65000"/>
                  <a:lumOff val="35000"/>
                </a:schemeClr>
              </a:solidFill>
              <a:latin typeface="Simplified Arabic" panose="02020603050405020304" pitchFamily="18" charset="-78"/>
              <a:ea typeface="+mn-ea"/>
              <a:cs typeface="Simplified Arabic" panose="02020603050405020304" pitchFamily="18" charset="-78"/>
            </a:defRPr>
          </a:pPr>
          <a:endParaRPr lang="fr-FR"/>
        </a:p>
      </c:txPr>
    </c:legend>
    <c:plotVisOnly val="1"/>
    <c:dispBlanksAs val="gap"/>
  </c:chart>
  <c:spPr>
    <a:solidFill>
      <a:schemeClr val="lt1"/>
    </a:solidFill>
    <a:ln>
      <a:noFill/>
    </a:ln>
    <a:effectLst/>
  </c:spPr>
  <c:txPr>
    <a:bodyPr/>
    <a:lstStyle/>
    <a:p>
      <a:pPr>
        <a:defRPr/>
      </a:pPr>
      <a:endParaRPr lang="fr-FR"/>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fr-FR"/>
  <c:chart>
    <c:autoTitleDeleted val="1"/>
    <c:plotArea>
      <c:layout>
        <c:manualLayout>
          <c:layoutTarget val="inner"/>
          <c:xMode val="edge"/>
          <c:yMode val="edge"/>
          <c:x val="3.3119945545597461E-2"/>
          <c:y val="7.2956008217661919E-2"/>
          <c:w val="0.8957727040483402"/>
          <c:h val="0.70157833690897664"/>
        </c:manualLayout>
      </c:layout>
      <c:lineChart>
        <c:grouping val="standard"/>
        <c:ser>
          <c:idx val="0"/>
          <c:order val="0"/>
          <c:tx>
            <c:strRef>
              <c:f>Feuil1!$A$17</c:f>
              <c:strCache>
                <c:ptCount val="1"/>
                <c:pt idx="0">
                  <c:v>الولايات المتحدة الأمريكية</c:v>
                </c:pt>
              </c:strCache>
            </c:strRef>
          </c:tx>
          <c:spPr>
            <a:ln w="28575" cap="rnd">
              <a:solidFill>
                <a:srgbClr val="FF0000"/>
              </a:solidFill>
              <a:round/>
            </a:ln>
            <a:effectLst/>
          </c:spPr>
          <c:marker>
            <c:symbol val="none"/>
          </c:marker>
          <c:dLbls>
            <c:dLbl>
              <c:idx val="0"/>
              <c:layout>
                <c:manualLayout>
                  <c:x val="-3.8470154919552448E-2"/>
                  <c:y val="3.613989735503495E-2"/>
                </c:manualLayout>
              </c:layout>
              <c:dLblPos val="r"/>
              <c:showVal val="1"/>
              <c:extLst xmlns:c16r2="http://schemas.microsoft.com/office/drawing/2015/06/chart">
                <c:ext xmlns:c16="http://schemas.microsoft.com/office/drawing/2014/chart" uri="{C3380CC4-5D6E-409C-BE32-E72D297353CC}">
                  <c16:uniqueId val="{00000000-A089-4E54-9C6C-B1026CC98B3F}"/>
                </c:ext>
                <c:ext xmlns:c15="http://schemas.microsoft.com/office/drawing/2012/chart" uri="{CE6537A1-D6FC-4f65-9D91-7224C49458BB}"/>
              </c:extLst>
            </c:dLbl>
            <c:dLbl>
              <c:idx val="3"/>
              <c:layout>
                <c:manualLayout>
                  <c:x val="-2.7010959837132469E-2"/>
                  <c:y val="3.1326045591345678E-2"/>
                </c:manualLayout>
              </c:layout>
              <c:dLblPos val="r"/>
              <c:showVal val="1"/>
              <c:extLst xmlns:c16r2="http://schemas.microsoft.com/office/drawing/2015/06/chart">
                <c:ext xmlns:c16="http://schemas.microsoft.com/office/drawing/2014/chart" uri="{C3380CC4-5D6E-409C-BE32-E72D297353CC}">
                  <c16:uniqueId val="{00000001-A089-4E54-9C6C-B1026CC98B3F}"/>
                </c:ext>
                <c:ext xmlns:c15="http://schemas.microsoft.com/office/drawing/2012/chart" uri="{CE6537A1-D6FC-4f65-9D91-7224C49458BB}"/>
              </c:extLst>
            </c:dLbl>
            <c:dLbl>
              <c:idx val="4"/>
              <c:layout>
                <c:manualLayout>
                  <c:x val="-4.6655294264137906E-2"/>
                  <c:y val="1.2070638536588976E-2"/>
                </c:manualLayout>
              </c:layout>
              <c:dLblPos val="r"/>
              <c:showVal val="1"/>
              <c:extLst xmlns:c16r2="http://schemas.microsoft.com/office/drawing/2015/06/chart">
                <c:ext xmlns:c16="http://schemas.microsoft.com/office/drawing/2014/chart" uri="{C3380CC4-5D6E-409C-BE32-E72D297353CC}">
                  <c16:uniqueId val="{00000002-A089-4E54-9C6C-B1026CC98B3F}"/>
                </c:ext>
                <c:ext xmlns:c15="http://schemas.microsoft.com/office/drawing/2012/chart" uri="{CE6537A1-D6FC-4f65-9D91-7224C49458BB}"/>
              </c:extLst>
            </c:dLbl>
            <c:dLbl>
              <c:idx val="5"/>
              <c:layout>
                <c:manualLayout>
                  <c:x val="-3.5196099181718087E-2"/>
                  <c:y val="6.9836859700858914E-2"/>
                </c:manualLayout>
              </c:layout>
              <c:dLblPos val="r"/>
              <c:showVal val="1"/>
              <c:extLst xmlns:c16r2="http://schemas.microsoft.com/office/drawing/2015/06/chart">
                <c:ext xmlns:c16="http://schemas.microsoft.com/office/drawing/2014/chart" uri="{C3380CC4-5D6E-409C-BE32-E72D297353CC}">
                  <c16:uniqueId val="{00000003-A089-4E54-9C6C-B1026CC98B3F}"/>
                </c:ext>
                <c:ext xmlns:c15="http://schemas.microsoft.com/office/drawing/2012/chart" uri="{CE6537A1-D6FC-4f65-9D91-7224C49458BB}"/>
              </c:extLst>
            </c:dLbl>
            <c:spPr>
              <a:noFill/>
              <a:ln>
                <a:solidFill>
                  <a:prstClr val="black"/>
                </a:solid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FF0000"/>
                    </a:solidFill>
                    <a:latin typeface="Times New Roman" panose="02020603050405020304" pitchFamily="18" charset="0"/>
                    <a:ea typeface="+mn-ea"/>
                    <a:cs typeface="Times New Roman" panose="02020603050405020304" pitchFamily="18" charset="0"/>
                  </a:defRPr>
                </a:pPr>
                <a:endParaRPr lang="fr-FR"/>
              </a:p>
            </c:txPr>
            <c:dLblPos val="t"/>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6:$L$16</c:f>
              <c:strCache>
                <c:ptCount val="11"/>
                <c:pt idx="0">
                  <c:v>ث1-2017</c:v>
                </c:pt>
                <c:pt idx="1">
                  <c:v>ث2-2017</c:v>
                </c:pt>
                <c:pt idx="2">
                  <c:v>ث3-2017</c:v>
                </c:pt>
                <c:pt idx="3">
                  <c:v>ث4-2017</c:v>
                </c:pt>
                <c:pt idx="4">
                  <c:v>ث1-2018</c:v>
                </c:pt>
                <c:pt idx="5">
                  <c:v>ث2-2018</c:v>
                </c:pt>
                <c:pt idx="6">
                  <c:v>ث3-2018</c:v>
                </c:pt>
                <c:pt idx="7">
                  <c:v>ث4-2018</c:v>
                </c:pt>
                <c:pt idx="8">
                  <c:v>ث1-2019</c:v>
                </c:pt>
                <c:pt idx="9">
                  <c:v>ث2-2019</c:v>
                </c:pt>
                <c:pt idx="10">
                  <c:v>ث3-2019</c:v>
                </c:pt>
              </c:strCache>
            </c:strRef>
          </c:cat>
          <c:val>
            <c:numRef>
              <c:f>Feuil1!$B$17:$L$17</c:f>
              <c:numCache>
                <c:formatCode>0.0%</c:formatCode>
                <c:ptCount val="11"/>
                <c:pt idx="0">
                  <c:v>1.7999999999999999E-2</c:v>
                </c:pt>
                <c:pt idx="1">
                  <c:v>3.0000000000000002E-2</c:v>
                </c:pt>
                <c:pt idx="2">
                  <c:v>2.4E-2</c:v>
                </c:pt>
                <c:pt idx="3">
                  <c:v>2.8000000000000001E-2</c:v>
                </c:pt>
                <c:pt idx="4">
                  <c:v>2.9000000000000001E-2</c:v>
                </c:pt>
                <c:pt idx="5">
                  <c:v>3.2000000000000028E-2</c:v>
                </c:pt>
                <c:pt idx="6">
                  <c:v>3.1000000000000017E-2</c:v>
                </c:pt>
                <c:pt idx="7">
                  <c:v>2.5000000000000001E-2</c:v>
                </c:pt>
                <c:pt idx="8">
                  <c:v>2.7000000000000017E-2</c:v>
                </c:pt>
                <c:pt idx="9">
                  <c:v>2.3E-2</c:v>
                </c:pt>
                <c:pt idx="10">
                  <c:v>2.0000000000000011E-2</c:v>
                </c:pt>
              </c:numCache>
            </c:numRef>
          </c:val>
          <c:smooth val="1"/>
          <c:extLst xmlns:c16r2="http://schemas.microsoft.com/office/drawing/2015/06/chart">
            <c:ext xmlns:c16="http://schemas.microsoft.com/office/drawing/2014/chart" uri="{C3380CC4-5D6E-409C-BE32-E72D297353CC}">
              <c16:uniqueId val="{00000004-A089-4E54-9C6C-B1026CC98B3F}"/>
            </c:ext>
          </c:extLst>
        </c:ser>
        <c:ser>
          <c:idx val="1"/>
          <c:order val="1"/>
          <c:tx>
            <c:strRef>
              <c:f>Feuil1!$A$18</c:f>
              <c:strCache>
                <c:ptCount val="1"/>
                <c:pt idx="0">
                  <c:v>منطقة الأورو</c:v>
                </c:pt>
              </c:strCache>
            </c:strRef>
          </c:tx>
          <c:spPr>
            <a:ln w="28575" cap="rnd">
              <a:solidFill>
                <a:srgbClr val="7030A0"/>
              </a:solidFill>
              <a:round/>
            </a:ln>
            <a:effectLst/>
          </c:spPr>
          <c:marker>
            <c:symbol val="none"/>
          </c:marker>
          <c:dLbls>
            <c:dLbl>
              <c:idx val="4"/>
              <c:layout>
                <c:manualLayout>
                  <c:x val="-3.5196099181718087E-2"/>
                  <c:y val="-0.10346180379195066"/>
                </c:manualLayout>
              </c:layout>
              <c:dLblPos val="r"/>
              <c:showVal val="1"/>
              <c:extLst xmlns:c16r2="http://schemas.microsoft.com/office/drawing/2015/06/chart">
                <c:ext xmlns:c16="http://schemas.microsoft.com/office/drawing/2014/chart" uri="{C3380CC4-5D6E-409C-BE32-E72D297353CC}">
                  <c16:uniqueId val="{00000005-A089-4E54-9C6C-B1026CC98B3F}"/>
                </c:ext>
                <c:ext xmlns:c15="http://schemas.microsoft.com/office/drawing/2012/chart" uri="{CE6537A1-D6FC-4f65-9D91-7224C49458BB}"/>
              </c:extLst>
            </c:dLbl>
            <c:spPr>
              <a:solidFill>
                <a:prstClr val="white"/>
              </a:solidFill>
              <a:ln>
                <a:solidFill>
                  <a:prstClr val="black"/>
                </a:solid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7030A0"/>
                    </a:solidFill>
                    <a:latin typeface="Times New Roman" panose="02020603050405020304" pitchFamily="18" charset="0"/>
                    <a:ea typeface="+mn-ea"/>
                    <a:cs typeface="Times New Roman" panose="02020603050405020304" pitchFamily="18" charset="0"/>
                  </a:defRPr>
                </a:pPr>
                <a:endParaRPr lang="fr-FR"/>
              </a:p>
            </c:txPr>
            <c:dLblPos val="t"/>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6:$L$16</c:f>
              <c:strCache>
                <c:ptCount val="11"/>
                <c:pt idx="0">
                  <c:v>ث1-2017</c:v>
                </c:pt>
                <c:pt idx="1">
                  <c:v>ث2-2017</c:v>
                </c:pt>
                <c:pt idx="2">
                  <c:v>ث3-2017</c:v>
                </c:pt>
                <c:pt idx="3">
                  <c:v>ث4-2017</c:v>
                </c:pt>
                <c:pt idx="4">
                  <c:v>ث1-2018</c:v>
                </c:pt>
                <c:pt idx="5">
                  <c:v>ث2-2018</c:v>
                </c:pt>
                <c:pt idx="6">
                  <c:v>ث3-2018</c:v>
                </c:pt>
                <c:pt idx="7">
                  <c:v>ث4-2018</c:v>
                </c:pt>
                <c:pt idx="8">
                  <c:v>ث1-2019</c:v>
                </c:pt>
                <c:pt idx="9">
                  <c:v>ث2-2019</c:v>
                </c:pt>
                <c:pt idx="10">
                  <c:v>ث3-2019</c:v>
                </c:pt>
              </c:strCache>
            </c:strRef>
          </c:cat>
          <c:val>
            <c:numRef>
              <c:f>Feuil1!$B$18:$L$18</c:f>
              <c:numCache>
                <c:formatCode>0.0%</c:formatCode>
                <c:ptCount val="11"/>
                <c:pt idx="0">
                  <c:v>2.1000000000000012E-2</c:v>
                </c:pt>
                <c:pt idx="1">
                  <c:v>2.4E-2</c:v>
                </c:pt>
                <c:pt idx="2">
                  <c:v>2.9000000000000001E-2</c:v>
                </c:pt>
                <c:pt idx="3">
                  <c:v>3.0000000000000002E-2</c:v>
                </c:pt>
                <c:pt idx="4">
                  <c:v>2.5999999999999999E-2</c:v>
                </c:pt>
                <c:pt idx="5">
                  <c:v>2.2000000000000016E-2</c:v>
                </c:pt>
                <c:pt idx="6">
                  <c:v>1.6000000000000014E-2</c:v>
                </c:pt>
                <c:pt idx="7">
                  <c:v>1.2E-2</c:v>
                </c:pt>
                <c:pt idx="8">
                  <c:v>1.2999999999999998E-2</c:v>
                </c:pt>
                <c:pt idx="9">
                  <c:v>1.2E-2</c:v>
                </c:pt>
                <c:pt idx="10">
                  <c:v>1.2E-2</c:v>
                </c:pt>
              </c:numCache>
            </c:numRef>
          </c:val>
          <c:smooth val="1"/>
          <c:extLst xmlns:c16r2="http://schemas.microsoft.com/office/drawing/2015/06/chart">
            <c:ext xmlns:c16="http://schemas.microsoft.com/office/drawing/2014/chart" uri="{C3380CC4-5D6E-409C-BE32-E72D297353CC}">
              <c16:uniqueId val="{00000006-A089-4E54-9C6C-B1026CC98B3F}"/>
            </c:ext>
          </c:extLst>
        </c:ser>
        <c:marker val="1"/>
        <c:axId val="180896896"/>
        <c:axId val="180898432"/>
      </c:lineChart>
      <c:catAx>
        <c:axId val="180896896"/>
        <c:scaling>
          <c:orientation val="maxMin"/>
        </c:scaling>
        <c:axPos val="b"/>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fr-FR"/>
          </a:p>
        </c:txPr>
        <c:crossAx val="180898432"/>
        <c:crosses val="autoZero"/>
        <c:auto val="1"/>
        <c:lblAlgn val="ctr"/>
        <c:lblOffset val="100"/>
      </c:catAx>
      <c:valAx>
        <c:axId val="180898432"/>
        <c:scaling>
          <c:orientation val="minMax"/>
          <c:max val="4.5000000000000012E-2"/>
          <c:min val="1.0000000000000005E-2"/>
        </c:scaling>
        <c:axPos val="r"/>
        <c:numFmt formatCode="0.0%" sourceLinked="0"/>
        <c:maj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fr-FR"/>
          </a:p>
        </c:txPr>
        <c:crossAx val="180896896"/>
        <c:crosses val="autoZero"/>
        <c:crossBetween val="between"/>
        <c:majorUnit val="1.0000000000000005E-2"/>
      </c:valAx>
      <c:spPr>
        <a:noFill/>
        <a:ln>
          <a:solidFill>
            <a:schemeClr val="tx1"/>
          </a:solidFill>
        </a:ln>
        <a:effectLst/>
      </c:spPr>
    </c:plotArea>
    <c:legend>
      <c:legendPos val="b"/>
      <c:layout>
        <c:manualLayout>
          <c:xMode val="edge"/>
          <c:yMode val="edge"/>
          <c:x val="0.23591019751433695"/>
          <c:y val="0.89003972018215538"/>
          <c:w val="0.56289115941318058"/>
          <c:h val="0.10731131691065976"/>
        </c:manualLayout>
      </c:layout>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Simplified Arabic" panose="02020603050405020304" pitchFamily="18" charset="-78"/>
              <a:ea typeface="+mn-ea"/>
              <a:cs typeface="Simplified Arabic" panose="02020603050405020304" pitchFamily="18" charset="-78"/>
            </a:defRPr>
          </a:pPr>
          <a:endParaRPr lang="fr-FR"/>
        </a:p>
      </c:txPr>
    </c:legend>
    <c:plotVisOnly val="1"/>
    <c:dispBlanksAs val="gap"/>
  </c:chart>
  <c:spPr>
    <a:noFill/>
    <a:ln w="12700">
      <a:solidFill>
        <a:srgbClr val="C00000"/>
      </a:solidFill>
    </a:ln>
    <a:effectLst/>
  </c:spPr>
  <c:txPr>
    <a:bodyPr/>
    <a:lstStyle/>
    <a:p>
      <a:pPr>
        <a:defRPr/>
      </a:pPr>
      <a:endParaRPr lang="fr-FR"/>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fr-FR"/>
  <c:chart>
    <c:title>
      <c:tx>
        <c:rich>
          <a:bodyPr/>
          <a:lstStyle/>
          <a:p>
            <a:pPr>
              <a:defRPr lang="en-US"/>
            </a:pPr>
            <a:r>
              <a:rPr lang="ar-TN" sz="1200" b="1" dirty="0" smtClean="0">
                <a:latin typeface="+mj-lt"/>
              </a:rPr>
              <a:t>الدول الصناعية</a:t>
            </a:r>
            <a:endParaRPr lang="fr-FR" sz="1200" b="1" dirty="0">
              <a:latin typeface="+mj-lt"/>
            </a:endParaRPr>
          </a:p>
        </c:rich>
      </c:tx>
      <c:layout>
        <c:manualLayout>
          <c:xMode val="edge"/>
          <c:yMode val="edge"/>
          <c:x val="0.15837356591177593"/>
          <c:y val="4.5276130922884412E-2"/>
        </c:manualLayout>
      </c:layout>
    </c:title>
    <c:plotArea>
      <c:layout>
        <c:manualLayout>
          <c:layoutTarget val="inner"/>
          <c:xMode val="edge"/>
          <c:yMode val="edge"/>
          <c:x val="4.9544910315555329E-2"/>
          <c:y val="0.19870186851697921"/>
          <c:w val="0.89163360072542586"/>
          <c:h val="0.55688674302661556"/>
        </c:manualLayout>
      </c:layout>
      <c:barChart>
        <c:barDir val="col"/>
        <c:grouping val="clustered"/>
        <c:gapWidth val="50"/>
        <c:axId val="181242112"/>
        <c:axId val="181248000"/>
      </c:barChart>
      <c:catAx>
        <c:axId val="181242112"/>
        <c:scaling>
          <c:orientation val="maxMin"/>
        </c:scaling>
        <c:axPos val="b"/>
        <c:numFmt formatCode="General" sourceLinked="1"/>
        <c:majorTickMark val="none"/>
        <c:tickLblPos val="nextTo"/>
        <c:txPr>
          <a:bodyPr/>
          <a:lstStyle/>
          <a:p>
            <a:pPr>
              <a:defRPr lang="en-US"/>
            </a:pPr>
            <a:endParaRPr lang="fr-FR"/>
          </a:p>
        </c:txPr>
        <c:crossAx val="181248000"/>
        <c:crosses val="autoZero"/>
        <c:auto val="1"/>
        <c:lblAlgn val="ctr"/>
        <c:lblOffset val="100"/>
      </c:catAx>
      <c:valAx>
        <c:axId val="181248000"/>
        <c:scaling>
          <c:orientation val="minMax"/>
        </c:scaling>
        <c:delete val="1"/>
        <c:axPos val="r"/>
        <c:numFmt formatCode="General" sourceLinked="1"/>
        <c:tickLblPos val="none"/>
        <c:crossAx val="181242112"/>
        <c:crosses val="autoZero"/>
        <c:crossBetween val="between"/>
      </c:valAx>
    </c:plotArea>
    <c:plotVisOnly val="1"/>
    <c:dispBlanksAs val="gap"/>
  </c:chart>
  <c:txPr>
    <a:bodyPr/>
    <a:lstStyle/>
    <a:p>
      <a:pPr>
        <a:defRPr sz="1000"/>
      </a:pPr>
      <a:endParaRPr lang="fr-FR"/>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fr-FR"/>
  <c:chart>
    <c:title>
      <c:tx>
        <c:rich>
          <a:bodyPr rot="0" spcFirstLastPara="1" vertOverflow="ellipsis" vert="horz" wrap="square" anchor="ctr" anchorCtr="1"/>
          <a:lstStyle/>
          <a:p>
            <a:pPr>
              <a:defRPr sz="1400" b="1" i="0" u="none" strike="noStrike" kern="1200" spc="0" baseline="0">
                <a:solidFill>
                  <a:schemeClr val="tx1"/>
                </a:solidFill>
                <a:latin typeface="Simplified Arabic" panose="02020603050405020304" pitchFamily="18" charset="-78"/>
                <a:ea typeface="+mn-ea"/>
                <a:cs typeface="Simplified Arabic" panose="02020603050405020304" pitchFamily="18" charset="-78"/>
              </a:defRPr>
            </a:pPr>
            <a:r>
              <a:rPr lang="ar-TN" b="1">
                <a:solidFill>
                  <a:schemeClr val="tx1"/>
                </a:solidFill>
                <a:latin typeface="Simplified Arabic" panose="02020603050405020304" pitchFamily="18" charset="-78"/>
                <a:cs typeface="Simplified Arabic" panose="02020603050405020304" pitchFamily="18" charset="-78"/>
              </a:rPr>
              <a:t>سعر البرنت</a:t>
            </a:r>
          </a:p>
        </c:rich>
      </c:tx>
      <c:layout>
        <c:manualLayout>
          <c:xMode val="edge"/>
          <c:yMode val="edge"/>
          <c:x val="0.42465604100724602"/>
          <c:y val="5.5824498225501798E-2"/>
        </c:manualLayout>
      </c:layout>
      <c:spPr>
        <a:noFill/>
        <a:ln>
          <a:noFill/>
        </a:ln>
        <a:effectLst/>
      </c:spPr>
    </c:title>
    <c:plotArea>
      <c:layout>
        <c:manualLayout>
          <c:layoutTarget val="inner"/>
          <c:xMode val="edge"/>
          <c:yMode val="edge"/>
          <c:x val="4.8414872905348988E-2"/>
          <c:y val="4.0678188054581288E-2"/>
          <c:w val="0.90073234578128725"/>
          <c:h val="0.77206178809087134"/>
        </c:manualLayout>
      </c:layout>
      <c:lineChart>
        <c:grouping val="standard"/>
        <c:ser>
          <c:idx val="0"/>
          <c:order val="0"/>
          <c:tx>
            <c:strRef>
              <c:f>Feuil1!$A$2</c:f>
              <c:strCache>
                <c:ptCount val="1"/>
                <c:pt idx="0">
                  <c:v>سعر البرنت</c:v>
                </c:pt>
              </c:strCache>
            </c:strRef>
          </c:tx>
          <c:spPr>
            <a:ln w="28575" cap="rnd">
              <a:solidFill>
                <a:prstClr val="black"/>
              </a:solidFill>
              <a:round/>
            </a:ln>
            <a:effectLst/>
          </c:spPr>
          <c:marker>
            <c:symbol val="none"/>
          </c:marker>
          <c:cat>
            <c:strRef>
              <c:f>Feuil1!$B$1:$HP$1</c:f>
              <c:strCache>
                <c:ptCount val="216"/>
                <c:pt idx="0">
                  <c:v>جانفي</c:v>
                </c:pt>
                <c:pt idx="22">
                  <c:v>فيفري</c:v>
                </c:pt>
                <c:pt idx="42">
                  <c:v>مارس</c:v>
                </c:pt>
                <c:pt idx="62">
                  <c:v>افريل</c:v>
                </c:pt>
                <c:pt idx="82">
                  <c:v>ماي</c:v>
                </c:pt>
                <c:pt idx="104">
                  <c:v>جوان</c:v>
                </c:pt>
                <c:pt idx="124">
                  <c:v>جويلية</c:v>
                </c:pt>
                <c:pt idx="148">
                  <c:v>اوت</c:v>
                </c:pt>
                <c:pt idx="170">
                  <c:v>سبتمبر</c:v>
                </c:pt>
                <c:pt idx="192">
                  <c:v>أكتوبر</c:v>
                </c:pt>
                <c:pt idx="215">
                  <c:v>نوفمبر</c:v>
                </c:pt>
              </c:strCache>
            </c:strRef>
          </c:cat>
          <c:val>
            <c:numRef>
              <c:f>Feuil1!$B$2:$HP$2</c:f>
              <c:numCache>
                <c:formatCode>General</c:formatCode>
                <c:ptCount val="223"/>
                <c:pt idx="0">
                  <c:v>54.96</c:v>
                </c:pt>
                <c:pt idx="1">
                  <c:v>55.51</c:v>
                </c:pt>
                <c:pt idx="2">
                  <c:v>57.44</c:v>
                </c:pt>
                <c:pt idx="3">
                  <c:v>57.61</c:v>
                </c:pt>
                <c:pt idx="4">
                  <c:v>58.720000000000013</c:v>
                </c:pt>
                <c:pt idx="5">
                  <c:v>61.290000000000013</c:v>
                </c:pt>
                <c:pt idx="6">
                  <c:v>61.32</c:v>
                </c:pt>
                <c:pt idx="7">
                  <c:v>60.48</c:v>
                </c:pt>
                <c:pt idx="8">
                  <c:v>59.2</c:v>
                </c:pt>
                <c:pt idx="9">
                  <c:v>60.57</c:v>
                </c:pt>
                <c:pt idx="10">
                  <c:v>61.35</c:v>
                </c:pt>
                <c:pt idx="11">
                  <c:v>61.24</c:v>
                </c:pt>
                <c:pt idx="12">
                  <c:v>62.71</c:v>
                </c:pt>
                <c:pt idx="13">
                  <c:v>62.85</c:v>
                </c:pt>
                <c:pt idx="14">
                  <c:v>61.48</c:v>
                </c:pt>
                <c:pt idx="15">
                  <c:v>60.94</c:v>
                </c:pt>
                <c:pt idx="16">
                  <c:v>61.17</c:v>
                </c:pt>
                <c:pt idx="17">
                  <c:v>61.52</c:v>
                </c:pt>
                <c:pt idx="18">
                  <c:v>59.93</c:v>
                </c:pt>
                <c:pt idx="19">
                  <c:v>61.3</c:v>
                </c:pt>
                <c:pt idx="20">
                  <c:v>61.8</c:v>
                </c:pt>
                <c:pt idx="21">
                  <c:v>61.9</c:v>
                </c:pt>
                <c:pt idx="22">
                  <c:v>62.85</c:v>
                </c:pt>
                <c:pt idx="23">
                  <c:v>62.64</c:v>
                </c:pt>
                <c:pt idx="24">
                  <c:v>62</c:v>
                </c:pt>
                <c:pt idx="25">
                  <c:v>62.63</c:v>
                </c:pt>
                <c:pt idx="26">
                  <c:v>61.63</c:v>
                </c:pt>
                <c:pt idx="27">
                  <c:v>62.09</c:v>
                </c:pt>
                <c:pt idx="28">
                  <c:v>61.5</c:v>
                </c:pt>
                <c:pt idx="29">
                  <c:v>62.55</c:v>
                </c:pt>
                <c:pt idx="30">
                  <c:v>63.720000000000013</c:v>
                </c:pt>
                <c:pt idx="31">
                  <c:v>64.61999999999999</c:v>
                </c:pt>
                <c:pt idx="32">
                  <c:v>66.27</c:v>
                </c:pt>
                <c:pt idx="33">
                  <c:v>66.489999999999995</c:v>
                </c:pt>
                <c:pt idx="34">
                  <c:v>66.430000000000007</c:v>
                </c:pt>
                <c:pt idx="35">
                  <c:v>67.16</c:v>
                </c:pt>
                <c:pt idx="36">
                  <c:v>66.910000000000025</c:v>
                </c:pt>
                <c:pt idx="37">
                  <c:v>66.989999999999995</c:v>
                </c:pt>
                <c:pt idx="38">
                  <c:v>64.709999999999994</c:v>
                </c:pt>
                <c:pt idx="39">
                  <c:v>65.61</c:v>
                </c:pt>
                <c:pt idx="40">
                  <c:v>66.36999999999999</c:v>
                </c:pt>
                <c:pt idx="41">
                  <c:v>66.02</c:v>
                </c:pt>
                <c:pt idx="42">
                  <c:v>64.900000000000006</c:v>
                </c:pt>
                <c:pt idx="43">
                  <c:v>65.56</c:v>
                </c:pt>
                <c:pt idx="44">
                  <c:v>65.649999999999991</c:v>
                </c:pt>
                <c:pt idx="45">
                  <c:v>65.92</c:v>
                </c:pt>
                <c:pt idx="46">
                  <c:v>66.11</c:v>
                </c:pt>
                <c:pt idx="47">
                  <c:v>65.679999999999978</c:v>
                </c:pt>
                <c:pt idx="48">
                  <c:v>66.63</c:v>
                </c:pt>
                <c:pt idx="49">
                  <c:v>66.78</c:v>
                </c:pt>
                <c:pt idx="50">
                  <c:v>67.64</c:v>
                </c:pt>
                <c:pt idx="51">
                  <c:v>67.209999999999994</c:v>
                </c:pt>
                <c:pt idx="52">
                  <c:v>66.2</c:v>
                </c:pt>
                <c:pt idx="53">
                  <c:v>67.39</c:v>
                </c:pt>
                <c:pt idx="54">
                  <c:v>67.679999999999978</c:v>
                </c:pt>
                <c:pt idx="55">
                  <c:v>68.27</c:v>
                </c:pt>
                <c:pt idx="56">
                  <c:v>68.11999999999999</c:v>
                </c:pt>
                <c:pt idx="57">
                  <c:v>67.2</c:v>
                </c:pt>
                <c:pt idx="58">
                  <c:v>68</c:v>
                </c:pt>
                <c:pt idx="59">
                  <c:v>67.89</c:v>
                </c:pt>
                <c:pt idx="60">
                  <c:v>68</c:v>
                </c:pt>
                <c:pt idx="61">
                  <c:v>68.39</c:v>
                </c:pt>
                <c:pt idx="62">
                  <c:v>69.11999999999999</c:v>
                </c:pt>
                <c:pt idx="63">
                  <c:v>69.42</c:v>
                </c:pt>
                <c:pt idx="64">
                  <c:v>69.45</c:v>
                </c:pt>
                <c:pt idx="65">
                  <c:v>69.23</c:v>
                </c:pt>
                <c:pt idx="66">
                  <c:v>70.410000000000025</c:v>
                </c:pt>
                <c:pt idx="67">
                  <c:v>71.09</c:v>
                </c:pt>
                <c:pt idx="68">
                  <c:v>70.8</c:v>
                </c:pt>
                <c:pt idx="69">
                  <c:v>71.61999999999999</c:v>
                </c:pt>
                <c:pt idx="70">
                  <c:v>70.940000000000026</c:v>
                </c:pt>
                <c:pt idx="71">
                  <c:v>71.52</c:v>
                </c:pt>
                <c:pt idx="72">
                  <c:v>71.260000000000005</c:v>
                </c:pt>
                <c:pt idx="73">
                  <c:v>71.92</c:v>
                </c:pt>
                <c:pt idx="74">
                  <c:v>71.61</c:v>
                </c:pt>
                <c:pt idx="75">
                  <c:v>71.959999999999994</c:v>
                </c:pt>
                <c:pt idx="76">
                  <c:v>74.410000000000025</c:v>
                </c:pt>
                <c:pt idx="77">
                  <c:v>74.510000000000005</c:v>
                </c:pt>
                <c:pt idx="78">
                  <c:v>74.290000000000006</c:v>
                </c:pt>
                <c:pt idx="79">
                  <c:v>71.61999999999999</c:v>
                </c:pt>
                <c:pt idx="80">
                  <c:v>72.06</c:v>
                </c:pt>
                <c:pt idx="81">
                  <c:v>72.78</c:v>
                </c:pt>
                <c:pt idx="82">
                  <c:v>70.440000000000026</c:v>
                </c:pt>
                <c:pt idx="83">
                  <c:v>70.86</c:v>
                </c:pt>
                <c:pt idx="84">
                  <c:v>71.510000000000005</c:v>
                </c:pt>
                <c:pt idx="85">
                  <c:v>69.73</c:v>
                </c:pt>
                <c:pt idx="86">
                  <c:v>70.25</c:v>
                </c:pt>
                <c:pt idx="87">
                  <c:v>70.2</c:v>
                </c:pt>
                <c:pt idx="88">
                  <c:v>70.760000000000005</c:v>
                </c:pt>
                <c:pt idx="89">
                  <c:v>69.97</c:v>
                </c:pt>
                <c:pt idx="90">
                  <c:v>70.92</c:v>
                </c:pt>
                <c:pt idx="91">
                  <c:v>71.92</c:v>
                </c:pt>
                <c:pt idx="92">
                  <c:v>72.78</c:v>
                </c:pt>
                <c:pt idx="93">
                  <c:v>72.069999999999993</c:v>
                </c:pt>
                <c:pt idx="94">
                  <c:v>72.06</c:v>
                </c:pt>
                <c:pt idx="95">
                  <c:v>72.03</c:v>
                </c:pt>
                <c:pt idx="96">
                  <c:v>70.819999999999993</c:v>
                </c:pt>
                <c:pt idx="97">
                  <c:v>67.89</c:v>
                </c:pt>
                <c:pt idx="98">
                  <c:v>69.3</c:v>
                </c:pt>
                <c:pt idx="99">
                  <c:v>70.010000000000005</c:v>
                </c:pt>
                <c:pt idx="100">
                  <c:v>70.069999999999993</c:v>
                </c:pt>
                <c:pt idx="101">
                  <c:v>69.7</c:v>
                </c:pt>
                <c:pt idx="102">
                  <c:v>66.5</c:v>
                </c:pt>
                <c:pt idx="103">
                  <c:v>64.47</c:v>
                </c:pt>
                <c:pt idx="104">
                  <c:v>60.75</c:v>
                </c:pt>
                <c:pt idx="105">
                  <c:v>61.38</c:v>
                </c:pt>
                <c:pt idx="106">
                  <c:v>60.61</c:v>
                </c:pt>
                <c:pt idx="107">
                  <c:v>62.220000000000013</c:v>
                </c:pt>
                <c:pt idx="108">
                  <c:v>63.35</c:v>
                </c:pt>
                <c:pt idx="109">
                  <c:v>62.36</c:v>
                </c:pt>
                <c:pt idx="110">
                  <c:v>62.160000000000011</c:v>
                </c:pt>
                <c:pt idx="111">
                  <c:v>59.82</c:v>
                </c:pt>
                <c:pt idx="112">
                  <c:v>61.34</c:v>
                </c:pt>
                <c:pt idx="113">
                  <c:v>62.07</c:v>
                </c:pt>
                <c:pt idx="114">
                  <c:v>61.01</c:v>
                </c:pt>
                <c:pt idx="115">
                  <c:v>62.32</c:v>
                </c:pt>
                <c:pt idx="116">
                  <c:v>62.260000000000012</c:v>
                </c:pt>
                <c:pt idx="117">
                  <c:v>64.55</c:v>
                </c:pt>
                <c:pt idx="118">
                  <c:v>65.34</c:v>
                </c:pt>
                <c:pt idx="119">
                  <c:v>64.84</c:v>
                </c:pt>
                <c:pt idx="120">
                  <c:v>65.86999999999999</c:v>
                </c:pt>
                <c:pt idx="121">
                  <c:v>66.239999999999995</c:v>
                </c:pt>
                <c:pt idx="122">
                  <c:v>66.410000000000025</c:v>
                </c:pt>
                <c:pt idx="123">
                  <c:v>66.510000000000005</c:v>
                </c:pt>
                <c:pt idx="124">
                  <c:v>65.08</c:v>
                </c:pt>
                <c:pt idx="125">
                  <c:v>62.58</c:v>
                </c:pt>
                <c:pt idx="126">
                  <c:v>63.89</c:v>
                </c:pt>
                <c:pt idx="127">
                  <c:v>63.18</c:v>
                </c:pt>
                <c:pt idx="128">
                  <c:v>64.47</c:v>
                </c:pt>
                <c:pt idx="129">
                  <c:v>63.9</c:v>
                </c:pt>
                <c:pt idx="130">
                  <c:v>64.569999999999993</c:v>
                </c:pt>
                <c:pt idx="131">
                  <c:v>66.669999999999987</c:v>
                </c:pt>
                <c:pt idx="132">
                  <c:v>66.709999999999994</c:v>
                </c:pt>
                <c:pt idx="133">
                  <c:v>66.849999999999994</c:v>
                </c:pt>
                <c:pt idx="134">
                  <c:v>66.149999999999991</c:v>
                </c:pt>
                <c:pt idx="135">
                  <c:v>64.400000000000006</c:v>
                </c:pt>
                <c:pt idx="136">
                  <c:v>63.41</c:v>
                </c:pt>
                <c:pt idx="137">
                  <c:v>62.51</c:v>
                </c:pt>
                <c:pt idx="138">
                  <c:v>62.87</c:v>
                </c:pt>
                <c:pt idx="139">
                  <c:v>63.37</c:v>
                </c:pt>
                <c:pt idx="140">
                  <c:v>64.209999999999994</c:v>
                </c:pt>
                <c:pt idx="141">
                  <c:v>63.1</c:v>
                </c:pt>
                <c:pt idx="142">
                  <c:v>63.07</c:v>
                </c:pt>
                <c:pt idx="143">
                  <c:v>63.32</c:v>
                </c:pt>
                <c:pt idx="144">
                  <c:v>63.86</c:v>
                </c:pt>
                <c:pt idx="145">
                  <c:v>64.97</c:v>
                </c:pt>
                <c:pt idx="146">
                  <c:v>65.179999999999978</c:v>
                </c:pt>
                <c:pt idx="147">
                  <c:v>61.09</c:v>
                </c:pt>
                <c:pt idx="148">
                  <c:v>61.09</c:v>
                </c:pt>
                <c:pt idx="149">
                  <c:v>61.290000000000013</c:v>
                </c:pt>
                <c:pt idx="150">
                  <c:v>59.91</c:v>
                </c:pt>
                <c:pt idx="151">
                  <c:v>58.85</c:v>
                </c:pt>
                <c:pt idx="152">
                  <c:v>57.46</c:v>
                </c:pt>
                <c:pt idx="153">
                  <c:v>57.74</c:v>
                </c:pt>
                <c:pt idx="154">
                  <c:v>58.28</c:v>
                </c:pt>
                <c:pt idx="155">
                  <c:v>58.53</c:v>
                </c:pt>
                <c:pt idx="156">
                  <c:v>60.99</c:v>
                </c:pt>
                <c:pt idx="157">
                  <c:v>58.97</c:v>
                </c:pt>
                <c:pt idx="158">
                  <c:v>58.32</c:v>
                </c:pt>
                <c:pt idx="159">
                  <c:v>58.61</c:v>
                </c:pt>
                <c:pt idx="160">
                  <c:v>59.790000000000013</c:v>
                </c:pt>
                <c:pt idx="161">
                  <c:v>60.120000000000012</c:v>
                </c:pt>
                <c:pt idx="162">
                  <c:v>60.38</c:v>
                </c:pt>
                <c:pt idx="163">
                  <c:v>59.99</c:v>
                </c:pt>
                <c:pt idx="164">
                  <c:v>59.13</c:v>
                </c:pt>
                <c:pt idx="165">
                  <c:v>58.86</c:v>
                </c:pt>
                <c:pt idx="166">
                  <c:v>59.94</c:v>
                </c:pt>
                <c:pt idx="167">
                  <c:v>60.44</c:v>
                </c:pt>
                <c:pt idx="168">
                  <c:v>61</c:v>
                </c:pt>
                <c:pt idx="169">
                  <c:v>60.43</c:v>
                </c:pt>
                <c:pt idx="170">
                  <c:v>58.61</c:v>
                </c:pt>
                <c:pt idx="171">
                  <c:v>58.28</c:v>
                </c:pt>
                <c:pt idx="172">
                  <c:v>60.48</c:v>
                </c:pt>
                <c:pt idx="173">
                  <c:v>60.74</c:v>
                </c:pt>
                <c:pt idx="174">
                  <c:v>61.59</c:v>
                </c:pt>
                <c:pt idx="175">
                  <c:v>62.71</c:v>
                </c:pt>
                <c:pt idx="176">
                  <c:v>62.790000000000013</c:v>
                </c:pt>
                <c:pt idx="177">
                  <c:v>61</c:v>
                </c:pt>
                <c:pt idx="178">
                  <c:v>60.35</c:v>
                </c:pt>
                <c:pt idx="179">
                  <c:v>60.17</c:v>
                </c:pt>
                <c:pt idx="180">
                  <c:v>67.78</c:v>
                </c:pt>
                <c:pt idx="181">
                  <c:v>64.040000000000006</c:v>
                </c:pt>
                <c:pt idx="182">
                  <c:v>63.660000000000011</c:v>
                </c:pt>
                <c:pt idx="183">
                  <c:v>64.849999999999994</c:v>
                </c:pt>
                <c:pt idx="184">
                  <c:v>64.66</c:v>
                </c:pt>
                <c:pt idx="185">
                  <c:v>64.45</c:v>
                </c:pt>
                <c:pt idx="186">
                  <c:v>62.47</c:v>
                </c:pt>
                <c:pt idx="187">
                  <c:v>62.43</c:v>
                </c:pt>
                <c:pt idx="188">
                  <c:v>62.65</c:v>
                </c:pt>
                <c:pt idx="189">
                  <c:v>61.93</c:v>
                </c:pt>
                <c:pt idx="190">
                  <c:v>60.75</c:v>
                </c:pt>
                <c:pt idx="191">
                  <c:v>59.21</c:v>
                </c:pt>
                <c:pt idx="192">
                  <c:v>59.21</c:v>
                </c:pt>
                <c:pt idx="193">
                  <c:v>57.49</c:v>
                </c:pt>
                <c:pt idx="194">
                  <c:v>57.65</c:v>
                </c:pt>
                <c:pt idx="195">
                  <c:v>58.49</c:v>
                </c:pt>
                <c:pt idx="196">
                  <c:v>58.45</c:v>
                </c:pt>
                <c:pt idx="197">
                  <c:v>58.15</c:v>
                </c:pt>
                <c:pt idx="198">
                  <c:v>58.33</c:v>
                </c:pt>
                <c:pt idx="199">
                  <c:v>59.53</c:v>
                </c:pt>
                <c:pt idx="200">
                  <c:v>60.64</c:v>
                </c:pt>
                <c:pt idx="201">
                  <c:v>59.190000000000012</c:v>
                </c:pt>
                <c:pt idx="202">
                  <c:v>58.83</c:v>
                </c:pt>
                <c:pt idx="203">
                  <c:v>59.1</c:v>
                </c:pt>
                <c:pt idx="204">
                  <c:v>59.9</c:v>
                </c:pt>
                <c:pt idx="205">
                  <c:v>59.290000000000013</c:v>
                </c:pt>
                <c:pt idx="206">
                  <c:v>59.06</c:v>
                </c:pt>
                <c:pt idx="207">
                  <c:v>59.61</c:v>
                </c:pt>
                <c:pt idx="208">
                  <c:v>61.04</c:v>
                </c:pt>
                <c:pt idx="209">
                  <c:v>61.47</c:v>
                </c:pt>
                <c:pt idx="210">
                  <c:v>61.99</c:v>
                </c:pt>
                <c:pt idx="211">
                  <c:v>61.57</c:v>
                </c:pt>
                <c:pt idx="212">
                  <c:v>61.49</c:v>
                </c:pt>
                <c:pt idx="213">
                  <c:v>60.63</c:v>
                </c:pt>
                <c:pt idx="214">
                  <c:v>60.21</c:v>
                </c:pt>
                <c:pt idx="215">
                  <c:v>61.63</c:v>
                </c:pt>
                <c:pt idx="216">
                  <c:v>62.15</c:v>
                </c:pt>
                <c:pt idx="217">
                  <c:v>62.92</c:v>
                </c:pt>
                <c:pt idx="218">
                  <c:v>61.760000000000012</c:v>
                </c:pt>
                <c:pt idx="219">
                  <c:v>62.27</c:v>
                </c:pt>
                <c:pt idx="220">
                  <c:v>62.63</c:v>
                </c:pt>
                <c:pt idx="221">
                  <c:v>62.25</c:v>
                </c:pt>
                <c:pt idx="222">
                  <c:v>62.05</c:v>
                </c:pt>
              </c:numCache>
            </c:numRef>
          </c:val>
          <c:extLst xmlns:c16r2="http://schemas.microsoft.com/office/drawing/2015/06/chart">
            <c:ext xmlns:c16="http://schemas.microsoft.com/office/drawing/2014/chart" uri="{C3380CC4-5D6E-409C-BE32-E72D297353CC}">
              <c16:uniqueId val="{00000000-7127-4872-8F21-A698EA7BA2F6}"/>
            </c:ext>
          </c:extLst>
        </c:ser>
        <c:ser>
          <c:idx val="1"/>
          <c:order val="1"/>
          <c:tx>
            <c:strRef>
              <c:f>Feuil1!$A$3</c:f>
              <c:strCache>
                <c:ptCount val="1"/>
              </c:strCache>
            </c:strRef>
          </c:tx>
          <c:spPr>
            <a:ln w="28575" cap="rnd">
              <a:solidFill>
                <a:srgbClr val="0070C0"/>
              </a:solidFill>
              <a:prstDash val="sysDash"/>
              <a:round/>
            </a:ln>
            <a:effectLst/>
          </c:spPr>
          <c:marker>
            <c:symbol val="none"/>
          </c:marker>
          <c:dLbls>
            <c:dLbl>
              <c:idx val="4"/>
              <c:layout>
                <c:manualLayout>
                  <c:x val="-3.0555555555555659E-2"/>
                  <c:y val="-8.3333333333333398E-2"/>
                </c:manualLayout>
              </c:layout>
              <c:showVal val="1"/>
              <c:extLst xmlns:c16r2="http://schemas.microsoft.com/office/drawing/2015/06/chart">
                <c:ext xmlns:c16="http://schemas.microsoft.com/office/drawing/2014/chart" uri="{C3380CC4-5D6E-409C-BE32-E72D297353CC}">
                  <c16:uniqueId val="{00000001-7127-4872-8F21-A698EA7BA2F6}"/>
                </c:ext>
                <c:ext xmlns:c15="http://schemas.microsoft.com/office/drawing/2012/chart" uri="{CE6537A1-D6FC-4f65-9D91-7224C49458BB}"/>
              </c:extLst>
            </c:dLbl>
            <c:dLbl>
              <c:idx val="31"/>
              <c:layout>
                <c:manualLayout>
                  <c:x val="-2.5000000000000001E-2"/>
                  <c:y val="-8.7962962962963076E-2"/>
                </c:manualLayout>
              </c:layout>
              <c:showVal val="1"/>
              <c:extLst xmlns:c16r2="http://schemas.microsoft.com/office/drawing/2015/06/chart">
                <c:ext xmlns:c16="http://schemas.microsoft.com/office/drawing/2014/chart" uri="{C3380CC4-5D6E-409C-BE32-E72D297353CC}">
                  <c16:uniqueId val="{00000002-7127-4872-8F21-A698EA7BA2F6}"/>
                </c:ext>
                <c:ext xmlns:c15="http://schemas.microsoft.com/office/drawing/2012/chart" uri="{CE6537A1-D6FC-4f65-9D91-7224C49458BB}"/>
              </c:extLst>
            </c:dLbl>
            <c:dLbl>
              <c:idx val="49"/>
              <c:layout>
                <c:manualLayout>
                  <c:x val="-5.2777777777777792E-2"/>
                  <c:y val="6.0185185185185085E-2"/>
                </c:manualLayout>
              </c:layout>
              <c:showVal val="1"/>
              <c:extLst xmlns:c16r2="http://schemas.microsoft.com/office/drawing/2015/06/chart">
                <c:ext xmlns:c16="http://schemas.microsoft.com/office/drawing/2014/chart" uri="{C3380CC4-5D6E-409C-BE32-E72D297353CC}">
                  <c16:uniqueId val="{00000003-7127-4872-8F21-A698EA7BA2F6}"/>
                </c:ext>
                <c:ext xmlns:c15="http://schemas.microsoft.com/office/drawing/2012/chart" uri="{CE6537A1-D6FC-4f65-9D91-7224C49458BB}"/>
              </c:extLst>
            </c:dLbl>
            <c:dLbl>
              <c:idx val="68"/>
              <c:layout>
                <c:manualLayout>
                  <c:x val="-2.5000000000000001E-2"/>
                  <c:y val="-6.0185185185185147E-2"/>
                </c:manualLayout>
              </c:layout>
              <c:showVal val="1"/>
              <c:extLst xmlns:c16r2="http://schemas.microsoft.com/office/drawing/2015/06/chart">
                <c:ext xmlns:c16="http://schemas.microsoft.com/office/drawing/2014/chart" uri="{C3380CC4-5D6E-409C-BE32-E72D297353CC}">
                  <c16:uniqueId val="{00000004-7127-4872-8F21-A698EA7BA2F6}"/>
                </c:ext>
                <c:ext xmlns:c15="http://schemas.microsoft.com/office/drawing/2012/chart" uri="{CE6537A1-D6FC-4f65-9D91-7224C49458BB}"/>
              </c:extLst>
            </c:dLbl>
            <c:dLbl>
              <c:idx val="91"/>
              <c:layout>
                <c:manualLayout>
                  <c:x val="-0.05"/>
                  <c:y val="-7.407407407407407E-2"/>
                </c:manualLayout>
              </c:layout>
              <c:showVal val="1"/>
              <c:extLst xmlns:c16r2="http://schemas.microsoft.com/office/drawing/2015/06/chart">
                <c:ext xmlns:c16="http://schemas.microsoft.com/office/drawing/2014/chart" uri="{C3380CC4-5D6E-409C-BE32-E72D297353CC}">
                  <c16:uniqueId val="{00000005-7127-4872-8F21-A698EA7BA2F6}"/>
                </c:ext>
                <c:ext xmlns:c15="http://schemas.microsoft.com/office/drawing/2012/chart" uri="{CE6537A1-D6FC-4f65-9D91-7224C49458BB}"/>
              </c:extLst>
            </c:dLbl>
            <c:dLbl>
              <c:idx val="109"/>
              <c:layout>
                <c:manualLayout>
                  <c:x val="-6.1111111111111123E-2"/>
                  <c:y val="-9.7222222222222224E-2"/>
                </c:manualLayout>
              </c:layout>
              <c:showVal val="1"/>
              <c:extLst xmlns:c16r2="http://schemas.microsoft.com/office/drawing/2015/06/chart">
                <c:ext xmlns:c16="http://schemas.microsoft.com/office/drawing/2014/chart" uri="{C3380CC4-5D6E-409C-BE32-E72D297353CC}">
                  <c16:uniqueId val="{00000006-7127-4872-8F21-A698EA7BA2F6}"/>
                </c:ext>
                <c:ext xmlns:c15="http://schemas.microsoft.com/office/drawing/2012/chart" uri="{CE6537A1-D6FC-4f65-9D91-7224C49458BB}"/>
              </c:extLst>
            </c:dLbl>
            <c:dLbl>
              <c:idx val="133"/>
              <c:layout>
                <c:manualLayout>
                  <c:x val="-4.166666666666672E-2"/>
                  <c:y val="5.5555555555555469E-2"/>
                </c:manualLayout>
              </c:layout>
              <c:showVal val="1"/>
              <c:extLst xmlns:c16r2="http://schemas.microsoft.com/office/drawing/2015/06/chart">
                <c:ext xmlns:c16="http://schemas.microsoft.com/office/drawing/2014/chart" uri="{C3380CC4-5D6E-409C-BE32-E72D297353CC}">
                  <c16:uniqueId val="{00000007-7127-4872-8F21-A698EA7BA2F6}"/>
                </c:ext>
                <c:ext xmlns:c15="http://schemas.microsoft.com/office/drawing/2012/chart" uri="{CE6537A1-D6FC-4f65-9D91-7224C49458BB}"/>
              </c:extLst>
            </c:dLbl>
            <c:dLbl>
              <c:idx val="159"/>
              <c:layout>
                <c:manualLayout>
                  <c:x val="-4.1666666666666664E-2"/>
                  <c:y val="6.4814814814814867E-2"/>
                </c:manualLayout>
              </c:layout>
              <c:showVal val="1"/>
              <c:extLst xmlns:c16r2="http://schemas.microsoft.com/office/drawing/2015/06/chart">
                <c:ext xmlns:c16="http://schemas.microsoft.com/office/drawing/2014/chart" uri="{C3380CC4-5D6E-409C-BE32-E72D297353CC}">
                  <c16:uniqueId val="{00000008-7127-4872-8F21-A698EA7BA2F6}"/>
                </c:ext>
                <c:ext xmlns:c15="http://schemas.microsoft.com/office/drawing/2012/chart" uri="{CE6537A1-D6FC-4f65-9D91-7224C49458BB}"/>
              </c:extLst>
            </c:dLbl>
            <c:dLbl>
              <c:idx val="179"/>
              <c:layout/>
              <c:showVal val="1"/>
              <c:extLst xmlns:c16r2="http://schemas.microsoft.com/office/drawing/2015/06/chart">
                <c:ext xmlns:c16="http://schemas.microsoft.com/office/drawing/2014/chart" uri="{C3380CC4-5D6E-409C-BE32-E72D297353CC}">
                  <c16:uniqueId val="{00000009-7127-4872-8F21-A698EA7BA2F6}"/>
                </c:ext>
                <c:ext xmlns:c15="http://schemas.microsoft.com/office/drawing/2012/chart" uri="{CE6537A1-D6FC-4f65-9D91-7224C49458BB}"/>
              </c:extLst>
            </c:dLbl>
            <c:dLbl>
              <c:idx val="202"/>
              <c:layout>
                <c:manualLayout>
                  <c:x val="-1.666666666666668E-2"/>
                  <c:y val="-7.8703703703703803E-2"/>
                </c:manualLayout>
              </c:layout>
              <c:showVal val="1"/>
              <c:extLst xmlns:c16r2="http://schemas.microsoft.com/office/drawing/2015/06/chart">
                <c:ext xmlns:c16="http://schemas.microsoft.com/office/drawing/2014/chart" uri="{C3380CC4-5D6E-409C-BE32-E72D297353CC}">
                  <c16:uniqueId val="{0000000A-7127-4872-8F21-A698EA7BA2F6}"/>
                </c:ext>
                <c:ext xmlns:c15="http://schemas.microsoft.com/office/drawing/2012/chart" uri="{CE6537A1-D6FC-4f65-9D91-7224C49458BB}"/>
              </c:extLst>
            </c:dLbl>
            <c:dLbl>
              <c:idx val="218"/>
              <c:layout>
                <c:manualLayout>
                  <c:x val="-5.2777777777777792E-2"/>
                  <c:y val="-4.1666666666666664E-2"/>
                </c:manualLayout>
              </c:layout>
              <c:showVal val="1"/>
              <c:extLst xmlns:c16r2="http://schemas.microsoft.com/office/drawing/2015/06/chart">
                <c:ext xmlns:c16="http://schemas.microsoft.com/office/drawing/2014/chart" uri="{C3380CC4-5D6E-409C-BE32-E72D297353CC}">
                  <c16:uniqueId val="{0000000B-7127-4872-8F21-A698EA7BA2F6}"/>
                </c:ext>
                <c:ext xmlns:c15="http://schemas.microsoft.com/office/drawing/2012/chart" uri="{CE6537A1-D6FC-4f65-9D91-7224C49458BB}"/>
              </c:extLst>
            </c:dLbl>
            <c:delete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HP$1</c:f>
              <c:strCache>
                <c:ptCount val="216"/>
                <c:pt idx="0">
                  <c:v>جانفي</c:v>
                </c:pt>
                <c:pt idx="22">
                  <c:v>فيفري</c:v>
                </c:pt>
                <c:pt idx="42">
                  <c:v>مارس</c:v>
                </c:pt>
                <c:pt idx="62">
                  <c:v>افريل</c:v>
                </c:pt>
                <c:pt idx="82">
                  <c:v>ماي</c:v>
                </c:pt>
                <c:pt idx="104">
                  <c:v>جوان</c:v>
                </c:pt>
                <c:pt idx="124">
                  <c:v>جويلية</c:v>
                </c:pt>
                <c:pt idx="148">
                  <c:v>اوت</c:v>
                </c:pt>
                <c:pt idx="170">
                  <c:v>سبتمبر</c:v>
                </c:pt>
                <c:pt idx="192">
                  <c:v>أكتوبر</c:v>
                </c:pt>
                <c:pt idx="215">
                  <c:v>نوفمبر</c:v>
                </c:pt>
              </c:strCache>
            </c:strRef>
          </c:cat>
          <c:val>
            <c:numRef>
              <c:f>Feuil1!$B$3:$HP$3</c:f>
              <c:numCache>
                <c:formatCode>General</c:formatCode>
                <c:ptCount val="223"/>
                <c:pt idx="0">
                  <c:v>59.4</c:v>
                </c:pt>
                <c:pt idx="1">
                  <c:v>59.4</c:v>
                </c:pt>
                <c:pt idx="2">
                  <c:v>59.4</c:v>
                </c:pt>
                <c:pt idx="3">
                  <c:v>59.4</c:v>
                </c:pt>
                <c:pt idx="4">
                  <c:v>59.4</c:v>
                </c:pt>
                <c:pt idx="5">
                  <c:v>59.4</c:v>
                </c:pt>
                <c:pt idx="6">
                  <c:v>59.4</c:v>
                </c:pt>
                <c:pt idx="7">
                  <c:v>59.4</c:v>
                </c:pt>
                <c:pt idx="8">
                  <c:v>59.4</c:v>
                </c:pt>
                <c:pt idx="9">
                  <c:v>59.4</c:v>
                </c:pt>
                <c:pt idx="10">
                  <c:v>59.4</c:v>
                </c:pt>
                <c:pt idx="24">
                  <c:v>63.9</c:v>
                </c:pt>
                <c:pt idx="25">
                  <c:v>63.9</c:v>
                </c:pt>
                <c:pt idx="26">
                  <c:v>63.9</c:v>
                </c:pt>
                <c:pt idx="27">
                  <c:v>63.9</c:v>
                </c:pt>
                <c:pt idx="28">
                  <c:v>63.9</c:v>
                </c:pt>
                <c:pt idx="29">
                  <c:v>63.9</c:v>
                </c:pt>
                <c:pt idx="30">
                  <c:v>63.9</c:v>
                </c:pt>
                <c:pt idx="31">
                  <c:v>63.9</c:v>
                </c:pt>
                <c:pt idx="32">
                  <c:v>63.9</c:v>
                </c:pt>
                <c:pt idx="33">
                  <c:v>63.9</c:v>
                </c:pt>
                <c:pt idx="34">
                  <c:v>63.9</c:v>
                </c:pt>
                <c:pt idx="35">
                  <c:v>63.9</c:v>
                </c:pt>
                <c:pt idx="36">
                  <c:v>63.9</c:v>
                </c:pt>
                <c:pt idx="37">
                  <c:v>63.9</c:v>
                </c:pt>
                <c:pt idx="38">
                  <c:v>63.9</c:v>
                </c:pt>
                <c:pt idx="39">
                  <c:v>63.9</c:v>
                </c:pt>
                <c:pt idx="46">
                  <c:v>66.099999999999994</c:v>
                </c:pt>
                <c:pt idx="47">
                  <c:v>66.099999999999994</c:v>
                </c:pt>
                <c:pt idx="48">
                  <c:v>66.099999999999994</c:v>
                </c:pt>
                <c:pt idx="49">
                  <c:v>66.099999999999994</c:v>
                </c:pt>
                <c:pt idx="50">
                  <c:v>66.099999999999994</c:v>
                </c:pt>
                <c:pt idx="51">
                  <c:v>66.099999999999994</c:v>
                </c:pt>
                <c:pt idx="52">
                  <c:v>66.099999999999994</c:v>
                </c:pt>
                <c:pt idx="53">
                  <c:v>66.099999999999994</c:v>
                </c:pt>
                <c:pt idx="54">
                  <c:v>66.099999999999994</c:v>
                </c:pt>
                <c:pt idx="55">
                  <c:v>66.099999999999994</c:v>
                </c:pt>
                <c:pt idx="64">
                  <c:v>71.3</c:v>
                </c:pt>
                <c:pt idx="65">
                  <c:v>71.3</c:v>
                </c:pt>
                <c:pt idx="66">
                  <c:v>71.3</c:v>
                </c:pt>
                <c:pt idx="67">
                  <c:v>71.3</c:v>
                </c:pt>
                <c:pt idx="68">
                  <c:v>71.3</c:v>
                </c:pt>
                <c:pt idx="69">
                  <c:v>71.3</c:v>
                </c:pt>
                <c:pt idx="70">
                  <c:v>71.3</c:v>
                </c:pt>
                <c:pt idx="71">
                  <c:v>71.3</c:v>
                </c:pt>
                <c:pt idx="72">
                  <c:v>71.3</c:v>
                </c:pt>
                <c:pt idx="73">
                  <c:v>71.3</c:v>
                </c:pt>
                <c:pt idx="74">
                  <c:v>71.3</c:v>
                </c:pt>
                <c:pt idx="75">
                  <c:v>71.3</c:v>
                </c:pt>
                <c:pt idx="76">
                  <c:v>71.3</c:v>
                </c:pt>
                <c:pt idx="86">
                  <c:v>71.3</c:v>
                </c:pt>
                <c:pt idx="87">
                  <c:v>71.3</c:v>
                </c:pt>
                <c:pt idx="88">
                  <c:v>71.3</c:v>
                </c:pt>
                <c:pt idx="89">
                  <c:v>71.3</c:v>
                </c:pt>
                <c:pt idx="90">
                  <c:v>71.3</c:v>
                </c:pt>
                <c:pt idx="91">
                  <c:v>71.3</c:v>
                </c:pt>
                <c:pt idx="92">
                  <c:v>71.3</c:v>
                </c:pt>
                <c:pt idx="93">
                  <c:v>71.3</c:v>
                </c:pt>
                <c:pt idx="94">
                  <c:v>71.3</c:v>
                </c:pt>
                <c:pt idx="95">
                  <c:v>71.3</c:v>
                </c:pt>
                <c:pt idx="96">
                  <c:v>71.3</c:v>
                </c:pt>
                <c:pt idx="97">
                  <c:v>71.3</c:v>
                </c:pt>
                <c:pt idx="98">
                  <c:v>71.3</c:v>
                </c:pt>
                <c:pt idx="99">
                  <c:v>71.3</c:v>
                </c:pt>
                <c:pt idx="108">
                  <c:v>64.22</c:v>
                </c:pt>
                <c:pt idx="109">
                  <c:v>64.22</c:v>
                </c:pt>
                <c:pt idx="110">
                  <c:v>64.22</c:v>
                </c:pt>
                <c:pt idx="111">
                  <c:v>64.22</c:v>
                </c:pt>
                <c:pt idx="112">
                  <c:v>64.22</c:v>
                </c:pt>
                <c:pt idx="113">
                  <c:v>64.22</c:v>
                </c:pt>
                <c:pt idx="114">
                  <c:v>64.22</c:v>
                </c:pt>
                <c:pt idx="115">
                  <c:v>64.22</c:v>
                </c:pt>
                <c:pt idx="116">
                  <c:v>64.22</c:v>
                </c:pt>
                <c:pt idx="117">
                  <c:v>64.22</c:v>
                </c:pt>
                <c:pt idx="118">
                  <c:v>64.22</c:v>
                </c:pt>
                <c:pt idx="127">
                  <c:v>63.9</c:v>
                </c:pt>
                <c:pt idx="128">
                  <c:v>63.9</c:v>
                </c:pt>
                <c:pt idx="129">
                  <c:v>63.9</c:v>
                </c:pt>
                <c:pt idx="130">
                  <c:v>63.9</c:v>
                </c:pt>
                <c:pt idx="131">
                  <c:v>63.9</c:v>
                </c:pt>
                <c:pt idx="132">
                  <c:v>63.9</c:v>
                </c:pt>
                <c:pt idx="133">
                  <c:v>63.9</c:v>
                </c:pt>
                <c:pt idx="134">
                  <c:v>63.9</c:v>
                </c:pt>
                <c:pt idx="135">
                  <c:v>63.9</c:v>
                </c:pt>
                <c:pt idx="136">
                  <c:v>63.9</c:v>
                </c:pt>
                <c:pt idx="137">
                  <c:v>63.9</c:v>
                </c:pt>
                <c:pt idx="138">
                  <c:v>63.9</c:v>
                </c:pt>
                <c:pt idx="139">
                  <c:v>63.9</c:v>
                </c:pt>
                <c:pt idx="140">
                  <c:v>63.9</c:v>
                </c:pt>
                <c:pt idx="141">
                  <c:v>63.9</c:v>
                </c:pt>
                <c:pt idx="152">
                  <c:v>59.1</c:v>
                </c:pt>
                <c:pt idx="153">
                  <c:v>59.1</c:v>
                </c:pt>
                <c:pt idx="154">
                  <c:v>59.1</c:v>
                </c:pt>
                <c:pt idx="155">
                  <c:v>59.1</c:v>
                </c:pt>
                <c:pt idx="156">
                  <c:v>59.1</c:v>
                </c:pt>
                <c:pt idx="157">
                  <c:v>59.1</c:v>
                </c:pt>
                <c:pt idx="158">
                  <c:v>59.1</c:v>
                </c:pt>
                <c:pt idx="159">
                  <c:v>59.1</c:v>
                </c:pt>
                <c:pt idx="160">
                  <c:v>59.1</c:v>
                </c:pt>
                <c:pt idx="161">
                  <c:v>59.1</c:v>
                </c:pt>
                <c:pt idx="162">
                  <c:v>59.1</c:v>
                </c:pt>
                <c:pt idx="163">
                  <c:v>59.1</c:v>
                </c:pt>
                <c:pt idx="164">
                  <c:v>59.1</c:v>
                </c:pt>
                <c:pt idx="165">
                  <c:v>59.1</c:v>
                </c:pt>
                <c:pt idx="174">
                  <c:v>62.8</c:v>
                </c:pt>
                <c:pt idx="175">
                  <c:v>62.8</c:v>
                </c:pt>
                <c:pt idx="176">
                  <c:v>62.8</c:v>
                </c:pt>
                <c:pt idx="177">
                  <c:v>62.8</c:v>
                </c:pt>
                <c:pt idx="178">
                  <c:v>62.8</c:v>
                </c:pt>
                <c:pt idx="179">
                  <c:v>62.8</c:v>
                </c:pt>
                <c:pt idx="180">
                  <c:v>62.8</c:v>
                </c:pt>
                <c:pt idx="181">
                  <c:v>62.8</c:v>
                </c:pt>
                <c:pt idx="182">
                  <c:v>62.8</c:v>
                </c:pt>
                <c:pt idx="183">
                  <c:v>62.8</c:v>
                </c:pt>
                <c:pt idx="184">
                  <c:v>62.8</c:v>
                </c:pt>
                <c:pt idx="185">
                  <c:v>62.8</c:v>
                </c:pt>
                <c:pt idx="195">
                  <c:v>59.7</c:v>
                </c:pt>
                <c:pt idx="196">
                  <c:v>59.7</c:v>
                </c:pt>
                <c:pt idx="197">
                  <c:v>59.7</c:v>
                </c:pt>
                <c:pt idx="198">
                  <c:v>59.7</c:v>
                </c:pt>
                <c:pt idx="199">
                  <c:v>59.7</c:v>
                </c:pt>
                <c:pt idx="200">
                  <c:v>59.7</c:v>
                </c:pt>
                <c:pt idx="201">
                  <c:v>59.7</c:v>
                </c:pt>
                <c:pt idx="202">
                  <c:v>59.7</c:v>
                </c:pt>
                <c:pt idx="203">
                  <c:v>59.7</c:v>
                </c:pt>
                <c:pt idx="204">
                  <c:v>59.7</c:v>
                </c:pt>
                <c:pt idx="205">
                  <c:v>59.7</c:v>
                </c:pt>
                <c:pt idx="206">
                  <c:v>59.7</c:v>
                </c:pt>
                <c:pt idx="207">
                  <c:v>59.7</c:v>
                </c:pt>
                <c:pt idx="208">
                  <c:v>59.7</c:v>
                </c:pt>
                <c:pt idx="209">
                  <c:v>59.7</c:v>
                </c:pt>
                <c:pt idx="210">
                  <c:v>59.7</c:v>
                </c:pt>
                <c:pt idx="215">
                  <c:v>62.2</c:v>
                </c:pt>
                <c:pt idx="216">
                  <c:v>62.2</c:v>
                </c:pt>
                <c:pt idx="217">
                  <c:v>62.2</c:v>
                </c:pt>
                <c:pt idx="218">
                  <c:v>62.2</c:v>
                </c:pt>
                <c:pt idx="219">
                  <c:v>62.2</c:v>
                </c:pt>
                <c:pt idx="220">
                  <c:v>62.2</c:v>
                </c:pt>
                <c:pt idx="221">
                  <c:v>62.2</c:v>
                </c:pt>
                <c:pt idx="222">
                  <c:v>62.2</c:v>
                </c:pt>
              </c:numCache>
            </c:numRef>
          </c:val>
          <c:extLst xmlns:c16r2="http://schemas.microsoft.com/office/drawing/2015/06/chart">
            <c:ext xmlns:c16="http://schemas.microsoft.com/office/drawing/2014/chart" uri="{C3380CC4-5D6E-409C-BE32-E72D297353CC}">
              <c16:uniqueId val="{0000000C-7127-4872-8F21-A698EA7BA2F6}"/>
            </c:ext>
          </c:extLst>
        </c:ser>
        <c:marker val="1"/>
        <c:axId val="181281536"/>
        <c:axId val="181283072"/>
      </c:lineChart>
      <c:catAx>
        <c:axId val="181281536"/>
        <c:scaling>
          <c:orientation val="maxMin"/>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00" b="1" i="0" u="none" strike="noStrike" kern="1200" baseline="0">
                <a:solidFill>
                  <a:schemeClr val="tx1">
                    <a:lumMod val="65000"/>
                    <a:lumOff val="35000"/>
                  </a:schemeClr>
                </a:solidFill>
                <a:latin typeface="Simplified Arabic" panose="02020603050405020304" pitchFamily="18" charset="-78"/>
                <a:ea typeface="+mn-ea"/>
                <a:cs typeface="Simplified Arabic" panose="02020603050405020304" pitchFamily="18" charset="-78"/>
              </a:defRPr>
            </a:pPr>
            <a:endParaRPr lang="fr-FR"/>
          </a:p>
        </c:txPr>
        <c:crossAx val="181283072"/>
        <c:crosses val="autoZero"/>
        <c:auto val="1"/>
        <c:lblAlgn val="ctr"/>
        <c:lblOffset val="100"/>
      </c:catAx>
      <c:valAx>
        <c:axId val="181283072"/>
        <c:scaling>
          <c:orientation val="minMax"/>
          <c:min val="50"/>
        </c:scaling>
        <c:axPos val="r"/>
        <c:numFmt formatCode="General" sourceLinked="1"/>
        <c:maj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81281536"/>
        <c:crosses val="autoZero"/>
        <c:crossBetween val="between"/>
      </c:valAx>
      <c:spPr>
        <a:noFill/>
        <a:ln w="12700">
          <a:solidFill>
            <a:schemeClr val="tx1"/>
          </a:solidFill>
        </a:ln>
        <a:effectLst/>
      </c:spPr>
    </c:plotArea>
    <c:plotVisOnly val="1"/>
    <c:dispBlanksAs val="gap"/>
  </c:chart>
  <c:spPr>
    <a:noFill/>
    <a:ln w="12700">
      <a:solidFill>
        <a:srgbClr val="C00000"/>
      </a:solidFill>
    </a:ln>
    <a:effectLst/>
  </c:spPr>
  <c:txPr>
    <a:bodyPr/>
    <a:lstStyle/>
    <a:p>
      <a:pPr>
        <a:defRPr/>
      </a:pPr>
      <a:endParaRPr lang="fr-FR"/>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fr-FR"/>
  <c:chart>
    <c:autoTitleDeleted val="1"/>
    <c:plotArea>
      <c:layout>
        <c:manualLayout>
          <c:layoutTarget val="inner"/>
          <c:xMode val="edge"/>
          <c:yMode val="edge"/>
          <c:x val="7.823375080102711E-2"/>
          <c:y val="6.9950826584147363E-2"/>
          <c:w val="0.8688741035826576"/>
          <c:h val="0.6203513610932625"/>
        </c:manualLayout>
      </c:layout>
      <c:barChart>
        <c:barDir val="col"/>
        <c:grouping val="clustered"/>
        <c:ser>
          <c:idx val="1"/>
          <c:order val="1"/>
          <c:tx>
            <c:strRef>
              <c:f>'pib_trim (2)'!$C$1</c:f>
              <c:strCache>
                <c:ptCount val="1"/>
                <c:pt idx="0">
                  <c:v>التغيرات الثلاثية</c:v>
                </c:pt>
              </c:strCache>
            </c:strRef>
          </c:tx>
          <c:spPr>
            <a:solidFill>
              <a:srgbClr val="C00000"/>
            </a:solidFill>
            <a:ln>
              <a:solidFill>
                <a:srgbClr val="C00000"/>
              </a:solidFill>
            </a:ln>
            <a:effectLst>
              <a:softEdge rad="12700"/>
            </a:effectLst>
            <a:scene3d>
              <a:camera prst="orthographicFront"/>
              <a:lightRig rig="threePt" dir="t"/>
            </a:scene3d>
          </c:spPr>
          <c:dLbls>
            <c:numFmt formatCode="#,##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Times New Roman" panose="02020603050405020304" pitchFamily="18" charset="0"/>
                    <a:ea typeface="+mn-ea"/>
                    <a:cs typeface="Times New Roman" panose="02020603050405020304" pitchFamily="18" charset="0"/>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b_trim (2)'!$A$2:$A$20</c:f>
              <c:strCache>
                <c:ptCount val="19"/>
                <c:pt idx="0">
                  <c:v>ث1-2015</c:v>
                </c:pt>
                <c:pt idx="1">
                  <c:v>ث2-2015</c:v>
                </c:pt>
                <c:pt idx="2">
                  <c:v>ث3-2015</c:v>
                </c:pt>
                <c:pt idx="3">
                  <c:v>ث4-2015</c:v>
                </c:pt>
                <c:pt idx="4">
                  <c:v>ث1-2016</c:v>
                </c:pt>
                <c:pt idx="5">
                  <c:v>ث2-2016</c:v>
                </c:pt>
                <c:pt idx="6">
                  <c:v>ث3-2016</c:v>
                </c:pt>
                <c:pt idx="7">
                  <c:v>ث4-2016</c:v>
                </c:pt>
                <c:pt idx="8">
                  <c:v>ث1-2017</c:v>
                </c:pt>
                <c:pt idx="9">
                  <c:v>ث2-2017</c:v>
                </c:pt>
                <c:pt idx="10">
                  <c:v>ث3-2017</c:v>
                </c:pt>
                <c:pt idx="11">
                  <c:v>ث4-2017</c:v>
                </c:pt>
                <c:pt idx="12">
                  <c:v>ث1-2018</c:v>
                </c:pt>
                <c:pt idx="13">
                  <c:v>ث2-2018</c:v>
                </c:pt>
                <c:pt idx="14">
                  <c:v>ث3-2018</c:v>
                </c:pt>
                <c:pt idx="15">
                  <c:v>ث4-2018</c:v>
                </c:pt>
                <c:pt idx="16">
                  <c:v>ث1-2019</c:v>
                </c:pt>
                <c:pt idx="17">
                  <c:v>ث2-2019</c:v>
                </c:pt>
                <c:pt idx="18">
                  <c:v>ث3-2019</c:v>
                </c:pt>
              </c:strCache>
            </c:strRef>
          </c:cat>
          <c:val>
            <c:numRef>
              <c:f>'pib_trim (2)'!$C$2:$C$20</c:f>
              <c:numCache>
                <c:formatCode>General</c:formatCode>
                <c:ptCount val="19"/>
                <c:pt idx="0">
                  <c:v>-6.6645880983699557E-2</c:v>
                </c:pt>
                <c:pt idx="1">
                  <c:v>-0.24540532290782849</c:v>
                </c:pt>
                <c:pt idx="2">
                  <c:v>0.20241538715559695</c:v>
                </c:pt>
                <c:pt idx="3">
                  <c:v>0.74371422103898555</c:v>
                </c:pt>
                <c:pt idx="4">
                  <c:v>-4.4364123530386934E-2</c:v>
                </c:pt>
                <c:pt idx="5">
                  <c:v>0.2568447546311472</c:v>
                </c:pt>
                <c:pt idx="6">
                  <c:v>0.34307477811952958</c:v>
                </c:pt>
                <c:pt idx="7">
                  <c:v>0.7245659990728508</c:v>
                </c:pt>
                <c:pt idx="8">
                  <c:v>0.7000000000000004</c:v>
                </c:pt>
                <c:pt idx="9">
                  <c:v>0</c:v>
                </c:pt>
                <c:pt idx="10">
                  <c:v>0.7000000000000004</c:v>
                </c:pt>
                <c:pt idx="11">
                  <c:v>0.7000000000000004</c:v>
                </c:pt>
                <c:pt idx="12">
                  <c:v>1.2</c:v>
                </c:pt>
                <c:pt idx="13">
                  <c:v>0.4</c:v>
                </c:pt>
                <c:pt idx="14">
                  <c:v>0.5</c:v>
                </c:pt>
                <c:pt idx="15">
                  <c:v>0.1</c:v>
                </c:pt>
                <c:pt idx="16">
                  <c:v>0.2</c:v>
                </c:pt>
                <c:pt idx="17">
                  <c:v>0.5</c:v>
                </c:pt>
                <c:pt idx="18">
                  <c:v>0.2</c:v>
                </c:pt>
              </c:numCache>
            </c:numRef>
          </c:val>
          <c:extLst xmlns:c16r2="http://schemas.microsoft.com/office/drawing/2015/06/chart">
            <c:ext xmlns:c16="http://schemas.microsoft.com/office/drawing/2014/chart" uri="{C3380CC4-5D6E-409C-BE32-E72D297353CC}">
              <c16:uniqueId val="{00000000-ADAE-44AC-A1ED-F46D0BFB63B9}"/>
            </c:ext>
          </c:extLst>
        </c:ser>
        <c:axId val="181389184"/>
        <c:axId val="181390720"/>
      </c:barChart>
      <c:lineChart>
        <c:grouping val="standard"/>
        <c:ser>
          <c:idx val="0"/>
          <c:order val="0"/>
          <c:tx>
            <c:strRef>
              <c:f>'pib_trim (2)'!$B$1</c:f>
              <c:strCache>
                <c:ptCount val="1"/>
                <c:pt idx="0">
                  <c:v>الانزلاق السنوي</c:v>
                </c:pt>
              </c:strCache>
            </c:strRef>
          </c:tx>
          <c:spPr>
            <a:ln w="28575" cap="rnd">
              <a:solidFill>
                <a:srgbClr val="0070C0"/>
              </a:solidFill>
              <a:round/>
            </a:ln>
            <a:effectLst/>
          </c:spPr>
          <c:marker>
            <c:symbol val="none"/>
          </c:marker>
          <c:dPt>
            <c:idx val="12"/>
            <c:spPr>
              <a:ln w="28575" cap="rnd">
                <a:solidFill>
                  <a:srgbClr val="0070C0"/>
                </a:solidFill>
                <a:prstDash val="solid"/>
                <a:round/>
              </a:ln>
              <a:effectLst/>
            </c:spPr>
            <c:extLst xmlns:c16r2="http://schemas.microsoft.com/office/drawing/2015/06/chart">
              <c:ext xmlns:c16="http://schemas.microsoft.com/office/drawing/2014/chart" uri="{C3380CC4-5D6E-409C-BE32-E72D297353CC}">
                <c16:uniqueId val="{00000002-ADAE-44AC-A1ED-F46D0BFB63B9}"/>
              </c:ext>
            </c:extLst>
          </c:dPt>
          <c:dLbls>
            <c:dLbl>
              <c:idx val="0"/>
              <c:layout>
                <c:manualLayout>
                  <c:x val="-1.6144501052994371E-2"/>
                  <c:y val="-2.2954545180690282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0C0"/>
                      </a:solidFill>
                      <a:latin typeface="Times New Roman" panose="02020603050405020304" pitchFamily="18" charset="0"/>
                      <a:ea typeface="+mn-ea"/>
                      <a:cs typeface="Times New Roman" panose="02020603050405020304" pitchFamily="18" charset="0"/>
                    </a:defRPr>
                  </a:pPr>
                  <a:endParaRPr lang="fr-FR"/>
                </a:p>
              </c:txPr>
              <c:showVal val="1"/>
              <c:extLst xmlns:c16r2="http://schemas.microsoft.com/office/drawing/2015/06/chart">
                <c:ext xmlns:c16="http://schemas.microsoft.com/office/drawing/2014/chart" uri="{C3380CC4-5D6E-409C-BE32-E72D297353CC}">
                  <c16:uniqueId val="{00000003-ADAE-44AC-A1ED-F46D0BFB63B9}"/>
                </c:ext>
                <c:ext xmlns:c15="http://schemas.microsoft.com/office/drawing/2012/chart" uri="{CE6537A1-D6FC-4f65-9D91-7224C49458BB}"/>
              </c:extLst>
            </c:dLbl>
            <c:dLbl>
              <c:idx val="3"/>
              <c:layout>
                <c:manualLayout>
                  <c:x val="-6.3570477974820974E-2"/>
                  <c:y val="2.0075142114534865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0C0"/>
                      </a:solidFill>
                      <a:latin typeface="Times New Roman" panose="02020603050405020304" pitchFamily="18" charset="0"/>
                      <a:ea typeface="+mn-ea"/>
                      <a:cs typeface="Times New Roman" panose="02020603050405020304" pitchFamily="18" charset="0"/>
                    </a:defRPr>
                  </a:pPr>
                  <a:endParaRPr lang="fr-FR"/>
                </a:p>
              </c:txPr>
              <c:showVal val="1"/>
              <c:extLst xmlns:c16r2="http://schemas.microsoft.com/office/drawing/2015/06/chart">
                <c:ext xmlns:c16="http://schemas.microsoft.com/office/drawing/2014/chart" uri="{C3380CC4-5D6E-409C-BE32-E72D297353CC}">
                  <c16:uniqueId val="{00000004-ADAE-44AC-A1ED-F46D0BFB63B9}"/>
                </c:ext>
                <c:ext xmlns:c15="http://schemas.microsoft.com/office/drawing/2012/chart" uri="{CE6537A1-D6FC-4f65-9D91-7224C49458BB}"/>
              </c:extLst>
            </c:dLbl>
            <c:dLbl>
              <c:idx val="4"/>
              <c:layout>
                <c:manualLayout>
                  <c:x val="-2.5113668304657888E-2"/>
                  <c:y val="-3.570707028107372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0C0"/>
                      </a:solidFill>
                      <a:latin typeface="Times New Roman" panose="02020603050405020304" pitchFamily="18" charset="0"/>
                      <a:ea typeface="+mn-ea"/>
                      <a:cs typeface="Times New Roman" panose="02020603050405020304" pitchFamily="18" charset="0"/>
                    </a:defRPr>
                  </a:pPr>
                  <a:endParaRPr lang="fr-FR"/>
                </a:p>
              </c:txPr>
              <c:showVal val="1"/>
              <c:extLst xmlns:c16r2="http://schemas.microsoft.com/office/drawing/2015/06/chart">
                <c:ext xmlns:c16="http://schemas.microsoft.com/office/drawing/2014/chart" uri="{C3380CC4-5D6E-409C-BE32-E72D297353CC}">
                  <c16:uniqueId val="{00000005-ADAE-44AC-A1ED-F46D0BFB63B9}"/>
                </c:ext>
                <c:ext xmlns:c15="http://schemas.microsoft.com/office/drawing/2012/chart" uri="{CE6537A1-D6FC-4f65-9D91-7224C49458BB}"/>
              </c:extLst>
            </c:dLbl>
            <c:dLbl>
              <c:idx val="7"/>
              <c:layout>
                <c:manualLayout>
                  <c:x val="-1.1929733695886865E-2"/>
                  <c:y val="-3.2579065267585056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0C0"/>
                      </a:solidFill>
                      <a:latin typeface="Times New Roman" panose="02020603050405020304" pitchFamily="18" charset="0"/>
                      <a:ea typeface="+mn-ea"/>
                      <a:cs typeface="Times New Roman" panose="02020603050405020304" pitchFamily="18" charset="0"/>
                    </a:defRPr>
                  </a:pPr>
                  <a:endParaRPr lang="fr-FR"/>
                </a:p>
              </c:txPr>
              <c:showVal val="1"/>
              <c:extLst xmlns:c16r2="http://schemas.microsoft.com/office/drawing/2015/06/chart">
                <c:ext xmlns:c16="http://schemas.microsoft.com/office/drawing/2014/chart" uri="{C3380CC4-5D6E-409C-BE32-E72D297353CC}">
                  <c16:uniqueId val="{00000006-ADAE-44AC-A1ED-F46D0BFB63B9}"/>
                </c:ext>
                <c:ext xmlns:c15="http://schemas.microsoft.com/office/drawing/2012/chart" uri="{CE6537A1-D6FC-4f65-9D91-7224C49458BB}"/>
              </c:extLst>
            </c:dLbl>
            <c:dLbl>
              <c:idx val="8"/>
              <c:layout>
                <c:manualLayout>
                  <c:x val="-1.6144501052994361E-2"/>
                  <c:y val="-2.2954545180690244E-2"/>
                </c:manualLayout>
              </c:layout>
              <c:tx>
                <c:rich>
                  <a:bodyPr rot="0" spcFirstLastPara="1" vertOverflow="ellipsis" vert="horz" wrap="square" lIns="38100" tIns="19050" rIns="38100" bIns="19050" anchor="ctr" anchorCtr="1">
                    <a:spAutoFit/>
                  </a:bodyPr>
                  <a:lstStyle/>
                  <a:p>
                    <a:pPr>
                      <a:defRPr sz="1000" b="1" i="0" u="none" strike="noStrike" kern="1200" baseline="0">
                        <a:solidFill>
                          <a:srgbClr val="0070C0"/>
                        </a:solidFill>
                        <a:latin typeface="Times New Roman" panose="02020603050405020304" pitchFamily="18" charset="0"/>
                        <a:ea typeface="+mn-ea"/>
                        <a:cs typeface="Times New Roman" panose="02020603050405020304" pitchFamily="18" charset="0"/>
                      </a:defRPr>
                    </a:pPr>
                    <a:fld id="{44AB2EF6-08F9-47AA-BAA0-1AA2D0326A0B}" type="VALUE">
                      <a:rPr lang="en-US" sz="1000" b="1">
                        <a:solidFill>
                          <a:srgbClr val="0070C0"/>
                        </a:solidFill>
                        <a:latin typeface="Times New Roman" panose="02020603050405020304" pitchFamily="18" charset="0"/>
                        <a:cs typeface="Times New Roman" panose="02020603050405020304" pitchFamily="18" charset="0"/>
                      </a:rPr>
                      <a:pPr>
                        <a:defRPr sz="1000" b="1" i="0" u="none" strike="noStrike" kern="1200" baseline="0">
                          <a:solidFill>
                            <a:srgbClr val="0070C0"/>
                          </a:solidFill>
                          <a:latin typeface="Times New Roman" panose="02020603050405020304" pitchFamily="18" charset="0"/>
                          <a:ea typeface="+mn-ea"/>
                          <a:cs typeface="Times New Roman" panose="02020603050405020304" pitchFamily="18" charset="0"/>
                        </a:defRPr>
                      </a:pPr>
                      <a:t>[VALEUR]</a:t>
                    </a:fld>
                    <a:endParaRPr lang="fr-FR"/>
                  </a:p>
                </c:rich>
              </c:tx>
              <c:numFmt formatCode="#,##0.0" sourceLinked="0"/>
              <c:spPr>
                <a:noFill/>
                <a:ln>
                  <a:noFill/>
                </a:ln>
                <a:effectLst/>
              </c:spPr>
              <c:showVal val="1"/>
              <c:extLst xmlns:c16r2="http://schemas.microsoft.com/office/drawing/2015/06/chart">
                <c:ext xmlns:c16="http://schemas.microsoft.com/office/drawing/2014/chart" uri="{C3380CC4-5D6E-409C-BE32-E72D297353CC}">
                  <c16:uniqueId val="{00000007-ADAE-44AC-A1ED-F46D0BFB63B9}"/>
                </c:ext>
                <c:ext xmlns:c15="http://schemas.microsoft.com/office/drawing/2012/chart" uri="{CE6537A1-D6FC-4f65-9D91-7224C49458BB}">
                  <c15:dlblFieldTable/>
                  <c15:showDataLabelsRange val="0"/>
                </c:ext>
              </c:extLst>
            </c:dLbl>
            <c:dLbl>
              <c:idx val="11"/>
              <c:layout>
                <c:manualLayout>
                  <c:x val="-1.4350667602661654E-2"/>
                  <c:y val="2.0404040160613562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0C0"/>
                      </a:solidFill>
                      <a:latin typeface="Times New Roman" panose="02020603050405020304" pitchFamily="18" charset="0"/>
                      <a:ea typeface="+mn-ea"/>
                      <a:cs typeface="Times New Roman" panose="02020603050405020304" pitchFamily="18" charset="0"/>
                    </a:defRPr>
                  </a:pPr>
                  <a:endParaRPr lang="fr-FR"/>
                </a:p>
              </c:txPr>
              <c:showVal val="1"/>
              <c:extLst xmlns:c16r2="http://schemas.microsoft.com/office/drawing/2015/06/chart">
                <c:ext xmlns:c16="http://schemas.microsoft.com/office/drawing/2014/chart" uri="{C3380CC4-5D6E-409C-BE32-E72D297353CC}">
                  <c16:uniqueId val="{00000008-ADAE-44AC-A1ED-F46D0BFB63B9}"/>
                </c:ext>
                <c:ext xmlns:c15="http://schemas.microsoft.com/office/drawing/2012/chart" uri="{CE6537A1-D6FC-4f65-9D91-7224C49458BB}"/>
              </c:extLst>
            </c:dLbl>
            <c:dLbl>
              <c:idx val="12"/>
              <c:layout>
                <c:manualLayout>
                  <c:x val="-5.0541260717635289E-2"/>
                  <c:y val="3.0110629661267787E-2"/>
                </c:manualLayout>
              </c:layout>
              <c:tx>
                <c:rich>
                  <a:bodyPr/>
                  <a:lstStyle/>
                  <a:p>
                    <a:fld id="{BC2B85BA-68F1-41A4-95E5-BD46746ACD09}" type="VALUE">
                      <a:rPr lang="en-US" b="1">
                        <a:solidFill>
                          <a:srgbClr val="0070C0"/>
                        </a:solidFill>
                      </a:rPr>
                      <a:pPr/>
                      <a:t>[VALEUR]</a:t>
                    </a:fld>
                    <a:endParaRPr lang="fr-FR"/>
                  </a:p>
                </c:rich>
              </c:tx>
              <c:showVal val="1"/>
              <c:extLst xmlns:c16r2="http://schemas.microsoft.com/office/drawing/2015/06/chart">
                <c:ext xmlns:c16="http://schemas.microsoft.com/office/drawing/2014/chart" uri="{C3380CC4-5D6E-409C-BE32-E72D297353CC}">
                  <c16:uniqueId val="{00000002-ADAE-44AC-A1ED-F46D0BFB63B9}"/>
                </c:ext>
                <c:ext xmlns:c15="http://schemas.microsoft.com/office/drawing/2012/chart" uri="{CE6537A1-D6FC-4f65-9D91-7224C49458BB}">
                  <c15:dlblFieldTable/>
                  <c15:showDataLabelsRange val="0"/>
                </c:ext>
              </c:extLst>
            </c:dLbl>
            <c:dLbl>
              <c:idx val="15"/>
              <c:layout>
                <c:manualLayout>
                  <c:x val="-1.5441922096829449E-2"/>
                  <c:y val="4.1729167238392408E-2"/>
                </c:manualLayout>
              </c:layout>
              <c:showVal val="1"/>
              <c:extLst xmlns:c16r2="http://schemas.microsoft.com/office/drawing/2015/06/chart">
                <c:ext xmlns:c16="http://schemas.microsoft.com/office/drawing/2014/chart" uri="{C3380CC4-5D6E-409C-BE32-E72D297353CC}">
                  <c16:uniqueId val="{00000009-ADAE-44AC-A1ED-F46D0BFB63B9}"/>
                </c:ext>
                <c:ext xmlns:c15="http://schemas.microsoft.com/office/drawing/2012/chart" uri="{CE6537A1-D6FC-4f65-9D91-7224C49458BB}"/>
              </c:extLst>
            </c:dLbl>
            <c:dLbl>
              <c:idx val="16"/>
              <c:layout/>
              <c:showVal val="1"/>
              <c:extLst xmlns:c16r2="http://schemas.microsoft.com/office/drawing/2015/06/chart">
                <c:ext xmlns:c16="http://schemas.microsoft.com/office/drawing/2014/chart" uri="{C3380CC4-5D6E-409C-BE32-E72D297353CC}">
                  <c16:uniqueId val="{0000000A-ADAE-44AC-A1ED-F46D0BFB63B9}"/>
                </c:ext>
                <c:ext xmlns:c15="http://schemas.microsoft.com/office/drawing/2012/chart" uri="{CE6537A1-D6FC-4f65-9D91-7224C49458BB}"/>
              </c:extLst>
            </c:dLbl>
            <c:dLbl>
              <c:idx val="17"/>
              <c:layout>
                <c:manualLayout>
                  <c:x val="-2.4494731709852589E-2"/>
                  <c:y val="-3.3150361632346581E-2"/>
                </c:manualLayout>
              </c:layout>
              <c:showVal val="1"/>
              <c:extLst xmlns:c16r2="http://schemas.microsoft.com/office/drawing/2015/06/chart">
                <c:ext xmlns:c16="http://schemas.microsoft.com/office/drawing/2014/chart" uri="{C3380CC4-5D6E-409C-BE32-E72D297353CC}">
                  <c16:uniqueId val="{00000002-902C-4258-81F4-69B273A5D116}"/>
                </c:ext>
                <c:ext xmlns:c15="http://schemas.microsoft.com/office/drawing/2012/chart" uri="{CE6537A1-D6FC-4f65-9D91-7224C49458BB}"/>
              </c:extLst>
            </c:dLbl>
            <c:dLbl>
              <c:idx val="18"/>
              <c:layout>
                <c:manualLayout>
                  <c:x val="-1.6574541302395922E-2"/>
                  <c:y val="-5.2620177724475095E-2"/>
                </c:manualLayout>
              </c:layout>
              <c:showVal val="1"/>
              <c:extLst xmlns:c16r2="http://schemas.microsoft.com/office/drawing/2015/06/chart">
                <c:ext xmlns:c16="http://schemas.microsoft.com/office/drawing/2014/chart" uri="{C3380CC4-5D6E-409C-BE32-E72D297353CC}">
                  <c16:uniqueId val="{00000002-3F99-4BFF-AE18-4F1B182E54EF}"/>
                </c:ext>
                <c:ext xmlns:c15="http://schemas.microsoft.com/office/drawing/2012/chart" uri="{CE6537A1-D6FC-4f65-9D91-7224C49458BB}"/>
              </c:extLst>
            </c:dLbl>
            <c:delete val="1"/>
            <c:extLst xmlns:c16r2="http://schemas.microsoft.com/office/drawing/2015/06/chart">
              <c:ext xmlns:c15="http://schemas.microsoft.com/office/drawing/2012/chart" uri="{CE6537A1-D6FC-4f65-9D91-7224C49458BB}">
                <c15:showLeaderLines val="0"/>
              </c:ext>
            </c:extLst>
          </c:dLbls>
          <c:cat>
            <c:strRef>
              <c:f>'pib_trim (2)'!$A$2:$A$20</c:f>
              <c:strCache>
                <c:ptCount val="19"/>
                <c:pt idx="0">
                  <c:v>ث1-2015</c:v>
                </c:pt>
                <c:pt idx="1">
                  <c:v>ث2-2015</c:v>
                </c:pt>
                <c:pt idx="2">
                  <c:v>ث3-2015</c:v>
                </c:pt>
                <c:pt idx="3">
                  <c:v>ث4-2015</c:v>
                </c:pt>
                <c:pt idx="4">
                  <c:v>ث1-2016</c:v>
                </c:pt>
                <c:pt idx="5">
                  <c:v>ث2-2016</c:v>
                </c:pt>
                <c:pt idx="6">
                  <c:v>ث3-2016</c:v>
                </c:pt>
                <c:pt idx="7">
                  <c:v>ث4-2016</c:v>
                </c:pt>
                <c:pt idx="8">
                  <c:v>ث1-2017</c:v>
                </c:pt>
                <c:pt idx="9">
                  <c:v>ث2-2017</c:v>
                </c:pt>
                <c:pt idx="10">
                  <c:v>ث3-2017</c:v>
                </c:pt>
                <c:pt idx="11">
                  <c:v>ث4-2017</c:v>
                </c:pt>
                <c:pt idx="12">
                  <c:v>ث1-2018</c:v>
                </c:pt>
                <c:pt idx="13">
                  <c:v>ث2-2018</c:v>
                </c:pt>
                <c:pt idx="14">
                  <c:v>ث3-2018</c:v>
                </c:pt>
                <c:pt idx="15">
                  <c:v>ث4-2018</c:v>
                </c:pt>
                <c:pt idx="16">
                  <c:v>ث1-2019</c:v>
                </c:pt>
                <c:pt idx="17">
                  <c:v>ث2-2019</c:v>
                </c:pt>
                <c:pt idx="18">
                  <c:v>ث3-2019</c:v>
                </c:pt>
              </c:strCache>
            </c:strRef>
          </c:cat>
          <c:val>
            <c:numRef>
              <c:f>'pib_trim (2)'!$B$2:$B$20</c:f>
              <c:numCache>
                <c:formatCode>General</c:formatCode>
                <c:ptCount val="19"/>
                <c:pt idx="0">
                  <c:v>2.0242719960569548</c:v>
                </c:pt>
                <c:pt idx="1">
                  <c:v>1.3313190478232428</c:v>
                </c:pt>
                <c:pt idx="2">
                  <c:v>0.62376547012041839</c:v>
                </c:pt>
                <c:pt idx="3">
                  <c:v>0.63279179231679561</c:v>
                </c:pt>
                <c:pt idx="4">
                  <c:v>0.76504207936518831</c:v>
                </c:pt>
                <c:pt idx="5">
                  <c:v>1.2469093853319881</c:v>
                </c:pt>
                <c:pt idx="6">
                  <c:v>1.4165518370133439</c:v>
                </c:pt>
                <c:pt idx="7">
                  <c:v>1.2540302956897724</c:v>
                </c:pt>
                <c:pt idx="8">
                  <c:v>2</c:v>
                </c:pt>
                <c:pt idx="9">
                  <c:v>1.7</c:v>
                </c:pt>
                <c:pt idx="10">
                  <c:v>2.1</c:v>
                </c:pt>
                <c:pt idx="11">
                  <c:v>2</c:v>
                </c:pt>
                <c:pt idx="12">
                  <c:v>2.7</c:v>
                </c:pt>
                <c:pt idx="13">
                  <c:v>2.9</c:v>
                </c:pt>
                <c:pt idx="14">
                  <c:v>2.7</c:v>
                </c:pt>
                <c:pt idx="15">
                  <c:v>2.1</c:v>
                </c:pt>
                <c:pt idx="16">
                  <c:v>1.1000000000000001</c:v>
                </c:pt>
                <c:pt idx="17">
                  <c:v>1.2</c:v>
                </c:pt>
                <c:pt idx="18">
                  <c:v>1</c:v>
                </c:pt>
              </c:numCache>
            </c:numRef>
          </c:val>
          <c:smooth val="1"/>
          <c:extLst xmlns:c16r2="http://schemas.microsoft.com/office/drawing/2015/06/chart">
            <c:ext xmlns:c16="http://schemas.microsoft.com/office/drawing/2014/chart" uri="{C3380CC4-5D6E-409C-BE32-E72D297353CC}">
              <c16:uniqueId val="{0000000B-ADAE-44AC-A1ED-F46D0BFB63B9}"/>
            </c:ext>
          </c:extLst>
        </c:ser>
        <c:marker val="1"/>
        <c:axId val="181389184"/>
        <c:axId val="181390720"/>
      </c:lineChart>
      <c:catAx>
        <c:axId val="181389184"/>
        <c:scaling>
          <c:orientation val="maxMin"/>
        </c:scaling>
        <c:axPos val="b"/>
        <c:majorGridlines>
          <c:spPr>
            <a:ln w="9525" cap="flat" cmpd="sng" algn="ctr">
              <a:solidFill>
                <a:schemeClr val="bg1">
                  <a:lumMod val="50000"/>
                </a:schemeClr>
              </a:solidFill>
              <a:round/>
            </a:ln>
            <a:effectLst/>
          </c:spPr>
        </c:majorGridlines>
        <c:numFmt formatCode="General" sourceLinked="1"/>
        <c:majorTickMark val="none"/>
        <c:tickLblPos val="low"/>
        <c:spPr>
          <a:noFill/>
          <a:ln w="19050" cap="flat" cmpd="sng" algn="ctr">
            <a:solidFill>
              <a:schemeClr val="tx1"/>
            </a:solidFill>
            <a:round/>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Simplified Arabic" panose="02020603050405020304" pitchFamily="18" charset="-78"/>
                <a:ea typeface="+mn-ea"/>
                <a:cs typeface="Simplified Arabic" panose="02020603050405020304" pitchFamily="18" charset="-78"/>
              </a:defRPr>
            </a:pPr>
            <a:endParaRPr lang="fr-FR"/>
          </a:p>
        </c:txPr>
        <c:crossAx val="181390720"/>
        <c:crosses val="autoZero"/>
        <c:auto val="1"/>
        <c:lblAlgn val="ctr"/>
        <c:lblOffset val="100"/>
        <c:tickMarkSkip val="4"/>
      </c:catAx>
      <c:valAx>
        <c:axId val="181390720"/>
        <c:scaling>
          <c:orientation val="minMax"/>
        </c:scaling>
        <c:axPos val="r"/>
        <c:majorGridlines>
          <c:spPr>
            <a:ln w="9525" cap="flat" cmpd="sng" algn="ctr">
              <a:solidFill>
                <a:schemeClr val="bg1">
                  <a:lumMod val="50000"/>
                </a:schemeClr>
              </a:solidFill>
              <a:round/>
            </a:ln>
            <a:effectLst/>
          </c:spPr>
        </c:majorGridlines>
        <c:numFmt formatCode="#,##0.0" sourceLinked="0"/>
        <c:majorTickMark val="none"/>
        <c:tickLblPos val="nextTo"/>
        <c:spPr>
          <a:noFill/>
          <a:ln w="19050">
            <a:solidFill>
              <a:schemeClr val="tx1"/>
            </a:solid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81389184"/>
        <c:crosses val="autoZero"/>
        <c:crossBetween val="between"/>
      </c:valAx>
      <c:spPr>
        <a:noFill/>
        <a:ln>
          <a:solidFill>
            <a:schemeClr val="accent6"/>
          </a:solidFill>
        </a:ln>
        <a:effectLst/>
      </c:spPr>
    </c:plotArea>
    <c:legend>
      <c:legendPos val="r"/>
      <c:layout>
        <c:manualLayout>
          <c:xMode val="edge"/>
          <c:yMode val="edge"/>
          <c:x val="6.82594396211684E-2"/>
          <c:y val="0.91437047010745331"/>
          <c:w val="0.89324592135234149"/>
          <c:h val="4.8552424151029852E-2"/>
        </c:manualLayout>
      </c:layout>
      <c:spPr>
        <a:noFill/>
        <a:ln>
          <a:noFill/>
        </a:ln>
        <a:effectLst/>
      </c:spPr>
      <c:txPr>
        <a:bodyPr rot="0" spcFirstLastPara="1" vertOverflow="ellipsis" vert="horz" wrap="square" anchor="ctr" anchorCtr="1"/>
        <a:lstStyle/>
        <a:p>
          <a:pPr>
            <a:defRPr sz="1050" b="1" i="0" u="none" strike="noStrike" kern="1200" baseline="0">
              <a:solidFill>
                <a:schemeClr val="tx1">
                  <a:lumMod val="65000"/>
                  <a:lumOff val="35000"/>
                </a:schemeClr>
              </a:solidFill>
              <a:latin typeface="Simplified Arabic" panose="02020603050405020304" pitchFamily="18" charset="-78"/>
              <a:ea typeface="+mn-ea"/>
              <a:cs typeface="Simplified Arabic" panose="02020603050405020304" pitchFamily="18" charset="-78"/>
            </a:defRPr>
          </a:pPr>
          <a:endParaRPr lang="fr-FR"/>
        </a:p>
      </c:txPr>
    </c:legend>
    <c:plotVisOnly val="1"/>
    <c:dispBlanksAs val="gap"/>
  </c:chart>
  <c:spPr>
    <a:noFill/>
    <a:ln>
      <a:solidFill>
        <a:srgbClr val="C00000"/>
      </a:solidFill>
    </a:ln>
    <a:effectLst/>
  </c:spPr>
  <c:txPr>
    <a:bodyPr/>
    <a:lstStyle/>
    <a:p>
      <a:pPr>
        <a:defRPr/>
      </a:pPr>
      <a:endParaRPr lang="fr-FR"/>
    </a:p>
  </c:txPr>
  <c:externalData r:id="rId1"/>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1"/>
  <c:lang val="fr-FR"/>
  <c:chart>
    <c:autoTitleDeleted val="1"/>
    <c:plotArea>
      <c:layout>
        <c:manualLayout>
          <c:layoutTarget val="inner"/>
          <c:xMode val="edge"/>
          <c:yMode val="edge"/>
          <c:x val="2.0063397175484454E-2"/>
          <c:y val="0.17309329112412281"/>
          <c:w val="0.88841769307267759"/>
          <c:h val="0.60940984206317284"/>
        </c:manualLayout>
      </c:layout>
      <c:barChart>
        <c:barDir val="col"/>
        <c:grouping val="clustered"/>
        <c:ser>
          <c:idx val="0"/>
          <c:order val="0"/>
          <c:tx>
            <c:strRef>
              <c:f>Feuil1!$A$3</c:f>
              <c:strCache>
                <c:ptCount val="1"/>
                <c:pt idx="0">
                  <c:v>إنتاج زيتون الزيت (الف طن)</c:v>
                </c:pt>
              </c:strCache>
            </c:strRef>
          </c:tx>
          <c:spPr>
            <a:solidFill>
              <a:schemeClr val="accent1">
                <a:lumMod val="60000"/>
                <a:lumOff val="40000"/>
              </a:schemeClr>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solidFill>
                    <a:latin typeface="Times New Roman" panose="02020603050405020304" pitchFamily="18" charset="0"/>
                    <a:ea typeface="+mn-ea"/>
                    <a:cs typeface="Times New Roman" panose="02020603050405020304" pitchFamily="18" charset="0"/>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numRef>
              <c:f>Feuil1!$B$2:$E$2</c:f>
              <c:numCache>
                <c:formatCode>General</c:formatCode>
                <c:ptCount val="4"/>
                <c:pt idx="0">
                  <c:v>2016</c:v>
                </c:pt>
                <c:pt idx="1">
                  <c:v>2017</c:v>
                </c:pt>
                <c:pt idx="2">
                  <c:v>2018</c:v>
                </c:pt>
                <c:pt idx="3">
                  <c:v>2019</c:v>
                </c:pt>
              </c:numCache>
            </c:numRef>
          </c:cat>
          <c:val>
            <c:numRef>
              <c:f>Feuil1!$B$3:$E$3</c:f>
              <c:numCache>
                <c:formatCode>General</c:formatCode>
                <c:ptCount val="4"/>
                <c:pt idx="0">
                  <c:v>700</c:v>
                </c:pt>
                <c:pt idx="1">
                  <c:v>500</c:v>
                </c:pt>
                <c:pt idx="2">
                  <c:v>1617</c:v>
                </c:pt>
                <c:pt idx="3">
                  <c:v>800</c:v>
                </c:pt>
              </c:numCache>
            </c:numRef>
          </c:val>
          <c:extLst xmlns:c16r2="http://schemas.microsoft.com/office/drawing/2015/06/chart">
            <c:ext xmlns:c16="http://schemas.microsoft.com/office/drawing/2014/chart" uri="{C3380CC4-5D6E-409C-BE32-E72D297353CC}">
              <c16:uniqueId val="{00000000-E0EB-4156-8E4F-B39AFFBB6D5D}"/>
            </c:ext>
          </c:extLst>
        </c:ser>
        <c:ser>
          <c:idx val="1"/>
          <c:order val="1"/>
          <c:tx>
            <c:strRef>
              <c:f>Feuil1!$A$4</c:f>
              <c:strCache>
                <c:ptCount val="1"/>
                <c:pt idx="0">
                  <c:v>إنتاج الحبوب (الف طن)</c:v>
                </c:pt>
              </c:strCache>
            </c:strRef>
          </c:tx>
          <c:spPr>
            <a:solidFill>
              <a:schemeClr val="accent3">
                <a:lumMod val="20000"/>
                <a:lumOff val="80000"/>
              </a:schemeClr>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2"/>
                    </a:solidFill>
                    <a:latin typeface="Times New Roman" panose="02020603050405020304" pitchFamily="18" charset="0"/>
                    <a:ea typeface="+mn-ea"/>
                    <a:cs typeface="Times New Roman" panose="02020603050405020304" pitchFamily="18" charset="0"/>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numRef>
              <c:f>Feuil1!$B$2:$E$2</c:f>
              <c:numCache>
                <c:formatCode>General</c:formatCode>
                <c:ptCount val="4"/>
                <c:pt idx="0">
                  <c:v>2016</c:v>
                </c:pt>
                <c:pt idx="1">
                  <c:v>2017</c:v>
                </c:pt>
                <c:pt idx="2">
                  <c:v>2018</c:v>
                </c:pt>
                <c:pt idx="3">
                  <c:v>2019</c:v>
                </c:pt>
              </c:numCache>
            </c:numRef>
          </c:cat>
          <c:val>
            <c:numRef>
              <c:f>Feuil1!$B$4:$E$4</c:f>
              <c:numCache>
                <c:formatCode>General</c:formatCode>
                <c:ptCount val="4"/>
                <c:pt idx="0">
                  <c:v>1288</c:v>
                </c:pt>
                <c:pt idx="1">
                  <c:v>1604</c:v>
                </c:pt>
                <c:pt idx="2">
                  <c:v>1410</c:v>
                </c:pt>
                <c:pt idx="3">
                  <c:v>2400</c:v>
                </c:pt>
              </c:numCache>
            </c:numRef>
          </c:val>
          <c:extLst xmlns:c16r2="http://schemas.microsoft.com/office/drawing/2015/06/chart">
            <c:ext xmlns:c16="http://schemas.microsoft.com/office/drawing/2014/chart" uri="{C3380CC4-5D6E-409C-BE32-E72D297353CC}">
              <c16:uniqueId val="{00000001-E0EB-4156-8E4F-B39AFFBB6D5D}"/>
            </c:ext>
          </c:extLst>
        </c:ser>
        <c:ser>
          <c:idx val="2"/>
          <c:order val="2"/>
          <c:tx>
            <c:strRef>
              <c:f>Feuil1!#REF!</c:f>
              <c:strCache>
                <c:ptCount val="1"/>
                <c:pt idx="0">
                  <c:v>#REF!</c:v>
                </c:pt>
              </c:strCache>
            </c:strRef>
          </c:tx>
          <c:spPr>
            <a:solidFill>
              <a:schemeClr val="accent3"/>
            </a:solidFill>
            <a:ln>
              <a:noFill/>
            </a:ln>
            <a:effectLst/>
          </c:spPr>
          <c:cat>
            <c:numRef>
              <c:f>Feuil1!$B$2:$E$2</c:f>
              <c:numCache>
                <c:formatCode>General</c:formatCode>
                <c:ptCount val="4"/>
                <c:pt idx="0">
                  <c:v>2016</c:v>
                </c:pt>
                <c:pt idx="1">
                  <c:v>2017</c:v>
                </c:pt>
                <c:pt idx="2">
                  <c:v>2018</c:v>
                </c:pt>
                <c:pt idx="3">
                  <c:v>2019</c:v>
                </c:pt>
              </c:numCache>
            </c:numRef>
          </c:cat>
          <c:val>
            <c:numRef>
              <c:f>Feuil1!#REF!</c:f>
              <c:numCache>
                <c:formatCode>General</c:formatCode>
                <c:ptCount val="1"/>
                <c:pt idx="0">
                  <c:v>1</c:v>
                </c:pt>
              </c:numCache>
            </c:numRef>
          </c:val>
          <c:extLst xmlns:c16r2="http://schemas.microsoft.com/office/drawing/2015/06/chart">
            <c:ext xmlns:c16="http://schemas.microsoft.com/office/drawing/2014/chart" uri="{C3380CC4-5D6E-409C-BE32-E72D297353CC}">
              <c16:uniqueId val="{00000002-E0EB-4156-8E4F-B39AFFBB6D5D}"/>
            </c:ext>
          </c:extLst>
        </c:ser>
        <c:gapWidth val="107"/>
        <c:overlap val="-43"/>
        <c:axId val="181550080"/>
        <c:axId val="181494528"/>
      </c:barChart>
      <c:catAx>
        <c:axId val="181550080"/>
        <c:scaling>
          <c:orientation val="maxMin"/>
        </c:scaling>
        <c:axPos val="b"/>
        <c:majorGridlines>
          <c:spPr>
            <a:ln w="9525" cap="flat" cmpd="sng" algn="ctr">
              <a:solidFill>
                <a:schemeClr val="dk1">
                  <a:lumMod val="15000"/>
                  <a:lumOff val="85000"/>
                </a:schemeClr>
              </a:solidFill>
              <a:round/>
            </a:ln>
            <a:effectLst/>
          </c:spPr>
        </c:majorGridlines>
        <c:numFmt formatCode="General" sourceLinked="1"/>
        <c:maj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1" i="0" u="none" strike="noStrike" kern="1200" cap="none" spc="0" normalizeH="0" baseline="0">
                <a:solidFill>
                  <a:schemeClr val="dk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81494528"/>
        <c:crosses val="autoZero"/>
        <c:auto val="1"/>
        <c:lblAlgn val="ctr"/>
        <c:lblOffset val="100"/>
      </c:catAx>
      <c:valAx>
        <c:axId val="181494528"/>
        <c:scaling>
          <c:orientation val="minMax"/>
        </c:scaling>
        <c:axPos val="r"/>
        <c:majorGridlines>
          <c:spPr>
            <a:ln w="9525" cap="flat" cmpd="sng" algn="ctr">
              <a:solidFill>
                <a:schemeClr val="dk1">
                  <a:lumMod val="15000"/>
                  <a:lumOff val="85000"/>
                </a:schemeClr>
              </a:solidFill>
              <a:round/>
            </a:ln>
            <a:effectLst/>
          </c:spPr>
        </c:majorGridlines>
        <c:numFmt formatCode="#,##0" sourceLinked="0"/>
        <c:tickLblPos val="nextTo"/>
        <c:spPr>
          <a:noFill/>
          <a:ln>
            <a:noFill/>
          </a:ln>
          <a:effectLst/>
        </c:spPr>
        <c:txPr>
          <a:bodyPr rot="-60000000" spcFirstLastPara="1" vertOverflow="ellipsis" vert="horz" wrap="square" anchor="ctr" anchorCtr="1"/>
          <a:lstStyle/>
          <a:p>
            <a:pPr>
              <a:defRPr sz="900" b="1" i="0" u="none" strike="noStrike" kern="1200" baseline="0">
                <a:solidFill>
                  <a:schemeClr val="dk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81550080"/>
        <c:crosses val="autoZero"/>
        <c:crossBetween val="between"/>
      </c:valAx>
      <c:spPr>
        <a:noFill/>
        <a:ln>
          <a:noFill/>
        </a:ln>
        <a:effectLst/>
      </c:spPr>
    </c:plotArea>
    <c:legend>
      <c:legendPos val="b"/>
      <c:legendEntry>
        <c:idx val="2"/>
        <c:delete val="1"/>
      </c:legendEntry>
      <c:layout>
        <c:manualLayout>
          <c:xMode val="edge"/>
          <c:yMode val="edge"/>
          <c:x val="0.20218078027967798"/>
          <c:y val="0.89395540518272254"/>
          <c:w val="0.43509225539628771"/>
          <c:h val="0.10604446361380321"/>
        </c:manualLayout>
      </c:layout>
      <c:spPr>
        <a:noFill/>
        <a:ln>
          <a:noFill/>
        </a:ln>
        <a:effectLst/>
      </c:spPr>
      <c:txPr>
        <a:bodyPr rot="0" spcFirstLastPara="1" vertOverflow="ellipsis" vert="horz" wrap="square" anchor="ctr" anchorCtr="1"/>
        <a:lstStyle/>
        <a:p>
          <a:pPr>
            <a:defRPr sz="1100" b="1" i="0" u="none" strike="noStrike" kern="1200" baseline="0">
              <a:solidFill>
                <a:schemeClr val="dk1">
                  <a:lumMod val="65000"/>
                  <a:lumOff val="35000"/>
                </a:schemeClr>
              </a:solidFill>
              <a:latin typeface="Simplified Arabic" panose="02020603050405020304" pitchFamily="18" charset="-78"/>
              <a:ea typeface="+mn-ea"/>
              <a:cs typeface="Simplified Arabic" panose="02020603050405020304" pitchFamily="18" charset="-78"/>
            </a:defRPr>
          </a:pPr>
          <a:endParaRPr lang="fr-FR"/>
        </a:p>
      </c:txPr>
    </c:legend>
    <c:plotVisOnly val="1"/>
    <c:dispBlanksAs val="gap"/>
  </c:chart>
  <c:spPr>
    <a:solidFill>
      <a:schemeClr val="lt1"/>
    </a:solidFill>
    <a:ln w="9525" cap="flat" cmpd="sng" algn="ctr">
      <a:solidFill>
        <a:schemeClr val="accent1"/>
      </a:solidFill>
      <a:round/>
    </a:ln>
    <a:effectLst/>
  </c:spPr>
  <c:txPr>
    <a:bodyPr/>
    <a:lstStyle/>
    <a:p>
      <a:pPr>
        <a:defRPr/>
      </a:pPr>
      <a:endParaRPr lang="fr-FR"/>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fr-FR"/>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Simplified Arabic" panose="02020603050405020304" pitchFamily="18" charset="-78"/>
                <a:ea typeface="+mn-ea"/>
                <a:cs typeface="Simplified Arabic" panose="02020603050405020304" pitchFamily="18" charset="-78"/>
              </a:defRPr>
            </a:pPr>
            <a:r>
              <a:rPr lang="ar-TN" dirty="0" err="1">
                <a:latin typeface="Simplified Arabic" panose="02020603050405020304" pitchFamily="18" charset="-78"/>
                <a:cs typeface="Simplified Arabic" panose="02020603050405020304" pitchFamily="18" charset="-78"/>
              </a:rPr>
              <a:t>البيتات</a:t>
            </a:r>
            <a:r>
              <a:rPr lang="ar-TN" dirty="0">
                <a:latin typeface="Simplified Arabic" panose="02020603050405020304" pitchFamily="18" charset="-78"/>
                <a:cs typeface="Simplified Arabic" panose="02020603050405020304" pitchFamily="18" charset="-78"/>
              </a:rPr>
              <a:t> السياحية </a:t>
            </a:r>
            <a:r>
              <a:rPr lang="ar-TN" dirty="0" smtClean="0">
                <a:latin typeface="Simplified Arabic" panose="02020603050405020304" pitchFamily="18" charset="-78"/>
                <a:cs typeface="Simplified Arabic" panose="02020603050405020304" pitchFamily="18" charset="-78"/>
              </a:rPr>
              <a:t>(</a:t>
            </a:r>
            <a:r>
              <a:rPr lang="ar-TN" dirty="0" err="1" smtClean="0">
                <a:latin typeface="Simplified Arabic" panose="02020603050405020304" pitchFamily="18" charset="-78"/>
                <a:cs typeface="Simplified Arabic" panose="02020603050405020304" pitchFamily="18" charset="-78"/>
              </a:rPr>
              <a:t>بالالف</a:t>
            </a:r>
            <a:r>
              <a:rPr lang="ar-TN" dirty="0" smtClean="0">
                <a:latin typeface="Simplified Arabic" panose="02020603050405020304" pitchFamily="18" charset="-78"/>
                <a:cs typeface="Simplified Arabic" panose="02020603050405020304" pitchFamily="18" charset="-78"/>
              </a:rPr>
              <a:t>)</a:t>
            </a:r>
            <a:endParaRPr lang="ar-TN" dirty="0">
              <a:latin typeface="Simplified Arabic" panose="02020603050405020304" pitchFamily="18" charset="-78"/>
              <a:cs typeface="Simplified Arabic" panose="02020603050405020304" pitchFamily="18" charset="-78"/>
            </a:endParaRPr>
          </a:p>
        </c:rich>
      </c:tx>
      <c:layout/>
      <c:spPr>
        <a:noFill/>
        <a:ln>
          <a:noFill/>
        </a:ln>
        <a:effectLst/>
      </c:spPr>
    </c:title>
    <c:plotArea>
      <c:layout>
        <c:manualLayout>
          <c:layoutTarget val="inner"/>
          <c:xMode val="edge"/>
          <c:yMode val="edge"/>
          <c:x val="0.14236265758107741"/>
          <c:y val="0.15446457088720036"/>
          <c:w val="0.73194565514389021"/>
          <c:h val="0.65898965137575183"/>
        </c:manualLayout>
      </c:layout>
      <c:barChart>
        <c:barDir val="col"/>
        <c:grouping val="clustered"/>
        <c:ser>
          <c:idx val="0"/>
          <c:order val="0"/>
          <c:tx>
            <c:strRef>
              <c:f>Feuil1!$A$10</c:f>
              <c:strCache>
                <c:ptCount val="1"/>
                <c:pt idx="0">
                  <c:v>البيتات السياحية بالالف</c:v>
                </c:pt>
              </c:strCache>
            </c:strRef>
          </c:tx>
          <c:spPr>
            <a:solidFill>
              <a:schemeClr val="accent1"/>
            </a:solidFill>
            <a:ln>
              <a:noFill/>
            </a:ln>
            <a:effectLst/>
          </c:spPr>
          <c:dLbls>
            <c:dLbl>
              <c:idx val="2"/>
              <c:layout/>
              <c:showVal val="1"/>
              <c:extLst xmlns:c16r2="http://schemas.microsoft.com/office/drawing/2015/06/chart">
                <c:ext xmlns:c16="http://schemas.microsoft.com/office/drawing/2014/chart" uri="{C3380CC4-5D6E-409C-BE32-E72D297353CC}">
                  <c16:uniqueId val="{00000000-90A6-4B09-9E54-85CB37AE47CF}"/>
                </c:ext>
                <c:ext xmlns:c15="http://schemas.microsoft.com/office/drawing/2012/chart" uri="{CE6537A1-D6FC-4f65-9D91-7224C49458BB}">
                  <c15:layout/>
                </c:ext>
              </c:extLst>
            </c:dLbl>
            <c:dLbl>
              <c:idx val="7"/>
              <c:layout/>
              <c:showVal val="1"/>
              <c:extLst xmlns:c16r2="http://schemas.microsoft.com/office/drawing/2015/06/chart">
                <c:ext xmlns:c16="http://schemas.microsoft.com/office/drawing/2014/chart" uri="{C3380CC4-5D6E-409C-BE32-E72D297353CC}">
                  <c16:uniqueId val="{00000000-12DD-4948-8228-37F06C787133}"/>
                </c:ext>
                <c:ext xmlns:c15="http://schemas.microsoft.com/office/drawing/2012/chart" uri="{CE6537A1-D6FC-4f65-9D91-7224C49458BB}">
                  <c15:layout/>
                </c:ext>
              </c:extLst>
            </c:dLbl>
            <c:dLbl>
              <c:idx val="12"/>
              <c:layout/>
              <c:showVal val="1"/>
              <c:extLst xmlns:c16r2="http://schemas.microsoft.com/office/drawing/2015/06/chart">
                <c:ext xmlns:c16="http://schemas.microsoft.com/office/drawing/2014/chart" uri="{C3380CC4-5D6E-409C-BE32-E72D297353CC}">
                  <c16:uniqueId val="{00000001-12DD-4948-8228-37F06C787133}"/>
                </c:ext>
                <c:ext xmlns:c15="http://schemas.microsoft.com/office/drawing/2012/chart" uri="{CE6537A1-D6FC-4f65-9D91-7224C49458BB}">
                  <c15:layout/>
                </c:ext>
              </c:extLst>
            </c:dLbl>
            <c:delete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9:$N$9</c:f>
              <c:strCache>
                <c:ptCount val="13"/>
                <c:pt idx="0">
                  <c:v>ث1-2017</c:v>
                </c:pt>
                <c:pt idx="1">
                  <c:v>ث2-2017</c:v>
                </c:pt>
                <c:pt idx="2">
                  <c:v>ث3-2017</c:v>
                </c:pt>
                <c:pt idx="3">
                  <c:v>ث4-2017</c:v>
                </c:pt>
                <c:pt idx="5">
                  <c:v>ث1-2018</c:v>
                </c:pt>
                <c:pt idx="6">
                  <c:v>ث2-2018</c:v>
                </c:pt>
                <c:pt idx="7">
                  <c:v>ث3-2018</c:v>
                </c:pt>
                <c:pt idx="8">
                  <c:v>ث4-2018</c:v>
                </c:pt>
                <c:pt idx="10">
                  <c:v>ث1-2019</c:v>
                </c:pt>
                <c:pt idx="11">
                  <c:v>ث2-2019</c:v>
                </c:pt>
                <c:pt idx="12">
                  <c:v>ث3-2019</c:v>
                </c:pt>
              </c:strCache>
            </c:strRef>
          </c:cat>
          <c:val>
            <c:numRef>
              <c:f>Feuil1!$B$10:$N$10</c:f>
              <c:numCache>
                <c:formatCode>General</c:formatCode>
                <c:ptCount val="13"/>
                <c:pt idx="0">
                  <c:v>2249.3000000000002</c:v>
                </c:pt>
                <c:pt idx="1">
                  <c:v>4179.2</c:v>
                </c:pt>
                <c:pt idx="2">
                  <c:v>11676.1</c:v>
                </c:pt>
                <c:pt idx="3">
                  <c:v>3937.9</c:v>
                </c:pt>
                <c:pt idx="5">
                  <c:v>2725</c:v>
                </c:pt>
                <c:pt idx="6">
                  <c:v>6448.5</c:v>
                </c:pt>
                <c:pt idx="7">
                  <c:v>13317.1</c:v>
                </c:pt>
                <c:pt idx="8">
                  <c:v>4572.5</c:v>
                </c:pt>
                <c:pt idx="10">
                  <c:v>3276.1</c:v>
                </c:pt>
                <c:pt idx="11">
                  <c:v>7306.8</c:v>
                </c:pt>
                <c:pt idx="12">
                  <c:v>14620.6</c:v>
                </c:pt>
              </c:numCache>
            </c:numRef>
          </c:val>
          <c:extLst xmlns:c16r2="http://schemas.microsoft.com/office/drawing/2015/06/chart">
            <c:ext xmlns:c16="http://schemas.microsoft.com/office/drawing/2014/chart" uri="{C3380CC4-5D6E-409C-BE32-E72D297353CC}">
              <c16:uniqueId val="{00000003-90A6-4B09-9E54-85CB37AE47CF}"/>
            </c:ext>
          </c:extLst>
        </c:ser>
        <c:gapWidth val="50"/>
        <c:axId val="181659136"/>
        <c:axId val="181660672"/>
      </c:barChart>
      <c:catAx>
        <c:axId val="181659136"/>
        <c:scaling>
          <c:orientation val="maxMin"/>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81660672"/>
        <c:crosses val="autoZero"/>
        <c:auto val="1"/>
        <c:lblAlgn val="ctr"/>
        <c:lblOffset val="100"/>
      </c:catAx>
      <c:valAx>
        <c:axId val="181660672"/>
        <c:scaling>
          <c:orientation val="minMax"/>
        </c:scaling>
        <c:axPos val="r"/>
        <c:numFmt formatCode="General" sourceLinked="1"/>
        <c:maj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81659136"/>
        <c:crosses val="autoZero"/>
        <c:crossBetween val="between"/>
      </c:valAx>
      <c:spPr>
        <a:noFill/>
        <a:ln>
          <a:noFill/>
        </a:ln>
        <a:effectLst/>
      </c:spPr>
    </c:plotArea>
    <c:plotVisOnly val="1"/>
    <c:dispBlanksAs val="gap"/>
  </c:chart>
  <c:spPr>
    <a:noFill/>
    <a:ln>
      <a:solidFill>
        <a:srgbClr val="C00000"/>
      </a:solidFill>
    </a:ln>
    <a:effectLst/>
  </c:spPr>
  <c:txPr>
    <a:bodyPr/>
    <a:lstStyle/>
    <a:p>
      <a:pPr>
        <a:defRPr/>
      </a:pPr>
      <a:endParaRPr lang="fr-FR"/>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fr-FR"/>
  <c:chart>
    <c:title>
      <c:layout/>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Simplified Arabic" panose="02020603050405020304" pitchFamily="18" charset="-78"/>
              <a:ea typeface="+mn-ea"/>
              <a:cs typeface="Simplified Arabic" panose="02020603050405020304" pitchFamily="18" charset="-78"/>
            </a:defRPr>
          </a:pPr>
          <a:endParaRPr lang="fr-FR"/>
        </a:p>
      </c:txPr>
    </c:title>
    <c:plotArea>
      <c:layout>
        <c:manualLayout>
          <c:layoutTarget val="inner"/>
          <c:xMode val="edge"/>
          <c:yMode val="edge"/>
          <c:x val="0.11320324517185533"/>
          <c:y val="0.18456287827728374"/>
          <c:w val="0.80402365597127035"/>
          <c:h val="0.63920217851447214"/>
        </c:manualLayout>
      </c:layout>
      <c:barChart>
        <c:barDir val="col"/>
        <c:grouping val="clustered"/>
        <c:ser>
          <c:idx val="0"/>
          <c:order val="0"/>
          <c:tx>
            <c:strRef>
              <c:f>Feuil1!$A$30</c:f>
              <c:strCache>
                <c:ptCount val="1"/>
                <c:pt idx="0">
                  <c:v>العائدات السياحية (م د)</c:v>
                </c:pt>
              </c:strCache>
            </c:strRef>
          </c:tx>
          <c:spPr>
            <a:solidFill>
              <a:schemeClr val="accent1"/>
            </a:solidFill>
            <a:ln>
              <a:noFill/>
            </a:ln>
            <a:effectLst/>
          </c:spPr>
          <c:dPt>
            <c:idx val="13"/>
            <c:spPr>
              <a:pattFill prst="wdUpDiag">
                <a:fgClr>
                  <a:schemeClr val="accent1"/>
                </a:fgClr>
                <a:bgClr>
                  <a:schemeClr val="bg1"/>
                </a:bgClr>
              </a:pattFill>
              <a:ln>
                <a:noFill/>
              </a:ln>
              <a:effectLst/>
            </c:spPr>
            <c:extLst xmlns:c16r2="http://schemas.microsoft.com/office/drawing/2015/06/chart">
              <c:ext xmlns:c16="http://schemas.microsoft.com/office/drawing/2014/chart" uri="{C3380CC4-5D6E-409C-BE32-E72D297353CC}">
                <c16:uniqueId val="{0000000A-E372-487F-92F8-0B0FE738D794}"/>
              </c:ext>
            </c:extLst>
          </c:dPt>
          <c:dLbls>
            <c:dLbl>
              <c:idx val="2"/>
              <c:layout/>
              <c:showVal val="1"/>
              <c:extLst xmlns:c16r2="http://schemas.microsoft.com/office/drawing/2015/06/chart">
                <c:ext xmlns:c16="http://schemas.microsoft.com/office/drawing/2014/chart" uri="{C3380CC4-5D6E-409C-BE32-E72D297353CC}">
                  <c16:uniqueId val="{00000000-3823-48FA-849D-149EC6EC3689}"/>
                </c:ext>
                <c:ext xmlns:c15="http://schemas.microsoft.com/office/drawing/2012/chart" uri="{CE6537A1-D6FC-4f65-9D91-7224C49458BB}">
                  <c15:layout/>
                </c:ext>
              </c:extLst>
            </c:dLbl>
            <c:dLbl>
              <c:idx val="7"/>
              <c:layout/>
              <c:showVal val="1"/>
              <c:extLst xmlns:c16r2="http://schemas.microsoft.com/office/drawing/2015/06/chart">
                <c:ext xmlns:c16="http://schemas.microsoft.com/office/drawing/2014/chart" uri="{C3380CC4-5D6E-409C-BE32-E72D297353CC}">
                  <c16:uniqueId val="{00000005-E372-487F-92F8-0B0FE738D794}"/>
                </c:ext>
                <c:ext xmlns:c15="http://schemas.microsoft.com/office/drawing/2012/chart" uri="{CE6537A1-D6FC-4f65-9D91-7224C49458BB}">
                  <c15:layout/>
                </c:ext>
              </c:extLst>
            </c:dLbl>
            <c:dLbl>
              <c:idx val="12"/>
              <c:layout/>
              <c:showVal val="1"/>
              <c:extLst xmlns:c16r2="http://schemas.microsoft.com/office/drawing/2015/06/chart">
                <c:ext xmlns:c16="http://schemas.microsoft.com/office/drawing/2014/chart" uri="{C3380CC4-5D6E-409C-BE32-E72D297353CC}">
                  <c16:uniqueId val="{00000008-E372-487F-92F8-0B0FE738D794}"/>
                </c:ext>
                <c:ext xmlns:c15="http://schemas.microsoft.com/office/drawing/2012/chart" uri="{CE6537A1-D6FC-4f65-9D91-7224C49458BB}">
                  <c15:layout/>
                </c:ext>
              </c:extLst>
            </c:dLbl>
            <c:delete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29:$O$29</c:f>
              <c:strCache>
                <c:ptCount val="13"/>
                <c:pt idx="0">
                  <c:v>ث1-2017</c:v>
                </c:pt>
                <c:pt idx="1">
                  <c:v>ث2-2017</c:v>
                </c:pt>
                <c:pt idx="2">
                  <c:v>ث3-2017</c:v>
                </c:pt>
                <c:pt idx="3">
                  <c:v>ث4-2017</c:v>
                </c:pt>
                <c:pt idx="5">
                  <c:v>ث1-2018</c:v>
                </c:pt>
                <c:pt idx="6">
                  <c:v>ث2-2018</c:v>
                </c:pt>
                <c:pt idx="7">
                  <c:v>ث3-2018</c:v>
                </c:pt>
                <c:pt idx="8">
                  <c:v>ث4-2018</c:v>
                </c:pt>
                <c:pt idx="10">
                  <c:v>ث1-2019</c:v>
                </c:pt>
                <c:pt idx="11">
                  <c:v>ث2-2019</c:v>
                </c:pt>
                <c:pt idx="12">
                  <c:v>ث3-2019</c:v>
                </c:pt>
              </c:strCache>
            </c:strRef>
          </c:cat>
          <c:val>
            <c:numRef>
              <c:f>Feuil1!$B$30:$O$30</c:f>
              <c:numCache>
                <c:formatCode>General</c:formatCode>
                <c:ptCount val="14"/>
                <c:pt idx="0">
                  <c:v>371.6</c:v>
                </c:pt>
                <c:pt idx="1">
                  <c:v>513.70000000000005</c:v>
                </c:pt>
                <c:pt idx="2">
                  <c:v>1260</c:v>
                </c:pt>
                <c:pt idx="3">
                  <c:v>686.3</c:v>
                </c:pt>
                <c:pt idx="5">
                  <c:v>582.9</c:v>
                </c:pt>
                <c:pt idx="6">
                  <c:v>807.8</c:v>
                </c:pt>
                <c:pt idx="7">
                  <c:v>1703.6</c:v>
                </c:pt>
                <c:pt idx="8">
                  <c:v>1046.9000000000001</c:v>
                </c:pt>
                <c:pt idx="10">
                  <c:v>875.4</c:v>
                </c:pt>
                <c:pt idx="11">
                  <c:v>1106.3</c:v>
                </c:pt>
                <c:pt idx="12">
                  <c:v>2452.3000000000002</c:v>
                </c:pt>
              </c:numCache>
            </c:numRef>
          </c:val>
          <c:extLst xmlns:c16r2="http://schemas.microsoft.com/office/drawing/2015/06/chart">
            <c:ext xmlns:c16="http://schemas.microsoft.com/office/drawing/2014/chart" uri="{C3380CC4-5D6E-409C-BE32-E72D297353CC}">
              <c16:uniqueId val="{00000003-3823-48FA-849D-149EC6EC3689}"/>
            </c:ext>
          </c:extLst>
        </c:ser>
        <c:gapWidth val="50"/>
        <c:axId val="181730304"/>
        <c:axId val="181814016"/>
      </c:barChart>
      <c:catAx>
        <c:axId val="181730304"/>
        <c:scaling>
          <c:orientation val="maxMin"/>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81814016"/>
        <c:crosses val="autoZero"/>
        <c:auto val="1"/>
        <c:lblAlgn val="ctr"/>
        <c:lblOffset val="100"/>
      </c:catAx>
      <c:valAx>
        <c:axId val="181814016"/>
        <c:scaling>
          <c:orientation val="minMax"/>
        </c:scaling>
        <c:axPos val="r"/>
        <c:numFmt formatCode="General" sourceLinked="1"/>
        <c:maj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81730304"/>
        <c:crosses val="autoZero"/>
        <c:crossBetween val="between"/>
      </c:valAx>
      <c:spPr>
        <a:noFill/>
        <a:ln>
          <a:noFill/>
        </a:ln>
        <a:effectLst/>
      </c:spPr>
    </c:plotArea>
    <c:plotVisOnly val="1"/>
    <c:dispBlanksAs val="gap"/>
  </c:chart>
  <c:spPr>
    <a:noFill/>
    <a:ln>
      <a:solidFill>
        <a:srgbClr val="C00000"/>
      </a:solidFill>
    </a:ln>
    <a:effectLst/>
  </c:spPr>
  <c:txPr>
    <a:bodyPr/>
    <a:lstStyle/>
    <a:p>
      <a:pPr>
        <a:defRPr/>
      </a:pPr>
      <a:endParaRPr lang="fr-FR"/>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fr-FR"/>
  <c:chart>
    <c:autoTitleDeleted val="1"/>
    <c:plotArea>
      <c:layout>
        <c:manualLayout>
          <c:layoutTarget val="inner"/>
          <c:xMode val="edge"/>
          <c:yMode val="edge"/>
          <c:x val="2.0654202908996995E-4"/>
          <c:y val="0.15007807875879961"/>
          <c:w val="0.9219711643873828"/>
          <c:h val="0.56463021560291882"/>
        </c:manualLayout>
      </c:layout>
      <c:lineChart>
        <c:grouping val="standard"/>
        <c:ser>
          <c:idx val="0"/>
          <c:order val="0"/>
          <c:tx>
            <c:strRef>
              <c:f>Feuil1!$A$8</c:f>
              <c:strCache>
                <c:ptCount val="1"/>
                <c:pt idx="0">
                  <c:v>الصناعات الميكانيكية والكهربائية</c:v>
                </c:pt>
              </c:strCache>
            </c:strRef>
          </c:tx>
          <c:spPr>
            <a:ln w="28575" cap="rnd">
              <a:solidFill>
                <a:schemeClr val="accent1"/>
              </a:solidFill>
              <a:round/>
            </a:ln>
            <a:effectLst/>
          </c:spPr>
          <c:marker>
            <c:symbol val="none"/>
          </c:marker>
          <c:cat>
            <c:strRef>
              <c:f>Feuil1!$F$7:$P$7</c:f>
              <c:strCache>
                <c:ptCount val="11"/>
                <c:pt idx="0">
                  <c:v>ث1 -2017</c:v>
                </c:pt>
                <c:pt idx="1">
                  <c:v>ث2-2017</c:v>
                </c:pt>
                <c:pt idx="2">
                  <c:v>ث3-2017</c:v>
                </c:pt>
                <c:pt idx="3">
                  <c:v>ث4-2017</c:v>
                </c:pt>
                <c:pt idx="4">
                  <c:v>ث1-2018</c:v>
                </c:pt>
                <c:pt idx="5">
                  <c:v>ث2-2018</c:v>
                </c:pt>
                <c:pt idx="6">
                  <c:v>ث3-2018</c:v>
                </c:pt>
                <c:pt idx="7">
                  <c:v>ث4-2018</c:v>
                </c:pt>
                <c:pt idx="8">
                  <c:v>ث1-2019</c:v>
                </c:pt>
                <c:pt idx="9">
                  <c:v>ث2-2019</c:v>
                </c:pt>
                <c:pt idx="10">
                  <c:v>ث3-2019</c:v>
                </c:pt>
              </c:strCache>
            </c:strRef>
          </c:cat>
          <c:val>
            <c:numRef>
              <c:f>Feuil1!$F$8:$P$8</c:f>
              <c:numCache>
                <c:formatCode>0.0%</c:formatCode>
                <c:ptCount val="11"/>
                <c:pt idx="0">
                  <c:v>1.7926792566610179E-2</c:v>
                </c:pt>
                <c:pt idx="1">
                  <c:v>3.780189634529621E-2</c:v>
                </c:pt>
                <c:pt idx="2">
                  <c:v>3.1321625760401872E-2</c:v>
                </c:pt>
                <c:pt idx="3">
                  <c:v>4.6648163573783354E-2</c:v>
                </c:pt>
                <c:pt idx="4">
                  <c:v>5.1000000000000004E-2</c:v>
                </c:pt>
                <c:pt idx="5">
                  <c:v>-4.0000000000000036E-3</c:v>
                </c:pt>
                <c:pt idx="6">
                  <c:v>3.0000000000000018E-3</c:v>
                </c:pt>
                <c:pt idx="7">
                  <c:v>1.3000000000000001E-2</c:v>
                </c:pt>
                <c:pt idx="8">
                  <c:v>-9.0000000000000028E-3</c:v>
                </c:pt>
                <c:pt idx="9">
                  <c:v>1.0000000000000009E-3</c:v>
                </c:pt>
                <c:pt idx="10">
                  <c:v>-2.3E-2</c:v>
                </c:pt>
              </c:numCache>
            </c:numRef>
          </c:val>
          <c:smooth val="1"/>
          <c:extLst xmlns:c16r2="http://schemas.microsoft.com/office/drawing/2015/06/chart">
            <c:ext xmlns:c16="http://schemas.microsoft.com/office/drawing/2014/chart" uri="{C3380CC4-5D6E-409C-BE32-E72D297353CC}">
              <c16:uniqueId val="{00000001-B3E8-459E-93EF-8E551FC27E4B}"/>
            </c:ext>
          </c:extLst>
        </c:ser>
        <c:ser>
          <c:idx val="1"/>
          <c:order val="1"/>
          <c:tx>
            <c:strRef>
              <c:f>Feuil1!$A$9</c:f>
              <c:strCache>
                <c:ptCount val="1"/>
                <c:pt idx="0">
                  <c:v>صناعة النسيج والملابس والاحذية</c:v>
                </c:pt>
              </c:strCache>
            </c:strRef>
          </c:tx>
          <c:spPr>
            <a:ln w="28575" cap="rnd">
              <a:solidFill>
                <a:srgbClr val="0070C0"/>
              </a:solidFill>
              <a:round/>
            </a:ln>
            <a:effectLst/>
          </c:spPr>
          <c:marker>
            <c:symbol val="none"/>
          </c:marker>
          <c:cat>
            <c:strRef>
              <c:f>Feuil1!$F$7:$P$7</c:f>
              <c:strCache>
                <c:ptCount val="11"/>
                <c:pt idx="0">
                  <c:v>ث1 -2017</c:v>
                </c:pt>
                <c:pt idx="1">
                  <c:v>ث2-2017</c:v>
                </c:pt>
                <c:pt idx="2">
                  <c:v>ث3-2017</c:v>
                </c:pt>
                <c:pt idx="3">
                  <c:v>ث4-2017</c:v>
                </c:pt>
                <c:pt idx="4">
                  <c:v>ث1-2018</c:v>
                </c:pt>
                <c:pt idx="5">
                  <c:v>ث2-2018</c:v>
                </c:pt>
                <c:pt idx="6">
                  <c:v>ث3-2018</c:v>
                </c:pt>
                <c:pt idx="7">
                  <c:v>ث4-2018</c:v>
                </c:pt>
                <c:pt idx="8">
                  <c:v>ث1-2019</c:v>
                </c:pt>
                <c:pt idx="9">
                  <c:v>ث2-2019</c:v>
                </c:pt>
                <c:pt idx="10">
                  <c:v>ث3-2019</c:v>
                </c:pt>
              </c:strCache>
            </c:strRef>
          </c:cat>
          <c:val>
            <c:numRef>
              <c:f>Feuil1!$F$9:$P$9</c:f>
              <c:numCache>
                <c:formatCode>0.0%</c:formatCode>
                <c:ptCount val="11"/>
                <c:pt idx="0">
                  <c:v>4.0265409284492674E-3</c:v>
                </c:pt>
                <c:pt idx="1">
                  <c:v>-1.0118124498067274E-2</c:v>
                </c:pt>
                <c:pt idx="2">
                  <c:v>3.4021461291378332E-3</c:v>
                </c:pt>
                <c:pt idx="3">
                  <c:v>1.5778934300816731E-2</c:v>
                </c:pt>
                <c:pt idx="4">
                  <c:v>3.0000000000000018E-3</c:v>
                </c:pt>
                <c:pt idx="5">
                  <c:v>2.5000000000000001E-2</c:v>
                </c:pt>
                <c:pt idx="6">
                  <c:v>1.4999999999999998E-2</c:v>
                </c:pt>
                <c:pt idx="7">
                  <c:v>7.0000000000000027E-3</c:v>
                </c:pt>
                <c:pt idx="8">
                  <c:v>-5.0000000000000036E-3</c:v>
                </c:pt>
                <c:pt idx="9">
                  <c:v>-1.6000000000000014E-2</c:v>
                </c:pt>
                <c:pt idx="10">
                  <c:v>-3.7000000000000012E-2</c:v>
                </c:pt>
              </c:numCache>
            </c:numRef>
          </c:val>
          <c:smooth val="1"/>
          <c:extLst xmlns:c16r2="http://schemas.microsoft.com/office/drawing/2015/06/chart">
            <c:ext xmlns:c16="http://schemas.microsoft.com/office/drawing/2014/chart" uri="{C3380CC4-5D6E-409C-BE32-E72D297353CC}">
              <c16:uniqueId val="{00000002-B3E8-459E-93EF-8E551FC27E4B}"/>
            </c:ext>
          </c:extLst>
        </c:ser>
        <c:marker val="1"/>
        <c:axId val="181761152"/>
        <c:axId val="181762688"/>
      </c:lineChart>
      <c:catAx>
        <c:axId val="181761152"/>
        <c:scaling>
          <c:orientation val="maxMin"/>
        </c:scaling>
        <c:axPos val="b"/>
        <c:majorGridlines>
          <c:spPr>
            <a:ln w="9525" cap="flat" cmpd="sng" algn="ctr">
              <a:solidFill>
                <a:schemeClr val="tx1">
                  <a:lumMod val="15000"/>
                  <a:lumOff val="85000"/>
                </a:schemeClr>
              </a:solidFill>
              <a:round/>
            </a:ln>
            <a:effectLst/>
          </c:spPr>
        </c:majorGridlines>
        <c:numFmt formatCode="General" sourceLinked="1"/>
        <c:majorTickMark val="none"/>
        <c:tickLblPos val="low"/>
        <c:spPr>
          <a:noFill/>
          <a:ln w="9525" cap="flat" cmpd="sng" algn="ctr">
            <a:solidFill>
              <a:schemeClr val="tx1"/>
            </a:solidFill>
            <a:round/>
          </a:ln>
          <a:effectLst/>
        </c:spPr>
        <c:txPr>
          <a:bodyPr rot="-60000000" spcFirstLastPara="1" vertOverflow="ellipsis" vert="horz" wrap="square" anchor="ctr" anchorCtr="1"/>
          <a:lstStyle/>
          <a:p>
            <a:pPr rtl="0">
              <a:defRPr sz="700" b="1" i="0" u="none" strike="noStrike" kern="1200" baseline="0">
                <a:solidFill>
                  <a:schemeClr val="tx1"/>
                </a:solidFill>
                <a:latin typeface="Simplified Arabic" panose="02020603050405020304" pitchFamily="18" charset="-78"/>
                <a:ea typeface="+mn-ea"/>
                <a:cs typeface="Simplified Arabic" panose="02020603050405020304" pitchFamily="18" charset="-78"/>
              </a:defRPr>
            </a:pPr>
            <a:endParaRPr lang="fr-FR"/>
          </a:p>
        </c:txPr>
        <c:crossAx val="181762688"/>
        <c:crosses val="autoZero"/>
        <c:auto val="1"/>
        <c:lblAlgn val="ctr"/>
        <c:lblOffset val="100"/>
      </c:catAx>
      <c:valAx>
        <c:axId val="181762688"/>
        <c:scaling>
          <c:orientation val="minMax"/>
          <c:min val="-4.0000000000000022E-2"/>
        </c:scaling>
        <c:axPos val="r"/>
        <c:numFmt formatCode="0%" sourceLinked="0"/>
        <c:majorTickMark val="none"/>
        <c:tickLblPos val="nextTo"/>
        <c:spPr>
          <a:noFill/>
          <a:ln>
            <a:solidFill>
              <a:schemeClr val="tx1"/>
            </a:solidFill>
          </a:ln>
          <a:effectLst/>
        </c:spPr>
        <c:txPr>
          <a:bodyPr rot="-60000000" spcFirstLastPara="1" vertOverflow="ellipsis" vert="horz" wrap="square" anchor="ctr" anchorCtr="1"/>
          <a:lstStyle/>
          <a:p>
            <a:pPr>
              <a:defRPr sz="9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fr-FR"/>
          </a:p>
        </c:txPr>
        <c:crossAx val="181761152"/>
        <c:crosses val="autoZero"/>
        <c:crossBetween val="between"/>
        <c:majorUnit val="2.0000000000000011E-2"/>
      </c:valAx>
      <c:spPr>
        <a:noFill/>
        <a:ln>
          <a:noFill/>
        </a:ln>
        <a:effectLst/>
      </c:spPr>
    </c:plotArea>
    <c:legend>
      <c:legendPos val="b"/>
      <c:layout>
        <c:manualLayout>
          <c:xMode val="edge"/>
          <c:yMode val="edge"/>
          <c:x val="8.3086167859236226E-2"/>
          <c:y val="0.84758026236365569"/>
          <c:w val="0.83382745575997563"/>
          <c:h val="0.15241973763634475"/>
        </c:manualLayout>
      </c:layout>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Simplified Arabic" panose="02020603050405020304" pitchFamily="18" charset="-78"/>
              <a:ea typeface="+mn-ea"/>
              <a:cs typeface="Simplified Arabic" panose="02020603050405020304" pitchFamily="18" charset="-78"/>
            </a:defRPr>
          </a:pPr>
          <a:endParaRPr lang="fr-FR"/>
        </a:p>
      </c:txPr>
    </c:legend>
    <c:plotVisOnly val="1"/>
    <c:dispBlanksAs val="gap"/>
  </c:chart>
  <c:spPr>
    <a:noFill/>
    <a:ln>
      <a:solidFill>
        <a:schemeClr val="accent1"/>
      </a:solidFill>
    </a:ln>
    <a:effectLst/>
  </c:spPr>
  <c:txPr>
    <a:bodyPr/>
    <a:lstStyle/>
    <a:p>
      <a:pPr>
        <a:defRPr/>
      </a:pPr>
      <a:endParaRPr lang="fr-FR"/>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Reversed" id="23">
  <a:schemeClr val="accent3"/>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32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6.emf"/></Relationships>
</file>

<file path=ppt/drawings/drawing1.xml><?xml version="1.0" encoding="utf-8"?>
<c:userShapes xmlns:c="http://schemas.openxmlformats.org/drawingml/2006/chart">
  <cdr:relSizeAnchor xmlns:cdr="http://schemas.openxmlformats.org/drawingml/2006/chartDrawing">
    <cdr:from>
      <cdr:x>0.24578</cdr:x>
      <cdr:y>0.06364</cdr:y>
    </cdr:from>
    <cdr:to>
      <cdr:x>0.36343</cdr:x>
      <cdr:y>0.12231</cdr:y>
    </cdr:to>
    <cdr:sp macro="" textlink="">
      <cdr:nvSpPr>
        <cdr:cNvPr id="12" name="Ellipse 11"/>
        <cdr:cNvSpPr/>
      </cdr:nvSpPr>
      <cdr:spPr>
        <a:xfrm xmlns:a="http://schemas.openxmlformats.org/drawingml/2006/main">
          <a:off x="2052166" y="217997"/>
          <a:ext cx="982340" cy="200963"/>
        </a:xfrm>
        <a:prstGeom xmlns:a="http://schemas.openxmlformats.org/drawingml/2006/main" prst="ellipse">
          <a:avLst/>
        </a:prstGeom>
        <a:noFill xmlns:a="http://schemas.openxmlformats.org/drawingml/2006/main"/>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fr-FR" sz="1100" b="1" dirty="0" smtClean="0">
              <a:solidFill>
                <a:schemeClr val="tx1"/>
              </a:solidFill>
              <a:latin typeface="Times New Roman" panose="02020603050405020304" pitchFamily="18" charset="0"/>
              <a:cs typeface="Times New Roman" panose="02020603050405020304" pitchFamily="18" charset="0"/>
            </a:rPr>
            <a:t>%</a:t>
          </a:r>
          <a:r>
            <a:rPr lang="ar-TN" sz="1200" b="1" dirty="0" smtClean="0">
              <a:solidFill>
                <a:schemeClr val="tx1"/>
              </a:solidFill>
              <a:latin typeface="Times New Roman" panose="02020603050405020304" pitchFamily="18" charset="0"/>
              <a:cs typeface="Times New Roman" panose="02020603050405020304" pitchFamily="18" charset="0"/>
            </a:rPr>
            <a:t>2,5</a:t>
          </a:r>
          <a:endParaRPr lang="fr-FR" sz="1100" b="1" dirty="0">
            <a:solidFill>
              <a:schemeClr val="tx1"/>
            </a:solidFill>
            <a:latin typeface="Times New Roman" panose="02020603050405020304" pitchFamily="18" charset="0"/>
            <a:cs typeface="Times New Roman" panose="02020603050405020304" pitchFamily="18" charset="0"/>
          </a:endParaRPr>
        </a:p>
      </cdr:txBody>
    </cdr:sp>
  </cdr:relSizeAnchor>
  <cdr:relSizeAnchor xmlns:cdr="http://schemas.openxmlformats.org/drawingml/2006/chartDrawing">
    <cdr:from>
      <cdr:x>0.41732</cdr:x>
      <cdr:y>0.06376</cdr:y>
    </cdr:from>
    <cdr:to>
      <cdr:x>0.53497</cdr:x>
      <cdr:y>0.12219</cdr:y>
    </cdr:to>
    <cdr:sp macro="" textlink="">
      <cdr:nvSpPr>
        <cdr:cNvPr id="13" name="Ellipse 12"/>
        <cdr:cNvSpPr/>
      </cdr:nvSpPr>
      <cdr:spPr>
        <a:xfrm xmlns:a="http://schemas.openxmlformats.org/drawingml/2006/main">
          <a:off x="3484512" y="218408"/>
          <a:ext cx="982339" cy="200141"/>
        </a:xfrm>
        <a:prstGeom xmlns:a="http://schemas.openxmlformats.org/drawingml/2006/main" prst="ellipse">
          <a:avLst/>
        </a:prstGeom>
        <a:noFill xmlns:a="http://schemas.openxmlformats.org/drawingml/2006/main"/>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fr-FR" sz="1100" b="1" dirty="0" smtClean="0">
              <a:solidFill>
                <a:schemeClr val="tx1"/>
              </a:solidFill>
              <a:latin typeface="Times New Roman" panose="02020603050405020304" pitchFamily="18" charset="0"/>
              <a:cs typeface="Times New Roman" panose="02020603050405020304" pitchFamily="18" charset="0"/>
            </a:rPr>
            <a:t>%</a:t>
          </a:r>
          <a:r>
            <a:rPr lang="fr-FR" sz="1200" b="1" dirty="0" smtClean="0">
              <a:solidFill>
                <a:schemeClr val="tx1"/>
              </a:solidFill>
              <a:latin typeface="Times New Roman" panose="02020603050405020304" pitchFamily="18" charset="0"/>
              <a:cs typeface="Times New Roman" panose="02020603050405020304" pitchFamily="18" charset="0"/>
            </a:rPr>
            <a:t>1,9</a:t>
          </a:r>
          <a:endParaRPr lang="fr-FR" sz="1100" b="1" dirty="0">
            <a:solidFill>
              <a:schemeClr val="tx1"/>
            </a:solidFill>
            <a:latin typeface="Times New Roman" panose="02020603050405020304" pitchFamily="18" charset="0"/>
            <a:cs typeface="Times New Roman" panose="02020603050405020304" pitchFamily="18" charset="0"/>
          </a:endParaRPr>
        </a:p>
      </cdr:txBody>
    </cdr:sp>
  </cdr:relSizeAnchor>
  <cdr:relSizeAnchor xmlns:cdr="http://schemas.openxmlformats.org/drawingml/2006/chartDrawing">
    <cdr:from>
      <cdr:x>0.61407</cdr:x>
      <cdr:y>0.06261</cdr:y>
    </cdr:from>
    <cdr:to>
      <cdr:x>0.73171</cdr:x>
      <cdr:y>0.12335</cdr:y>
    </cdr:to>
    <cdr:sp macro="" textlink="">
      <cdr:nvSpPr>
        <cdr:cNvPr id="14" name="Ellipse 13"/>
        <cdr:cNvSpPr/>
      </cdr:nvSpPr>
      <cdr:spPr>
        <a:xfrm xmlns:a="http://schemas.openxmlformats.org/drawingml/2006/main">
          <a:off x="5127273" y="214452"/>
          <a:ext cx="982256" cy="208053"/>
        </a:xfrm>
        <a:prstGeom xmlns:a="http://schemas.openxmlformats.org/drawingml/2006/main" prst="ellipse">
          <a:avLst/>
        </a:prstGeom>
        <a:noFill xmlns:a="http://schemas.openxmlformats.org/drawingml/2006/main"/>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fr-FR" sz="1100" b="1" dirty="0" smtClean="0">
              <a:solidFill>
                <a:schemeClr val="tx1"/>
              </a:solidFill>
              <a:latin typeface="Times New Roman" panose="02020603050405020304" pitchFamily="18" charset="0"/>
              <a:cs typeface="Times New Roman" panose="02020603050405020304" pitchFamily="18" charset="0"/>
            </a:rPr>
            <a:t>%</a:t>
          </a:r>
          <a:r>
            <a:rPr lang="fr-FR" sz="1200" b="1" dirty="0" smtClean="0">
              <a:solidFill>
                <a:schemeClr val="tx1"/>
              </a:solidFill>
              <a:latin typeface="Times New Roman" panose="02020603050405020304" pitchFamily="18" charset="0"/>
              <a:cs typeface="Times New Roman" panose="02020603050405020304" pitchFamily="18" charset="0"/>
            </a:rPr>
            <a:t>1,1</a:t>
          </a:r>
          <a:endParaRPr lang="fr-FR" sz="1100" b="1" dirty="0">
            <a:solidFill>
              <a:schemeClr val="tx1"/>
            </a:solidFill>
            <a:latin typeface="Times New Roman" panose="02020603050405020304" pitchFamily="18" charset="0"/>
            <a:cs typeface="Times New Roman" panose="02020603050405020304" pitchFamily="18" charset="0"/>
          </a:endParaRPr>
        </a:p>
      </cdr:txBody>
    </cdr:sp>
  </cdr:relSizeAnchor>
  <cdr:relSizeAnchor xmlns:cdr="http://schemas.openxmlformats.org/drawingml/2006/chartDrawing">
    <cdr:from>
      <cdr:x>0.78063</cdr:x>
      <cdr:y>0.06156</cdr:y>
    </cdr:from>
    <cdr:to>
      <cdr:x>0.92115</cdr:x>
      <cdr:y>0.1244</cdr:y>
    </cdr:to>
    <cdr:sp macro="" textlink="">
      <cdr:nvSpPr>
        <cdr:cNvPr id="7" name="Ellipse 6"/>
        <cdr:cNvSpPr/>
      </cdr:nvSpPr>
      <cdr:spPr>
        <a:xfrm xmlns:a="http://schemas.openxmlformats.org/drawingml/2006/main">
          <a:off x="6518005" y="210856"/>
          <a:ext cx="1173296" cy="215246"/>
        </a:xfrm>
        <a:prstGeom xmlns:a="http://schemas.openxmlformats.org/drawingml/2006/main" prst="ellipse">
          <a:avLst/>
        </a:prstGeom>
        <a:noFill xmlns:a="http://schemas.openxmlformats.org/drawingml/2006/main"/>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fr-FR" sz="1200" b="1" dirty="0" smtClean="0">
              <a:solidFill>
                <a:schemeClr val="tx1"/>
              </a:solidFill>
              <a:latin typeface="Times New Roman" panose="02020603050405020304" pitchFamily="18" charset="0"/>
              <a:cs typeface="Times New Roman" panose="02020603050405020304" pitchFamily="18" charset="0"/>
            </a:rPr>
            <a:t>%1,2</a:t>
          </a:r>
          <a:endParaRPr lang="fr-FR" sz="1200" b="1" dirty="0">
            <a:solidFill>
              <a:schemeClr val="tx1"/>
            </a:solidFill>
            <a:latin typeface="Times New Roman" panose="02020603050405020304" pitchFamily="18" charset="0"/>
            <a:cs typeface="Times New Roman" panose="02020603050405020304" pitchFamily="18" charset="0"/>
          </a:endParaRPr>
        </a:p>
      </cdr:txBody>
    </cdr:sp>
  </cdr:relSizeAnchor>
  <cdr:relSizeAnchor xmlns:cdr="http://schemas.openxmlformats.org/drawingml/2006/chartDrawing">
    <cdr:from>
      <cdr:x>0.08192</cdr:x>
      <cdr:y>0.05282</cdr:y>
    </cdr:from>
    <cdr:to>
      <cdr:x>0.21991</cdr:x>
      <cdr:y>0.13014</cdr:y>
    </cdr:to>
    <cdr:sp macro="" textlink="">
      <cdr:nvSpPr>
        <cdr:cNvPr id="2" name="Rectangle 1"/>
        <cdr:cNvSpPr/>
      </cdr:nvSpPr>
      <cdr:spPr>
        <a:xfrm xmlns:a="http://schemas.openxmlformats.org/drawingml/2006/main">
          <a:off x="684030" y="180919"/>
          <a:ext cx="1152144" cy="264844"/>
        </a:xfrm>
        <a:prstGeom xmlns:a="http://schemas.openxmlformats.org/drawingml/2006/main" prst="rect">
          <a:avLst/>
        </a:prstGeom>
        <a:solidFill xmlns:a="http://schemas.openxmlformats.org/drawingml/2006/main">
          <a:schemeClr val="bg1"/>
        </a:solidFill>
        <a:ln xmlns:a="http://schemas.openxmlformats.org/drawingml/2006/main" w="9525">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r>
            <a:rPr lang="ar-TN" sz="900" b="1" dirty="0" smtClean="0">
              <a:solidFill>
                <a:schemeClr val="tx1"/>
              </a:solidFill>
              <a:latin typeface="Times New Roman" panose="02020603050405020304" pitchFamily="18" charset="0"/>
              <a:cs typeface="Times New Roman" panose="02020603050405020304" pitchFamily="18" charset="0"/>
            </a:rPr>
            <a:t> (9 أشهر)</a:t>
          </a:r>
          <a:r>
            <a:rPr lang="fr-FR" sz="1050" b="1" dirty="0" smtClean="0">
              <a:solidFill>
                <a:schemeClr val="tx1"/>
              </a:solidFill>
              <a:latin typeface="Times New Roman" panose="02020603050405020304" pitchFamily="18" charset="0"/>
              <a:cs typeface="Times New Roman" panose="02020603050405020304" pitchFamily="18" charset="0"/>
            </a:rPr>
            <a:t>%</a:t>
          </a:r>
          <a:r>
            <a:rPr lang="ar-TN" sz="1050" b="1" dirty="0" smtClean="0">
              <a:solidFill>
                <a:schemeClr val="tx1"/>
              </a:solidFill>
              <a:latin typeface="Times New Roman" panose="02020603050405020304" pitchFamily="18" charset="0"/>
              <a:cs typeface="Times New Roman" panose="02020603050405020304" pitchFamily="18" charset="0"/>
            </a:rPr>
            <a:t>1,1</a:t>
          </a:r>
          <a:endParaRPr lang="fr-FR" sz="1050" b="1" dirty="0">
            <a:solidFill>
              <a:schemeClr val="tx1"/>
            </a:solidFill>
            <a:latin typeface="Times New Roman" panose="02020603050405020304" pitchFamily="18" charset="0"/>
            <a:cs typeface="Times New Roman" panose="02020603050405020304" pitchFamily="18"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2"/>
            <a:ext cx="4234288" cy="336233"/>
          </a:xfrm>
          <a:prstGeom prst="rect">
            <a:avLst/>
          </a:prstGeom>
        </p:spPr>
        <p:txBody>
          <a:bodyPr vert="horz" lIns="92186" tIns="46093" rIns="92186" bIns="46093" rtlCol="0"/>
          <a:lstStyle>
            <a:lvl1pPr algn="l">
              <a:defRPr sz="1200">
                <a:latin typeface="Arial" pitchFamily="-123" charset="0"/>
                <a:ea typeface="ＭＳ Ｐゴシック" pitchFamily="-123" charset="-128"/>
                <a:cs typeface="ＭＳ Ｐゴシック" pitchFamily="-123" charset="-128"/>
              </a:defRPr>
            </a:lvl1pPr>
          </a:lstStyle>
          <a:p>
            <a:pPr>
              <a:defRPr/>
            </a:pPr>
            <a:endParaRPr lang="en-US"/>
          </a:p>
        </p:txBody>
      </p:sp>
      <p:sp>
        <p:nvSpPr>
          <p:cNvPr id="3" name="Date Placeholder 2"/>
          <p:cNvSpPr>
            <a:spLocks noGrp="1"/>
          </p:cNvSpPr>
          <p:nvPr>
            <p:ph type="dt" sz="quarter" idx="1"/>
          </p:nvPr>
        </p:nvSpPr>
        <p:spPr>
          <a:xfrm>
            <a:off x="5535391" y="2"/>
            <a:ext cx="4236569" cy="336233"/>
          </a:xfrm>
          <a:prstGeom prst="rect">
            <a:avLst/>
          </a:prstGeom>
        </p:spPr>
        <p:txBody>
          <a:bodyPr vert="horz" lIns="92186" tIns="46093" rIns="92186" bIns="46093" rtlCol="0"/>
          <a:lstStyle>
            <a:lvl1pPr algn="r">
              <a:defRPr sz="1200">
                <a:latin typeface="Arial" pitchFamily="-123" charset="0"/>
                <a:ea typeface="ＭＳ Ｐゴシック" pitchFamily="-123" charset="-128"/>
                <a:cs typeface="ＭＳ Ｐゴシック" pitchFamily="-123" charset="-128"/>
              </a:defRPr>
            </a:lvl1pPr>
          </a:lstStyle>
          <a:p>
            <a:pPr>
              <a:defRPr/>
            </a:pPr>
            <a:endParaRPr lang="en-US"/>
          </a:p>
        </p:txBody>
      </p:sp>
      <p:sp>
        <p:nvSpPr>
          <p:cNvPr id="4" name="Footer Placeholder 3"/>
          <p:cNvSpPr>
            <a:spLocks noGrp="1"/>
          </p:cNvSpPr>
          <p:nvPr>
            <p:ph type="ftr" sz="quarter" idx="2"/>
          </p:nvPr>
        </p:nvSpPr>
        <p:spPr>
          <a:xfrm>
            <a:off x="3" y="6387339"/>
            <a:ext cx="4234288" cy="336233"/>
          </a:xfrm>
          <a:prstGeom prst="rect">
            <a:avLst/>
          </a:prstGeom>
        </p:spPr>
        <p:txBody>
          <a:bodyPr vert="horz" lIns="92186" tIns="46093" rIns="92186" bIns="46093" rtlCol="0" anchor="b"/>
          <a:lstStyle>
            <a:lvl1pPr algn="l">
              <a:defRPr sz="1200">
                <a:latin typeface="Arial" pitchFamily="-123" charset="0"/>
                <a:ea typeface="ＭＳ Ｐゴシック" pitchFamily="-123" charset="-128"/>
                <a:cs typeface="ＭＳ Ｐゴシック" pitchFamily="-123" charset="-128"/>
              </a:defRPr>
            </a:lvl1pPr>
          </a:lstStyle>
          <a:p>
            <a:pPr>
              <a:defRPr/>
            </a:pPr>
            <a:endParaRPr lang="en-US"/>
          </a:p>
        </p:txBody>
      </p:sp>
      <p:sp>
        <p:nvSpPr>
          <p:cNvPr id="5" name="Slide Number Placeholder 4"/>
          <p:cNvSpPr>
            <a:spLocks noGrp="1"/>
          </p:cNvSpPr>
          <p:nvPr>
            <p:ph type="sldNum" sz="quarter" idx="3"/>
          </p:nvPr>
        </p:nvSpPr>
        <p:spPr>
          <a:xfrm>
            <a:off x="5535391" y="6387339"/>
            <a:ext cx="4236569" cy="336233"/>
          </a:xfrm>
          <a:prstGeom prst="rect">
            <a:avLst/>
          </a:prstGeom>
        </p:spPr>
        <p:txBody>
          <a:bodyPr vert="horz" lIns="92186" tIns="46093" rIns="92186" bIns="46093" rtlCol="0" anchor="b"/>
          <a:lstStyle>
            <a:lvl1pPr algn="r">
              <a:defRPr sz="1200">
                <a:latin typeface="Arial" pitchFamily="-123" charset="0"/>
                <a:ea typeface="ＭＳ Ｐゴシック" pitchFamily="-123" charset="-128"/>
                <a:cs typeface="ＭＳ Ｐゴシック" pitchFamily="-123" charset="-128"/>
              </a:defRPr>
            </a:lvl1pPr>
          </a:lstStyle>
          <a:p>
            <a:pPr>
              <a:defRPr/>
            </a:pPr>
            <a:fld id="{5581F465-CCCC-4CCF-8BCA-0AA4DD9A507C}" type="slidenum">
              <a:rPr lang="en-US"/>
              <a:pPr>
                <a:defRPr/>
              </a:pPr>
              <a:t>‹N°›</a:t>
            </a:fld>
            <a:endParaRPr lang="en-US"/>
          </a:p>
        </p:txBody>
      </p:sp>
    </p:spTree>
    <p:extLst>
      <p:ext uri="{BB962C8B-B14F-4D97-AF65-F5344CB8AC3E}">
        <p14:creationId xmlns:p14="http://schemas.microsoft.com/office/powerpoint/2010/main" xmlns="" val="333806595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866" name="Rectangle 2"/>
          <p:cNvSpPr>
            <a:spLocks noGrp="1" noChangeArrowheads="1"/>
          </p:cNvSpPr>
          <p:nvPr>
            <p:ph type="hdr" sz="quarter"/>
          </p:nvPr>
        </p:nvSpPr>
        <p:spPr bwMode="auto">
          <a:xfrm>
            <a:off x="3" y="2"/>
            <a:ext cx="4234288" cy="336233"/>
          </a:xfrm>
          <a:prstGeom prst="rect">
            <a:avLst/>
          </a:prstGeom>
          <a:noFill/>
          <a:ln w="9525">
            <a:noFill/>
            <a:miter lim="800000"/>
            <a:headEnd/>
            <a:tailEnd/>
          </a:ln>
        </p:spPr>
        <p:txBody>
          <a:bodyPr vert="horz" wrap="square" lIns="92186" tIns="46093" rIns="92186" bIns="46093" numCol="1" anchor="t" anchorCtr="0" compatLnSpc="1">
            <a:prstTxWarp prst="textNoShape">
              <a:avLst/>
            </a:prstTxWarp>
          </a:bodyPr>
          <a:lstStyle>
            <a:lvl1pPr>
              <a:defRPr sz="1200">
                <a:latin typeface="Arial" pitchFamily="-123" charset="0"/>
                <a:ea typeface="ＭＳ Ｐゴシック" pitchFamily="-123" charset="-128"/>
                <a:cs typeface="ＭＳ Ｐゴシック" pitchFamily="-123" charset="-128"/>
              </a:defRPr>
            </a:lvl1pPr>
          </a:lstStyle>
          <a:p>
            <a:pPr>
              <a:defRPr/>
            </a:pPr>
            <a:endParaRPr lang="en-US"/>
          </a:p>
        </p:txBody>
      </p:sp>
      <p:sp>
        <p:nvSpPr>
          <p:cNvPr id="36867" name="Rectangle 3"/>
          <p:cNvSpPr>
            <a:spLocks noGrp="1" noChangeArrowheads="1"/>
          </p:cNvSpPr>
          <p:nvPr>
            <p:ph type="dt" idx="1"/>
          </p:nvPr>
        </p:nvSpPr>
        <p:spPr bwMode="auto">
          <a:xfrm>
            <a:off x="5539957" y="2"/>
            <a:ext cx="4234285" cy="336233"/>
          </a:xfrm>
          <a:prstGeom prst="rect">
            <a:avLst/>
          </a:prstGeom>
          <a:noFill/>
          <a:ln w="9525">
            <a:noFill/>
            <a:miter lim="800000"/>
            <a:headEnd/>
            <a:tailEnd/>
          </a:ln>
        </p:spPr>
        <p:txBody>
          <a:bodyPr vert="horz" wrap="square" lIns="92186" tIns="46093" rIns="92186" bIns="46093" numCol="1" anchor="t" anchorCtr="0" compatLnSpc="1">
            <a:prstTxWarp prst="textNoShape">
              <a:avLst/>
            </a:prstTxWarp>
          </a:bodyPr>
          <a:lstStyle>
            <a:lvl1pPr algn="r">
              <a:defRPr sz="1200">
                <a:latin typeface="Arial" pitchFamily="-123" charset="0"/>
                <a:ea typeface="ＭＳ Ｐゴシック" pitchFamily="-123" charset="-128"/>
                <a:cs typeface="ＭＳ Ｐゴシック" pitchFamily="-123" charset="-128"/>
              </a:defRPr>
            </a:lvl1pPr>
          </a:lstStyle>
          <a:p>
            <a:pPr>
              <a:defRPr/>
            </a:pPr>
            <a:endParaRPr lang="en-US"/>
          </a:p>
        </p:txBody>
      </p:sp>
      <p:sp>
        <p:nvSpPr>
          <p:cNvPr id="33796" name="Placeholder 4"/>
          <p:cNvSpPr>
            <a:spLocks noGrp="1" noRot="1" noChangeAspect="1" noChangeArrowheads="1" noTextEdit="1"/>
          </p:cNvSpPr>
          <p:nvPr>
            <p:ph type="sldImg" idx="2"/>
          </p:nvPr>
        </p:nvSpPr>
        <p:spPr bwMode="auto">
          <a:xfrm>
            <a:off x="3206750" y="504825"/>
            <a:ext cx="3360738" cy="2522538"/>
          </a:xfrm>
          <a:prstGeom prst="rect">
            <a:avLst/>
          </a:prstGeom>
          <a:noFill/>
          <a:ln w="9525">
            <a:solidFill>
              <a:srgbClr val="000000"/>
            </a:solidFill>
            <a:miter lim="800000"/>
            <a:headEnd/>
            <a:tailEnd/>
          </a:ln>
        </p:spPr>
      </p:sp>
      <p:sp>
        <p:nvSpPr>
          <p:cNvPr id="36869" name="Rectangle 5"/>
          <p:cNvSpPr>
            <a:spLocks noGrp="1" noChangeArrowheads="1"/>
          </p:cNvSpPr>
          <p:nvPr>
            <p:ph type="body" sz="quarter" idx="3"/>
          </p:nvPr>
        </p:nvSpPr>
        <p:spPr bwMode="auto">
          <a:xfrm>
            <a:off x="1303388" y="3194751"/>
            <a:ext cx="7167470" cy="3026093"/>
          </a:xfrm>
          <a:prstGeom prst="rect">
            <a:avLst/>
          </a:prstGeom>
          <a:noFill/>
          <a:ln w="9525">
            <a:noFill/>
            <a:miter lim="800000"/>
            <a:headEnd/>
            <a:tailEnd/>
          </a:ln>
        </p:spPr>
        <p:txBody>
          <a:bodyPr vert="horz" wrap="square" lIns="92186" tIns="46093" rIns="92186" bIns="46093"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6870" name="Rectangle 6"/>
          <p:cNvSpPr>
            <a:spLocks noGrp="1" noChangeArrowheads="1"/>
          </p:cNvSpPr>
          <p:nvPr>
            <p:ph type="ftr" sz="quarter" idx="4"/>
          </p:nvPr>
        </p:nvSpPr>
        <p:spPr bwMode="auto">
          <a:xfrm>
            <a:off x="3" y="6388418"/>
            <a:ext cx="4234288" cy="336233"/>
          </a:xfrm>
          <a:prstGeom prst="rect">
            <a:avLst/>
          </a:prstGeom>
          <a:noFill/>
          <a:ln w="9525">
            <a:noFill/>
            <a:miter lim="800000"/>
            <a:headEnd/>
            <a:tailEnd/>
          </a:ln>
        </p:spPr>
        <p:txBody>
          <a:bodyPr vert="horz" wrap="square" lIns="92186" tIns="46093" rIns="92186" bIns="46093" numCol="1" anchor="b" anchorCtr="0" compatLnSpc="1">
            <a:prstTxWarp prst="textNoShape">
              <a:avLst/>
            </a:prstTxWarp>
          </a:bodyPr>
          <a:lstStyle>
            <a:lvl1pPr>
              <a:defRPr sz="1200">
                <a:latin typeface="Arial" pitchFamily="-123" charset="0"/>
                <a:ea typeface="ＭＳ Ｐゴシック" pitchFamily="-123" charset="-128"/>
                <a:cs typeface="ＭＳ Ｐゴシック" pitchFamily="-123" charset="-128"/>
              </a:defRPr>
            </a:lvl1pPr>
          </a:lstStyle>
          <a:p>
            <a:pPr>
              <a:defRPr/>
            </a:pPr>
            <a:endParaRPr lang="en-US"/>
          </a:p>
        </p:txBody>
      </p:sp>
      <p:sp>
        <p:nvSpPr>
          <p:cNvPr id="36871" name="Rectangle 7"/>
          <p:cNvSpPr>
            <a:spLocks noGrp="1" noChangeArrowheads="1"/>
          </p:cNvSpPr>
          <p:nvPr>
            <p:ph type="sldNum" sz="quarter" idx="5"/>
          </p:nvPr>
        </p:nvSpPr>
        <p:spPr bwMode="auto">
          <a:xfrm>
            <a:off x="5539957" y="6388418"/>
            <a:ext cx="4234285" cy="336233"/>
          </a:xfrm>
          <a:prstGeom prst="rect">
            <a:avLst/>
          </a:prstGeom>
          <a:noFill/>
          <a:ln w="9525">
            <a:noFill/>
            <a:miter lim="800000"/>
            <a:headEnd/>
            <a:tailEnd/>
          </a:ln>
        </p:spPr>
        <p:txBody>
          <a:bodyPr vert="horz" wrap="square" lIns="92186" tIns="46093" rIns="92186" bIns="46093" numCol="1" anchor="b" anchorCtr="0" compatLnSpc="1">
            <a:prstTxWarp prst="textNoShape">
              <a:avLst/>
            </a:prstTxWarp>
          </a:bodyPr>
          <a:lstStyle>
            <a:lvl1pPr algn="r">
              <a:defRPr sz="1200">
                <a:latin typeface="Arial" pitchFamily="-123" charset="0"/>
                <a:ea typeface="ＭＳ Ｐゴシック" pitchFamily="-123" charset="-128"/>
                <a:cs typeface="ＭＳ Ｐゴシック" pitchFamily="-123" charset="-128"/>
              </a:defRPr>
            </a:lvl1pPr>
          </a:lstStyle>
          <a:p>
            <a:pPr>
              <a:defRPr/>
            </a:pPr>
            <a:fld id="{E6591A19-7CAC-4667-B636-76427AC1A002}" type="slidenum">
              <a:rPr lang="en-US"/>
              <a:pPr>
                <a:defRPr/>
              </a:pPr>
              <a:t>‹N°›</a:t>
            </a:fld>
            <a:endParaRPr lang="en-US"/>
          </a:p>
        </p:txBody>
      </p:sp>
    </p:spTree>
    <p:extLst>
      <p:ext uri="{BB962C8B-B14F-4D97-AF65-F5344CB8AC3E}">
        <p14:creationId xmlns:p14="http://schemas.microsoft.com/office/powerpoint/2010/main" xmlns="" val="1969079678"/>
      </p:ext>
    </p:extLst>
  </p:cSld>
  <p:clrMap bg1="lt1" tx1="dk1" bg2="lt2" tx2="dk2" accent1="accent1" accent2="accent2" accent3="accent3" accent4="accent4" accent5="accent5" accent6="accent6" hlink="hlink" folHlink="folHlink"/>
  <p:hf hdr="0" ftr="0"/>
  <p:notesStyle>
    <a:lvl1pPr algn="l" defTabSz="457200" rtl="0" eaLnBrk="0" fontAlgn="base" hangingPunct="0">
      <a:spcBef>
        <a:spcPct val="30000"/>
      </a:spcBef>
      <a:spcAft>
        <a:spcPct val="0"/>
      </a:spcAft>
      <a:defRPr sz="1200" kern="1200">
        <a:solidFill>
          <a:schemeClr val="tx1"/>
        </a:solidFill>
        <a:latin typeface="Calibri" pitchFamily="-123" charset="0"/>
        <a:ea typeface="ＭＳ Ｐゴシック" pitchFamily="-123" charset="-128"/>
        <a:cs typeface="ＭＳ Ｐゴシック" pitchFamily="-123" charset="-128"/>
      </a:defRPr>
    </a:lvl1pPr>
    <a:lvl2pPr marL="457200" algn="l" defTabSz="457200" rtl="0" eaLnBrk="0" fontAlgn="base" hangingPunct="0">
      <a:spcBef>
        <a:spcPct val="30000"/>
      </a:spcBef>
      <a:spcAft>
        <a:spcPct val="0"/>
      </a:spcAft>
      <a:defRPr sz="1200" kern="1200">
        <a:solidFill>
          <a:schemeClr val="tx1"/>
        </a:solidFill>
        <a:latin typeface="Calibri" pitchFamily="-123" charset="0"/>
        <a:ea typeface="ＭＳ Ｐゴシック" pitchFamily="-123" charset="-128"/>
        <a:cs typeface="+mn-cs"/>
      </a:defRPr>
    </a:lvl2pPr>
    <a:lvl3pPr marL="914400" algn="l" defTabSz="457200" rtl="0" eaLnBrk="0" fontAlgn="base" hangingPunct="0">
      <a:spcBef>
        <a:spcPct val="30000"/>
      </a:spcBef>
      <a:spcAft>
        <a:spcPct val="0"/>
      </a:spcAft>
      <a:defRPr sz="1200" kern="1200">
        <a:solidFill>
          <a:schemeClr val="tx1"/>
        </a:solidFill>
        <a:latin typeface="Calibri" pitchFamily="-123" charset="0"/>
        <a:ea typeface="ＭＳ Ｐゴシック" pitchFamily="-123" charset="-128"/>
        <a:cs typeface="+mn-cs"/>
      </a:defRPr>
    </a:lvl3pPr>
    <a:lvl4pPr marL="1371600" algn="l" defTabSz="457200" rtl="0" eaLnBrk="0" fontAlgn="base" hangingPunct="0">
      <a:spcBef>
        <a:spcPct val="30000"/>
      </a:spcBef>
      <a:spcAft>
        <a:spcPct val="0"/>
      </a:spcAft>
      <a:defRPr sz="1200" kern="1200">
        <a:solidFill>
          <a:schemeClr val="tx1"/>
        </a:solidFill>
        <a:latin typeface="Calibri" pitchFamily="-123" charset="0"/>
        <a:ea typeface="ＭＳ Ｐゴシック" pitchFamily="-123" charset="-128"/>
        <a:cs typeface="+mn-cs"/>
      </a:defRPr>
    </a:lvl4pPr>
    <a:lvl5pPr marL="1828800" algn="l" defTabSz="457200" rtl="0" eaLnBrk="0" fontAlgn="base" hangingPunct="0">
      <a:spcBef>
        <a:spcPct val="30000"/>
      </a:spcBef>
      <a:spcAft>
        <a:spcPct val="0"/>
      </a:spcAft>
      <a:defRPr sz="1200" kern="1200">
        <a:solidFill>
          <a:schemeClr val="tx1"/>
        </a:solidFill>
        <a:latin typeface="Calibri" pitchFamily="-123" charset="0"/>
        <a:ea typeface="ＭＳ Ｐゴシック" pitchFamily="-123"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p>
            <a:pPr defTabSz="901886" fontAlgn="auto">
              <a:spcBef>
                <a:spcPts val="0"/>
              </a:spcBef>
              <a:spcAft>
                <a:spcPts val="0"/>
              </a:spcAft>
              <a:defRPr/>
            </a:pPr>
            <a:fld id="{F055AB21-1DC1-4853-B652-2C63B5DED614}" type="slidenum">
              <a:rPr lang="en-GB" altLang="ja-JP">
                <a:solidFill>
                  <a:srgbClr val="000000"/>
                </a:solidFill>
                <a:latin typeface="Calibri"/>
                <a:ea typeface="ＭＳ Ｐゴシック" panose="020B0600070205080204" pitchFamily="34" charset="-128"/>
                <a:cs typeface="+mn-cs"/>
              </a:rPr>
              <a:pPr defTabSz="901886" fontAlgn="auto">
                <a:spcBef>
                  <a:spcPts val="0"/>
                </a:spcBef>
                <a:spcAft>
                  <a:spcPts val="0"/>
                </a:spcAft>
                <a:defRPr/>
              </a:pPr>
              <a:t>1</a:t>
            </a:fld>
            <a:endParaRPr lang="en-GB" altLang="ja-JP">
              <a:solidFill>
                <a:srgbClr val="000000"/>
              </a:solidFill>
              <a:latin typeface="Calibri"/>
              <a:ea typeface="ＭＳ Ｐゴシック" panose="020B0600070205080204" pitchFamily="34" charset="-128"/>
              <a:cs typeface="+mn-cs"/>
            </a:endParaRPr>
          </a:p>
        </p:txBody>
      </p:sp>
      <p:sp>
        <p:nvSpPr>
          <p:cNvPr id="54275" name="Rectangle 2"/>
          <p:cNvSpPr>
            <a:spLocks noGrp="1" noRot="1" noChangeAspect="1" noChangeArrowheads="1" noTextEdit="1"/>
          </p:cNvSpPr>
          <p:nvPr>
            <p:ph type="sldImg"/>
          </p:nvPr>
        </p:nvSpPr>
        <p:spPr bwMode="auto">
          <a:xfrm>
            <a:off x="3219450" y="520700"/>
            <a:ext cx="3379788" cy="2535238"/>
          </a:xfrm>
          <a:noFill/>
          <a:ln>
            <a:solidFill>
              <a:srgbClr val="000000"/>
            </a:solidFill>
            <a:miter lim="800000"/>
            <a:headEnd/>
            <a:tailEnd/>
          </a:ln>
        </p:spPr>
      </p:sp>
      <p:sp>
        <p:nvSpPr>
          <p:cNvPr id="54276" name="Rectangle 3"/>
          <p:cNvSpPr>
            <a:spLocks noGrp="1" noChangeArrowheads="1"/>
          </p:cNvSpPr>
          <p:nvPr>
            <p:ph type="body" idx="1"/>
          </p:nvPr>
        </p:nvSpPr>
        <p:spPr>
          <a:xfrm>
            <a:off x="1278555" y="3198396"/>
            <a:ext cx="7217144" cy="3056165"/>
          </a:xfrm>
          <a:noFill/>
          <a:ln/>
        </p:spPr>
        <p:txBody>
          <a:bodyPr/>
          <a:lstStyle/>
          <a:p>
            <a:pPr eaLnBrk="1" hangingPunct="1">
              <a:spcBef>
                <a:spcPct val="0"/>
              </a:spcBef>
            </a:pPr>
            <a:endParaRPr lang="en-US" dirty="0" smtClean="0"/>
          </a:p>
        </p:txBody>
      </p:sp>
    </p:spTree>
    <p:extLst>
      <p:ext uri="{BB962C8B-B14F-4D97-AF65-F5344CB8AC3E}">
        <p14:creationId xmlns:p14="http://schemas.microsoft.com/office/powerpoint/2010/main" xmlns="" val="3418016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10</a:t>
            </a:fld>
            <a:endParaRPr lang="en-US"/>
          </a:p>
        </p:txBody>
      </p:sp>
      <p:sp>
        <p:nvSpPr>
          <p:cNvPr id="6" name="Espace réservé des notes 5"/>
          <p:cNvSpPr>
            <a:spLocks noGrp="1"/>
          </p:cNvSpPr>
          <p:nvPr>
            <p:ph type="body" sz="quarter" idx="12"/>
          </p:nvPr>
        </p:nvSpPr>
        <p:spPr/>
        <p:txBody>
          <a:bodyPr/>
          <a:lstStyle/>
          <a:p>
            <a:endParaRPr lang="fr-FR"/>
          </a:p>
        </p:txBody>
      </p:sp>
    </p:spTree>
    <p:extLst>
      <p:ext uri="{BB962C8B-B14F-4D97-AF65-F5344CB8AC3E}">
        <p14:creationId xmlns:p14="http://schemas.microsoft.com/office/powerpoint/2010/main" xmlns="" val="24966830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bwMode="auto">
          <a:xfrm>
            <a:off x="3209925" y="506413"/>
            <a:ext cx="3365500" cy="2524125"/>
          </a:xfrm>
          <a:noFill/>
          <a:ln>
            <a:solidFill>
              <a:srgbClr val="000000"/>
            </a:solidFill>
            <a:miter lim="800000"/>
            <a:headEnd/>
            <a:tailEnd/>
          </a:ln>
        </p:spPr>
      </p:sp>
      <p:sp>
        <p:nvSpPr>
          <p:cNvPr id="57347" name="Rectangle 3"/>
          <p:cNvSpPr>
            <a:spLocks noGrp="1"/>
          </p:cNvSpPr>
          <p:nvPr>
            <p:ph type="body" idx="1"/>
          </p:nvPr>
        </p:nvSpPr>
        <p:spPr>
          <a:noFill/>
          <a:ln/>
        </p:spPr>
        <p:txBody>
          <a:bodyPr lIns="91532" tIns="45767" rIns="91532" bIns="45767"/>
          <a:lstStyle/>
          <a:p>
            <a:endParaRPr lang="en-GB" smtClean="0"/>
          </a:p>
        </p:txBody>
      </p:sp>
    </p:spTree>
    <p:extLst>
      <p:ext uri="{BB962C8B-B14F-4D97-AF65-F5344CB8AC3E}">
        <p14:creationId xmlns:p14="http://schemas.microsoft.com/office/powerpoint/2010/main" xmlns="" val="12512335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bwMode="auto">
          <a:xfrm>
            <a:off x="3209925" y="506413"/>
            <a:ext cx="3365500" cy="2524125"/>
          </a:xfrm>
          <a:noFill/>
          <a:ln>
            <a:solidFill>
              <a:srgbClr val="000000"/>
            </a:solidFill>
            <a:miter lim="800000"/>
            <a:headEnd/>
            <a:tailEnd/>
          </a:ln>
        </p:spPr>
      </p:sp>
      <p:sp>
        <p:nvSpPr>
          <p:cNvPr id="57347" name="Rectangle 3"/>
          <p:cNvSpPr>
            <a:spLocks noGrp="1"/>
          </p:cNvSpPr>
          <p:nvPr>
            <p:ph type="body" idx="1"/>
          </p:nvPr>
        </p:nvSpPr>
        <p:spPr>
          <a:noFill/>
          <a:ln/>
        </p:spPr>
        <p:txBody>
          <a:bodyPr lIns="91532" tIns="45767" rIns="91532" bIns="45767"/>
          <a:lstStyle/>
          <a:p>
            <a:endParaRPr lang="en-GB" smtClean="0"/>
          </a:p>
        </p:txBody>
      </p:sp>
    </p:spTree>
    <p:extLst>
      <p:ext uri="{BB962C8B-B14F-4D97-AF65-F5344CB8AC3E}">
        <p14:creationId xmlns:p14="http://schemas.microsoft.com/office/powerpoint/2010/main" xmlns="" val="15049601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bwMode="auto">
          <a:xfrm>
            <a:off x="3209925" y="506413"/>
            <a:ext cx="3365500" cy="2524125"/>
          </a:xfrm>
          <a:noFill/>
          <a:ln>
            <a:solidFill>
              <a:srgbClr val="000000"/>
            </a:solidFill>
            <a:miter lim="800000"/>
            <a:headEnd/>
            <a:tailEnd/>
          </a:ln>
        </p:spPr>
      </p:sp>
      <p:sp>
        <p:nvSpPr>
          <p:cNvPr id="57347" name="Rectangle 3"/>
          <p:cNvSpPr>
            <a:spLocks noGrp="1"/>
          </p:cNvSpPr>
          <p:nvPr>
            <p:ph type="body" idx="1"/>
          </p:nvPr>
        </p:nvSpPr>
        <p:spPr>
          <a:noFill/>
          <a:ln/>
        </p:spPr>
        <p:txBody>
          <a:bodyPr lIns="91532" tIns="45767" rIns="91532" bIns="45767"/>
          <a:lstStyle/>
          <a:p>
            <a:endParaRPr lang="en-GB" smtClean="0"/>
          </a:p>
        </p:txBody>
      </p:sp>
    </p:spTree>
    <p:extLst>
      <p:ext uri="{BB962C8B-B14F-4D97-AF65-F5344CB8AC3E}">
        <p14:creationId xmlns:p14="http://schemas.microsoft.com/office/powerpoint/2010/main" xmlns="" val="12792168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14</a:t>
            </a:fld>
            <a:endParaRPr lang="en-US"/>
          </a:p>
        </p:txBody>
      </p:sp>
    </p:spTree>
    <p:extLst>
      <p:ext uri="{BB962C8B-B14F-4D97-AF65-F5344CB8AC3E}">
        <p14:creationId xmlns:p14="http://schemas.microsoft.com/office/powerpoint/2010/main" xmlns="" val="23154328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15</a:t>
            </a:fld>
            <a:endParaRPr lang="en-US"/>
          </a:p>
        </p:txBody>
      </p:sp>
    </p:spTree>
    <p:extLst>
      <p:ext uri="{BB962C8B-B14F-4D97-AF65-F5344CB8AC3E}">
        <p14:creationId xmlns:p14="http://schemas.microsoft.com/office/powerpoint/2010/main" xmlns="" val="30781408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16</a:t>
            </a:fld>
            <a:endParaRPr lang="en-US"/>
          </a:p>
        </p:txBody>
      </p:sp>
    </p:spTree>
    <p:extLst>
      <p:ext uri="{BB962C8B-B14F-4D97-AF65-F5344CB8AC3E}">
        <p14:creationId xmlns:p14="http://schemas.microsoft.com/office/powerpoint/2010/main" xmlns="" val="8330832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defTabSz="444849">
              <a:defRPr/>
            </a:pPr>
            <a:endParaRPr lang="en-US">
              <a:solidFill>
                <a:srgbClr val="000000"/>
              </a:solidFill>
            </a:endParaRPr>
          </a:p>
        </p:txBody>
      </p:sp>
      <p:sp>
        <p:nvSpPr>
          <p:cNvPr id="5" name="Espace réservé du numéro de diapositive 4"/>
          <p:cNvSpPr>
            <a:spLocks noGrp="1"/>
          </p:cNvSpPr>
          <p:nvPr>
            <p:ph type="sldNum" sz="quarter" idx="11"/>
          </p:nvPr>
        </p:nvSpPr>
        <p:spPr/>
        <p:txBody>
          <a:bodyPr/>
          <a:lstStyle/>
          <a:p>
            <a:pPr defTabSz="444849">
              <a:defRPr/>
            </a:pPr>
            <a:fld id="{E6591A19-7CAC-4667-B636-76427AC1A002}" type="slidenum">
              <a:rPr lang="en-US">
                <a:solidFill>
                  <a:srgbClr val="000000"/>
                </a:solidFill>
              </a:rPr>
              <a:pPr defTabSz="444849">
                <a:defRPr/>
              </a:pPr>
              <a:t>17</a:t>
            </a:fld>
            <a:endParaRPr lang="en-US">
              <a:solidFill>
                <a:srgbClr val="000000"/>
              </a:solidFill>
            </a:endParaRPr>
          </a:p>
        </p:txBody>
      </p:sp>
    </p:spTree>
    <p:extLst>
      <p:ext uri="{BB962C8B-B14F-4D97-AF65-F5344CB8AC3E}">
        <p14:creationId xmlns:p14="http://schemas.microsoft.com/office/powerpoint/2010/main" xmlns="" val="12796707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18</a:t>
            </a:fld>
            <a:endParaRPr lang="en-US"/>
          </a:p>
        </p:txBody>
      </p:sp>
    </p:spTree>
    <p:extLst>
      <p:ext uri="{BB962C8B-B14F-4D97-AF65-F5344CB8AC3E}">
        <p14:creationId xmlns:p14="http://schemas.microsoft.com/office/powerpoint/2010/main" xmlns="" val="20864570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19</a:t>
            </a:fld>
            <a:endParaRPr lang="en-US"/>
          </a:p>
        </p:txBody>
      </p:sp>
    </p:spTree>
    <p:extLst>
      <p:ext uri="{BB962C8B-B14F-4D97-AF65-F5344CB8AC3E}">
        <p14:creationId xmlns:p14="http://schemas.microsoft.com/office/powerpoint/2010/main" xmlns="" val="39998979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2</a:t>
            </a:fld>
            <a:endParaRPr lang="en-US"/>
          </a:p>
        </p:txBody>
      </p:sp>
    </p:spTree>
    <p:extLst>
      <p:ext uri="{BB962C8B-B14F-4D97-AF65-F5344CB8AC3E}">
        <p14:creationId xmlns:p14="http://schemas.microsoft.com/office/powerpoint/2010/main" xmlns="" val="12322249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bwMode="auto">
          <a:xfrm>
            <a:off x="3209925" y="506413"/>
            <a:ext cx="3365500" cy="2524125"/>
          </a:xfrm>
          <a:noFill/>
          <a:ln>
            <a:solidFill>
              <a:srgbClr val="000000"/>
            </a:solidFill>
            <a:miter lim="800000"/>
            <a:headEnd/>
            <a:tailEnd/>
          </a:ln>
        </p:spPr>
      </p:sp>
      <p:sp>
        <p:nvSpPr>
          <p:cNvPr id="57347" name="Rectangle 3"/>
          <p:cNvSpPr>
            <a:spLocks noGrp="1"/>
          </p:cNvSpPr>
          <p:nvPr>
            <p:ph type="body" idx="1"/>
          </p:nvPr>
        </p:nvSpPr>
        <p:spPr>
          <a:noFill/>
          <a:ln/>
        </p:spPr>
        <p:txBody>
          <a:bodyPr lIns="91532" tIns="45767" rIns="91532" bIns="45767"/>
          <a:lstStyle/>
          <a:p>
            <a:endParaRPr lang="en-GB" smtClean="0"/>
          </a:p>
        </p:txBody>
      </p:sp>
    </p:spTree>
    <p:extLst>
      <p:ext uri="{BB962C8B-B14F-4D97-AF65-F5344CB8AC3E}">
        <p14:creationId xmlns:p14="http://schemas.microsoft.com/office/powerpoint/2010/main" xmlns="" val="37150726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21</a:t>
            </a:fld>
            <a:endParaRPr lang="en-US"/>
          </a:p>
        </p:txBody>
      </p:sp>
    </p:spTree>
    <p:extLst>
      <p:ext uri="{BB962C8B-B14F-4D97-AF65-F5344CB8AC3E}">
        <p14:creationId xmlns:p14="http://schemas.microsoft.com/office/powerpoint/2010/main" xmlns="" val="7126240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22</a:t>
            </a:fld>
            <a:endParaRPr lang="en-US"/>
          </a:p>
        </p:txBody>
      </p:sp>
    </p:spTree>
    <p:extLst>
      <p:ext uri="{BB962C8B-B14F-4D97-AF65-F5344CB8AC3E}">
        <p14:creationId xmlns:p14="http://schemas.microsoft.com/office/powerpoint/2010/main" xmlns="" val="28272819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C53EB1C0-09CF-4559-84C2-387041BF7517}" type="slidenum">
              <a:rPr lang="en-US" smtClean="0"/>
              <a:pPr>
                <a:defRPr/>
              </a:pPr>
              <a:t>24</a:t>
            </a:fld>
            <a:endParaRPr lang="en-US"/>
          </a:p>
        </p:txBody>
      </p:sp>
    </p:spTree>
    <p:extLst>
      <p:ext uri="{BB962C8B-B14F-4D97-AF65-F5344CB8AC3E}">
        <p14:creationId xmlns:p14="http://schemas.microsoft.com/office/powerpoint/2010/main" xmlns="" val="29231872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C53EB1C0-09CF-4559-84C2-387041BF7517}" type="slidenum">
              <a:rPr lang="en-US" smtClean="0"/>
              <a:pPr>
                <a:defRPr/>
              </a:pPr>
              <a:t>25</a:t>
            </a:fld>
            <a:endParaRPr lang="en-US"/>
          </a:p>
        </p:txBody>
      </p:sp>
    </p:spTree>
    <p:extLst>
      <p:ext uri="{BB962C8B-B14F-4D97-AF65-F5344CB8AC3E}">
        <p14:creationId xmlns:p14="http://schemas.microsoft.com/office/powerpoint/2010/main" xmlns="" val="40119511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C53EB1C0-09CF-4559-84C2-387041BF7517}" type="slidenum">
              <a:rPr lang="en-US" smtClean="0"/>
              <a:pPr>
                <a:defRPr/>
              </a:pPr>
              <a:t>26</a:t>
            </a:fld>
            <a:endParaRPr lang="en-US"/>
          </a:p>
        </p:txBody>
      </p:sp>
    </p:spTree>
    <p:extLst>
      <p:ext uri="{BB962C8B-B14F-4D97-AF65-F5344CB8AC3E}">
        <p14:creationId xmlns:p14="http://schemas.microsoft.com/office/powerpoint/2010/main" xmlns="" val="26507731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C53EB1C0-09CF-4559-84C2-387041BF7517}" type="slidenum">
              <a:rPr lang="en-US" smtClean="0"/>
              <a:pPr>
                <a:defRPr/>
              </a:pPr>
              <a:t>27</a:t>
            </a:fld>
            <a:endParaRPr lang="en-US"/>
          </a:p>
        </p:txBody>
      </p:sp>
    </p:spTree>
    <p:extLst>
      <p:ext uri="{BB962C8B-B14F-4D97-AF65-F5344CB8AC3E}">
        <p14:creationId xmlns:p14="http://schemas.microsoft.com/office/powerpoint/2010/main" xmlns="" val="10288533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33</a:t>
            </a:fld>
            <a:endParaRPr lang="en-US"/>
          </a:p>
        </p:txBody>
      </p:sp>
    </p:spTree>
    <p:extLst>
      <p:ext uri="{BB962C8B-B14F-4D97-AF65-F5344CB8AC3E}">
        <p14:creationId xmlns:p14="http://schemas.microsoft.com/office/powerpoint/2010/main" xmlns="" val="6250301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bwMode="auto">
          <a:xfrm>
            <a:off x="3267075" y="511175"/>
            <a:ext cx="3405188" cy="2552700"/>
          </a:xfrm>
          <a:noFill/>
          <a:ln>
            <a:solidFill>
              <a:srgbClr val="000000"/>
            </a:solidFill>
            <a:miter lim="800000"/>
            <a:headEnd/>
            <a:tailEnd/>
          </a:ln>
        </p:spPr>
      </p:sp>
      <p:sp>
        <p:nvSpPr>
          <p:cNvPr id="57347" name="Rectangle 3"/>
          <p:cNvSpPr>
            <a:spLocks noGrp="1"/>
          </p:cNvSpPr>
          <p:nvPr>
            <p:ph type="body" idx="1"/>
          </p:nvPr>
        </p:nvSpPr>
        <p:spPr>
          <a:noFill/>
          <a:ln/>
        </p:spPr>
        <p:txBody>
          <a:bodyPr lIns="92794" tIns="46398" rIns="92794" bIns="46398"/>
          <a:lstStyle/>
          <a:p>
            <a:endParaRPr lang="en-GB" smtClean="0"/>
          </a:p>
        </p:txBody>
      </p:sp>
    </p:spTree>
    <p:extLst>
      <p:ext uri="{BB962C8B-B14F-4D97-AF65-F5344CB8AC3E}">
        <p14:creationId xmlns:p14="http://schemas.microsoft.com/office/powerpoint/2010/main" xmlns="" val="33990132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bwMode="auto">
          <a:xfrm>
            <a:off x="3267075" y="511175"/>
            <a:ext cx="3405188" cy="2552700"/>
          </a:xfrm>
          <a:noFill/>
          <a:ln>
            <a:solidFill>
              <a:srgbClr val="000000"/>
            </a:solidFill>
            <a:miter lim="800000"/>
            <a:headEnd/>
            <a:tailEnd/>
          </a:ln>
        </p:spPr>
      </p:sp>
      <p:sp>
        <p:nvSpPr>
          <p:cNvPr id="57347" name="Rectangle 3"/>
          <p:cNvSpPr>
            <a:spLocks noGrp="1"/>
          </p:cNvSpPr>
          <p:nvPr>
            <p:ph type="body" idx="1"/>
          </p:nvPr>
        </p:nvSpPr>
        <p:spPr>
          <a:noFill/>
          <a:ln/>
        </p:spPr>
        <p:txBody>
          <a:bodyPr lIns="92794" tIns="46398" rIns="92794" bIns="46398"/>
          <a:lstStyle/>
          <a:p>
            <a:endParaRPr lang="en-GB" smtClean="0"/>
          </a:p>
        </p:txBody>
      </p:sp>
    </p:spTree>
    <p:extLst>
      <p:ext uri="{BB962C8B-B14F-4D97-AF65-F5344CB8AC3E}">
        <p14:creationId xmlns:p14="http://schemas.microsoft.com/office/powerpoint/2010/main" xmlns="" val="2873982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3</a:t>
            </a:fld>
            <a:endParaRPr lang="en-US"/>
          </a:p>
        </p:txBody>
      </p:sp>
      <p:sp>
        <p:nvSpPr>
          <p:cNvPr id="6" name="Espace réservé des notes 5"/>
          <p:cNvSpPr>
            <a:spLocks noGrp="1"/>
          </p:cNvSpPr>
          <p:nvPr>
            <p:ph type="body" sz="quarter" idx="12"/>
          </p:nvPr>
        </p:nvSpPr>
        <p:spPr/>
        <p:txBody>
          <a:bodyPr/>
          <a:lstStyle/>
          <a:p>
            <a:endParaRPr lang="fr-FR"/>
          </a:p>
        </p:txBody>
      </p:sp>
    </p:spTree>
    <p:extLst>
      <p:ext uri="{BB962C8B-B14F-4D97-AF65-F5344CB8AC3E}">
        <p14:creationId xmlns:p14="http://schemas.microsoft.com/office/powerpoint/2010/main" xmlns="" val="24623532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bwMode="auto">
          <a:xfrm>
            <a:off x="3209925" y="506413"/>
            <a:ext cx="3365500" cy="2524125"/>
          </a:xfrm>
          <a:noFill/>
          <a:ln>
            <a:solidFill>
              <a:srgbClr val="000000"/>
            </a:solidFill>
            <a:miter lim="800000"/>
            <a:headEnd/>
            <a:tailEnd/>
          </a:ln>
        </p:spPr>
      </p:sp>
      <p:sp>
        <p:nvSpPr>
          <p:cNvPr id="57347" name="Rectangle 3"/>
          <p:cNvSpPr>
            <a:spLocks noGrp="1"/>
          </p:cNvSpPr>
          <p:nvPr>
            <p:ph type="body" idx="1"/>
          </p:nvPr>
        </p:nvSpPr>
        <p:spPr>
          <a:noFill/>
          <a:ln/>
        </p:spPr>
        <p:txBody>
          <a:bodyPr lIns="91540" tIns="45771" rIns="91540" bIns="45771"/>
          <a:lstStyle/>
          <a:p>
            <a:endParaRPr lang="en-GB" smtClean="0"/>
          </a:p>
        </p:txBody>
      </p:sp>
    </p:spTree>
    <p:extLst>
      <p:ext uri="{BB962C8B-B14F-4D97-AF65-F5344CB8AC3E}">
        <p14:creationId xmlns:p14="http://schemas.microsoft.com/office/powerpoint/2010/main" xmlns="" val="286830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bwMode="auto">
          <a:xfrm>
            <a:off x="3209925" y="506413"/>
            <a:ext cx="3365500" cy="2524125"/>
          </a:xfrm>
          <a:noFill/>
          <a:ln>
            <a:solidFill>
              <a:srgbClr val="000000"/>
            </a:solidFill>
            <a:miter lim="800000"/>
            <a:headEnd/>
            <a:tailEnd/>
          </a:ln>
        </p:spPr>
      </p:sp>
      <p:sp>
        <p:nvSpPr>
          <p:cNvPr id="57347" name="Rectangle 3"/>
          <p:cNvSpPr>
            <a:spLocks noGrp="1"/>
          </p:cNvSpPr>
          <p:nvPr>
            <p:ph type="body" idx="1"/>
          </p:nvPr>
        </p:nvSpPr>
        <p:spPr>
          <a:noFill/>
          <a:ln/>
        </p:spPr>
        <p:txBody>
          <a:bodyPr lIns="91540" tIns="45771" rIns="91540" bIns="45771"/>
          <a:lstStyle/>
          <a:p>
            <a:endParaRPr lang="en-GB" smtClean="0"/>
          </a:p>
        </p:txBody>
      </p:sp>
    </p:spTree>
    <p:extLst>
      <p:ext uri="{BB962C8B-B14F-4D97-AF65-F5344CB8AC3E}">
        <p14:creationId xmlns:p14="http://schemas.microsoft.com/office/powerpoint/2010/main" xmlns="" val="10512603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bwMode="auto">
          <a:xfrm>
            <a:off x="3209925" y="506413"/>
            <a:ext cx="3365500" cy="2524125"/>
          </a:xfrm>
          <a:noFill/>
          <a:ln>
            <a:solidFill>
              <a:srgbClr val="000000"/>
            </a:solidFill>
            <a:miter lim="800000"/>
            <a:headEnd/>
            <a:tailEnd/>
          </a:ln>
        </p:spPr>
      </p:sp>
      <p:sp>
        <p:nvSpPr>
          <p:cNvPr id="57347" name="Rectangle 3"/>
          <p:cNvSpPr>
            <a:spLocks noGrp="1"/>
          </p:cNvSpPr>
          <p:nvPr>
            <p:ph type="body" idx="1"/>
          </p:nvPr>
        </p:nvSpPr>
        <p:spPr>
          <a:noFill/>
          <a:ln/>
        </p:spPr>
        <p:txBody>
          <a:bodyPr lIns="91540" tIns="45771" rIns="91540" bIns="45771"/>
          <a:lstStyle/>
          <a:p>
            <a:endParaRPr lang="en-GB" smtClean="0"/>
          </a:p>
        </p:txBody>
      </p:sp>
    </p:spTree>
    <p:extLst>
      <p:ext uri="{BB962C8B-B14F-4D97-AF65-F5344CB8AC3E}">
        <p14:creationId xmlns:p14="http://schemas.microsoft.com/office/powerpoint/2010/main" xmlns="" val="17247398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bwMode="auto">
          <a:xfrm>
            <a:off x="3267075" y="511175"/>
            <a:ext cx="3405188" cy="2552700"/>
          </a:xfrm>
          <a:noFill/>
          <a:ln>
            <a:solidFill>
              <a:srgbClr val="000000"/>
            </a:solidFill>
            <a:miter lim="800000"/>
            <a:headEnd/>
            <a:tailEnd/>
          </a:ln>
        </p:spPr>
      </p:sp>
      <p:sp>
        <p:nvSpPr>
          <p:cNvPr id="57347" name="Rectangle 3"/>
          <p:cNvSpPr>
            <a:spLocks noGrp="1"/>
          </p:cNvSpPr>
          <p:nvPr>
            <p:ph type="body" idx="1"/>
          </p:nvPr>
        </p:nvSpPr>
        <p:spPr>
          <a:noFill/>
          <a:ln/>
        </p:spPr>
        <p:txBody>
          <a:bodyPr lIns="92794" tIns="46398" rIns="92794" bIns="46398"/>
          <a:lstStyle/>
          <a:p>
            <a:endParaRPr lang="en-GB" smtClean="0"/>
          </a:p>
        </p:txBody>
      </p:sp>
    </p:spTree>
    <p:extLst>
      <p:ext uri="{BB962C8B-B14F-4D97-AF65-F5344CB8AC3E}">
        <p14:creationId xmlns:p14="http://schemas.microsoft.com/office/powerpoint/2010/main" xmlns="" val="25950604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bwMode="auto">
          <a:xfrm>
            <a:off x="3267075" y="511175"/>
            <a:ext cx="3405188" cy="2552700"/>
          </a:xfrm>
          <a:noFill/>
          <a:ln>
            <a:solidFill>
              <a:srgbClr val="000000"/>
            </a:solidFill>
            <a:miter lim="800000"/>
            <a:headEnd/>
            <a:tailEnd/>
          </a:ln>
        </p:spPr>
      </p:sp>
      <p:sp>
        <p:nvSpPr>
          <p:cNvPr id="57347" name="Rectangle 3"/>
          <p:cNvSpPr>
            <a:spLocks noGrp="1"/>
          </p:cNvSpPr>
          <p:nvPr>
            <p:ph type="body" idx="1"/>
          </p:nvPr>
        </p:nvSpPr>
        <p:spPr>
          <a:noFill/>
          <a:ln/>
        </p:spPr>
        <p:txBody>
          <a:bodyPr lIns="92794" tIns="46398" rIns="92794" bIns="46398"/>
          <a:lstStyle/>
          <a:p>
            <a:endParaRPr lang="en-GB" smtClean="0"/>
          </a:p>
        </p:txBody>
      </p:sp>
    </p:spTree>
    <p:extLst>
      <p:ext uri="{BB962C8B-B14F-4D97-AF65-F5344CB8AC3E}">
        <p14:creationId xmlns:p14="http://schemas.microsoft.com/office/powerpoint/2010/main" xmlns="" val="10076604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bwMode="auto">
          <a:xfrm>
            <a:off x="3267075" y="511175"/>
            <a:ext cx="3405188" cy="2552700"/>
          </a:xfrm>
          <a:noFill/>
          <a:ln>
            <a:solidFill>
              <a:srgbClr val="000000"/>
            </a:solidFill>
            <a:miter lim="800000"/>
            <a:headEnd/>
            <a:tailEnd/>
          </a:ln>
        </p:spPr>
      </p:sp>
      <p:sp>
        <p:nvSpPr>
          <p:cNvPr id="57347" name="Rectangle 3"/>
          <p:cNvSpPr>
            <a:spLocks noGrp="1"/>
          </p:cNvSpPr>
          <p:nvPr>
            <p:ph type="body" idx="1"/>
          </p:nvPr>
        </p:nvSpPr>
        <p:spPr>
          <a:noFill/>
          <a:ln/>
        </p:spPr>
        <p:txBody>
          <a:bodyPr lIns="92794" tIns="46398" rIns="92794" bIns="46398"/>
          <a:lstStyle/>
          <a:p>
            <a:endParaRPr lang="en-GB" smtClean="0"/>
          </a:p>
        </p:txBody>
      </p:sp>
    </p:spTree>
    <p:extLst>
      <p:ext uri="{BB962C8B-B14F-4D97-AF65-F5344CB8AC3E}">
        <p14:creationId xmlns:p14="http://schemas.microsoft.com/office/powerpoint/2010/main" xmlns="" val="24772392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bwMode="auto">
          <a:xfrm>
            <a:off x="3267075" y="511175"/>
            <a:ext cx="3405188" cy="2552700"/>
          </a:xfrm>
          <a:noFill/>
          <a:ln>
            <a:solidFill>
              <a:srgbClr val="000000"/>
            </a:solidFill>
            <a:miter lim="800000"/>
            <a:headEnd/>
            <a:tailEnd/>
          </a:ln>
        </p:spPr>
      </p:sp>
      <p:sp>
        <p:nvSpPr>
          <p:cNvPr id="57347" name="Rectangle 3"/>
          <p:cNvSpPr>
            <a:spLocks noGrp="1"/>
          </p:cNvSpPr>
          <p:nvPr>
            <p:ph type="body" idx="1"/>
          </p:nvPr>
        </p:nvSpPr>
        <p:spPr>
          <a:noFill/>
          <a:ln/>
        </p:spPr>
        <p:txBody>
          <a:bodyPr lIns="92794" tIns="46398" rIns="92794" bIns="46398"/>
          <a:lstStyle/>
          <a:p>
            <a:endParaRPr lang="en-GB" smtClean="0"/>
          </a:p>
        </p:txBody>
      </p:sp>
    </p:spTree>
    <p:extLst>
      <p:ext uri="{BB962C8B-B14F-4D97-AF65-F5344CB8AC3E}">
        <p14:creationId xmlns:p14="http://schemas.microsoft.com/office/powerpoint/2010/main" xmlns="" val="6565563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44</a:t>
            </a:fld>
            <a:endParaRPr lang="en-US"/>
          </a:p>
        </p:txBody>
      </p:sp>
    </p:spTree>
    <p:extLst>
      <p:ext uri="{BB962C8B-B14F-4D97-AF65-F5344CB8AC3E}">
        <p14:creationId xmlns:p14="http://schemas.microsoft.com/office/powerpoint/2010/main" xmlns="" val="24631402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45</a:t>
            </a:fld>
            <a:endParaRPr lang="en-US"/>
          </a:p>
        </p:txBody>
      </p:sp>
    </p:spTree>
    <p:extLst>
      <p:ext uri="{BB962C8B-B14F-4D97-AF65-F5344CB8AC3E}">
        <p14:creationId xmlns:p14="http://schemas.microsoft.com/office/powerpoint/2010/main" xmlns="" val="10613920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46</a:t>
            </a:fld>
            <a:endParaRPr lang="en-US"/>
          </a:p>
        </p:txBody>
      </p:sp>
    </p:spTree>
    <p:extLst>
      <p:ext uri="{BB962C8B-B14F-4D97-AF65-F5344CB8AC3E}">
        <p14:creationId xmlns:p14="http://schemas.microsoft.com/office/powerpoint/2010/main" xmlns="" val="3212464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4</a:t>
            </a:fld>
            <a:endParaRPr lang="en-US"/>
          </a:p>
        </p:txBody>
      </p:sp>
      <p:sp>
        <p:nvSpPr>
          <p:cNvPr id="6" name="Espace réservé des notes 5"/>
          <p:cNvSpPr>
            <a:spLocks noGrp="1"/>
          </p:cNvSpPr>
          <p:nvPr>
            <p:ph type="body" sz="quarter" idx="12"/>
          </p:nvPr>
        </p:nvSpPr>
        <p:spPr/>
        <p:txBody>
          <a:bodyPr/>
          <a:lstStyle/>
          <a:p>
            <a:endParaRPr lang="fr-FR"/>
          </a:p>
        </p:txBody>
      </p:sp>
    </p:spTree>
    <p:extLst>
      <p:ext uri="{BB962C8B-B14F-4D97-AF65-F5344CB8AC3E}">
        <p14:creationId xmlns:p14="http://schemas.microsoft.com/office/powerpoint/2010/main" xmlns="" val="209509706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47</a:t>
            </a:fld>
            <a:endParaRPr lang="en-US"/>
          </a:p>
        </p:txBody>
      </p:sp>
    </p:spTree>
    <p:extLst>
      <p:ext uri="{BB962C8B-B14F-4D97-AF65-F5344CB8AC3E}">
        <p14:creationId xmlns:p14="http://schemas.microsoft.com/office/powerpoint/2010/main" xmlns="" val="10103553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48</a:t>
            </a:fld>
            <a:endParaRPr lang="en-US"/>
          </a:p>
        </p:txBody>
      </p:sp>
    </p:spTree>
    <p:extLst>
      <p:ext uri="{BB962C8B-B14F-4D97-AF65-F5344CB8AC3E}">
        <p14:creationId xmlns:p14="http://schemas.microsoft.com/office/powerpoint/2010/main" xmlns="" val="8552421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49</a:t>
            </a:fld>
            <a:endParaRPr lang="en-US"/>
          </a:p>
        </p:txBody>
      </p:sp>
    </p:spTree>
    <p:extLst>
      <p:ext uri="{BB962C8B-B14F-4D97-AF65-F5344CB8AC3E}">
        <p14:creationId xmlns:p14="http://schemas.microsoft.com/office/powerpoint/2010/main" xmlns="" val="29337515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50</a:t>
            </a:fld>
            <a:endParaRPr lang="en-US"/>
          </a:p>
        </p:txBody>
      </p:sp>
    </p:spTree>
    <p:extLst>
      <p:ext uri="{BB962C8B-B14F-4D97-AF65-F5344CB8AC3E}">
        <p14:creationId xmlns:p14="http://schemas.microsoft.com/office/powerpoint/2010/main" xmlns="" val="24955311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51</a:t>
            </a:fld>
            <a:endParaRPr lang="en-US"/>
          </a:p>
        </p:txBody>
      </p:sp>
    </p:spTree>
    <p:extLst>
      <p:ext uri="{BB962C8B-B14F-4D97-AF65-F5344CB8AC3E}">
        <p14:creationId xmlns:p14="http://schemas.microsoft.com/office/powerpoint/2010/main" xmlns="" val="39407082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55</a:t>
            </a:fld>
            <a:endParaRPr lang="en-US"/>
          </a:p>
        </p:txBody>
      </p:sp>
    </p:spTree>
    <p:extLst>
      <p:ext uri="{BB962C8B-B14F-4D97-AF65-F5344CB8AC3E}">
        <p14:creationId xmlns:p14="http://schemas.microsoft.com/office/powerpoint/2010/main" xmlns="" val="28345056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C53EB1C0-09CF-4559-84C2-387041BF7517}" type="slidenum">
              <a:rPr lang="en-US" smtClean="0"/>
              <a:pPr>
                <a:defRPr/>
              </a:pPr>
              <a:t>62</a:t>
            </a:fld>
            <a:endParaRPr lang="en-US"/>
          </a:p>
        </p:txBody>
      </p:sp>
    </p:spTree>
    <p:extLst>
      <p:ext uri="{BB962C8B-B14F-4D97-AF65-F5344CB8AC3E}">
        <p14:creationId xmlns:p14="http://schemas.microsoft.com/office/powerpoint/2010/main" xmlns="" val="251677216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C53EB1C0-09CF-4559-84C2-387041BF7517}" type="slidenum">
              <a:rPr lang="en-US" smtClean="0"/>
              <a:pPr>
                <a:defRPr/>
              </a:pPr>
              <a:t>63</a:t>
            </a:fld>
            <a:endParaRPr lang="en-US"/>
          </a:p>
        </p:txBody>
      </p:sp>
    </p:spTree>
    <p:extLst>
      <p:ext uri="{BB962C8B-B14F-4D97-AF65-F5344CB8AC3E}">
        <p14:creationId xmlns:p14="http://schemas.microsoft.com/office/powerpoint/2010/main" xmlns="" val="7039791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5</a:t>
            </a:fld>
            <a:endParaRPr lang="en-US"/>
          </a:p>
        </p:txBody>
      </p:sp>
      <p:sp>
        <p:nvSpPr>
          <p:cNvPr id="6" name="Espace réservé des notes 5"/>
          <p:cNvSpPr>
            <a:spLocks noGrp="1"/>
          </p:cNvSpPr>
          <p:nvPr>
            <p:ph type="body" sz="quarter" idx="12"/>
          </p:nvPr>
        </p:nvSpPr>
        <p:spPr/>
        <p:txBody>
          <a:bodyPr/>
          <a:lstStyle/>
          <a:p>
            <a:endParaRPr lang="fr-FR"/>
          </a:p>
        </p:txBody>
      </p:sp>
    </p:spTree>
    <p:extLst>
      <p:ext uri="{BB962C8B-B14F-4D97-AF65-F5344CB8AC3E}">
        <p14:creationId xmlns:p14="http://schemas.microsoft.com/office/powerpoint/2010/main" xmlns="" val="15998202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6</a:t>
            </a:fld>
            <a:endParaRPr lang="en-US"/>
          </a:p>
        </p:txBody>
      </p:sp>
      <p:sp>
        <p:nvSpPr>
          <p:cNvPr id="6" name="Espace réservé des notes 5"/>
          <p:cNvSpPr>
            <a:spLocks noGrp="1"/>
          </p:cNvSpPr>
          <p:nvPr>
            <p:ph type="body" sz="quarter" idx="12"/>
          </p:nvPr>
        </p:nvSpPr>
        <p:spPr/>
        <p:txBody>
          <a:bodyPr/>
          <a:lstStyle/>
          <a:p>
            <a:endParaRPr lang="fr-FR"/>
          </a:p>
        </p:txBody>
      </p:sp>
    </p:spTree>
    <p:extLst>
      <p:ext uri="{BB962C8B-B14F-4D97-AF65-F5344CB8AC3E}">
        <p14:creationId xmlns:p14="http://schemas.microsoft.com/office/powerpoint/2010/main" xmlns="" val="37564687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7</a:t>
            </a:fld>
            <a:endParaRPr lang="en-US"/>
          </a:p>
        </p:txBody>
      </p:sp>
      <p:sp>
        <p:nvSpPr>
          <p:cNvPr id="6" name="Espace réservé des notes 5"/>
          <p:cNvSpPr>
            <a:spLocks noGrp="1"/>
          </p:cNvSpPr>
          <p:nvPr>
            <p:ph type="body" sz="quarter" idx="12"/>
          </p:nvPr>
        </p:nvSpPr>
        <p:spPr/>
        <p:txBody>
          <a:bodyPr/>
          <a:lstStyle/>
          <a:p>
            <a:endParaRPr lang="fr-FR"/>
          </a:p>
        </p:txBody>
      </p:sp>
    </p:spTree>
    <p:extLst>
      <p:ext uri="{BB962C8B-B14F-4D97-AF65-F5344CB8AC3E}">
        <p14:creationId xmlns:p14="http://schemas.microsoft.com/office/powerpoint/2010/main" xmlns="" val="24097835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8</a:t>
            </a:fld>
            <a:endParaRPr lang="en-US"/>
          </a:p>
        </p:txBody>
      </p:sp>
      <p:sp>
        <p:nvSpPr>
          <p:cNvPr id="6" name="Espace réservé des notes 5"/>
          <p:cNvSpPr>
            <a:spLocks noGrp="1"/>
          </p:cNvSpPr>
          <p:nvPr>
            <p:ph type="body" sz="quarter" idx="12"/>
          </p:nvPr>
        </p:nvSpPr>
        <p:spPr/>
        <p:txBody>
          <a:bodyPr/>
          <a:lstStyle/>
          <a:p>
            <a:endParaRPr lang="fr-FR"/>
          </a:p>
        </p:txBody>
      </p:sp>
    </p:spTree>
    <p:extLst>
      <p:ext uri="{BB962C8B-B14F-4D97-AF65-F5344CB8AC3E}">
        <p14:creationId xmlns:p14="http://schemas.microsoft.com/office/powerpoint/2010/main" xmlns="" val="1324792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e la date 3"/>
          <p:cNvSpPr>
            <a:spLocks noGrp="1"/>
          </p:cNvSpPr>
          <p:nvPr>
            <p:ph type="dt" idx="10"/>
          </p:nvPr>
        </p:nvSpPr>
        <p:spPr/>
        <p:txBody>
          <a:bodyPr/>
          <a:lstStyle/>
          <a:p>
            <a:pPr>
              <a:defRPr/>
            </a:pPr>
            <a:endParaRPr lang="en-US"/>
          </a:p>
        </p:txBody>
      </p:sp>
      <p:sp>
        <p:nvSpPr>
          <p:cNvPr id="5" name="Espace réservé du numéro de diapositive 4"/>
          <p:cNvSpPr>
            <a:spLocks noGrp="1"/>
          </p:cNvSpPr>
          <p:nvPr>
            <p:ph type="sldNum" sz="quarter" idx="11"/>
          </p:nvPr>
        </p:nvSpPr>
        <p:spPr/>
        <p:txBody>
          <a:bodyPr/>
          <a:lstStyle/>
          <a:p>
            <a:pPr>
              <a:defRPr/>
            </a:pPr>
            <a:fld id="{E6591A19-7CAC-4667-B636-76427AC1A002}" type="slidenum">
              <a:rPr lang="en-US" smtClean="0"/>
              <a:pPr>
                <a:defRPr/>
              </a:pPr>
              <a:t>9</a:t>
            </a:fld>
            <a:endParaRPr lang="en-US"/>
          </a:p>
        </p:txBody>
      </p:sp>
      <p:sp>
        <p:nvSpPr>
          <p:cNvPr id="6" name="Espace réservé des notes 5"/>
          <p:cNvSpPr>
            <a:spLocks noGrp="1"/>
          </p:cNvSpPr>
          <p:nvPr>
            <p:ph type="body" sz="quarter" idx="12"/>
          </p:nvPr>
        </p:nvSpPr>
        <p:spPr/>
        <p:txBody>
          <a:bodyPr/>
          <a:lstStyle/>
          <a:p>
            <a:endParaRPr lang="fr-FR"/>
          </a:p>
        </p:txBody>
      </p:sp>
    </p:spTree>
    <p:extLst>
      <p:ext uri="{BB962C8B-B14F-4D97-AF65-F5344CB8AC3E}">
        <p14:creationId xmlns:p14="http://schemas.microsoft.com/office/powerpoint/2010/main" xmlns="" val="42156884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Diapositive de titre">
    <p:spTree>
      <p:nvGrpSpPr>
        <p:cNvPr id="1" name=""/>
        <p:cNvGrpSpPr/>
        <p:nvPr/>
      </p:nvGrpSpPr>
      <p:grpSpPr>
        <a:xfrm>
          <a:off x="0" y="0"/>
          <a:ext cx="0" cy="0"/>
          <a:chOff x="0" y="0"/>
          <a:chExt cx="0" cy="0"/>
        </a:xfrm>
      </p:grpSpPr>
      <p:sp>
        <p:nvSpPr>
          <p:cNvPr id="5"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fr-FR" sz="800" baseline="0" noProof="0" dirty="0" smtClean="0">
              <a:latin typeface="+mn-lt"/>
            </a:endParaRPr>
          </a:p>
        </p:txBody>
      </p:sp>
      <p:grpSp>
        <p:nvGrpSpPr>
          <p:cNvPr id="2" name="McK Title Elements"/>
          <p:cNvGrpSpPr>
            <a:grpSpLocks/>
          </p:cNvGrpSpPr>
          <p:nvPr/>
        </p:nvGrpSpPr>
        <p:grpSpPr bwMode="auto">
          <a:xfrm>
            <a:off x="4" y="4"/>
            <a:ext cx="9140760" cy="6859620"/>
            <a:chOff x="0" y="0"/>
            <a:chExt cx="5643" cy="4235"/>
          </a:xfrm>
        </p:grpSpPr>
        <p:sp>
          <p:nvSpPr>
            <p:cNvPr id="9" name="McK Document type" hidden="1"/>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00" baseline="0" noProof="0" dirty="0" smtClean="0">
                  <a:latin typeface="+mn-lt"/>
                </a:rPr>
                <a:t>Document type</a:t>
              </a:r>
            </a:p>
          </p:txBody>
        </p:sp>
        <p:sp>
          <p:nvSpPr>
            <p:cNvPr id="10" name="McK Date" hidden="1"/>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00" baseline="0" noProof="0" dirty="0" smtClean="0">
                  <a:latin typeface="+mn-lt"/>
                </a:rPr>
                <a:t>Date</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baseline="0" noProof="0" dirty="0">
                <a:latin typeface="+mn-lt"/>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baseline="0" noProof="0" dirty="0">
                <a:latin typeface="+mn-lt"/>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baseline="0" noProof="0" dirty="0">
                <a:latin typeface="+mn-lt"/>
              </a:endParaRPr>
            </a:p>
          </p:txBody>
        </p:sp>
      </p:grpSp>
      <p:pic>
        <p:nvPicPr>
          <p:cNvPr id="18" name="TitleBottomBarBW" hidden="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320063" y="6574549"/>
            <a:ext cx="1670055" cy="195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93795" y="2176938"/>
            <a:ext cx="5036084" cy="1015663"/>
          </a:xfrm>
          <a:prstGeom prst="rect">
            <a:avLst/>
          </a:prstGeom>
        </p:spPr>
        <p:txBody>
          <a:bodyPr/>
          <a:lstStyle>
            <a:lvl1pPr>
              <a:defRPr sz="3300" b="0" baseline="0">
                <a:latin typeface="+mj-lt"/>
                <a:ea typeface="+mj-ea"/>
              </a:defRPr>
            </a:lvl1pPr>
          </a:lstStyle>
          <a:p>
            <a:pPr lvl="0"/>
            <a:r>
              <a:rPr lang="fr-FR" noProof="0" smtClean="0"/>
              <a:t>Modifiez le style du titre</a:t>
            </a:r>
          </a:p>
        </p:txBody>
      </p:sp>
      <p:sp>
        <p:nvSpPr>
          <p:cNvPr id="13315" name="Rectangle 1027"/>
          <p:cNvSpPr>
            <a:spLocks noGrp="1" noChangeArrowheads="1"/>
          </p:cNvSpPr>
          <p:nvPr>
            <p:ph type="subTitle" idx="1"/>
          </p:nvPr>
        </p:nvSpPr>
        <p:spPr>
          <a:xfrm>
            <a:off x="2693795" y="3945699"/>
            <a:ext cx="5036084" cy="219820"/>
          </a:xfrm>
        </p:spPr>
        <p:txBody>
          <a:bodyPr>
            <a:spAutoFit/>
          </a:bodyPr>
          <a:lstStyle>
            <a:lvl1pPr>
              <a:defRPr sz="1400" baseline="0">
                <a:latin typeface="+mj-lt"/>
                <a:ea typeface="+mj-ea"/>
              </a:defRPr>
            </a:lvl1pPr>
          </a:lstStyle>
          <a:p>
            <a:pPr lvl="0"/>
            <a:r>
              <a:rPr lang="fr-FR" noProof="0" smtClean="0"/>
              <a:t>Modifiez le style des sous-titres du masque</a:t>
            </a:r>
          </a:p>
        </p:txBody>
      </p:sp>
    </p:spTree>
    <p:extLst>
      <p:ext uri="{BB962C8B-B14F-4D97-AF65-F5344CB8AC3E}">
        <p14:creationId xmlns:p14="http://schemas.microsoft.com/office/powerpoint/2010/main" xmlns="" val="6492502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457200" y="6356350"/>
            <a:ext cx="2133600" cy="365125"/>
          </a:xfrm>
          <a:prstGeom prst="rect">
            <a:avLst/>
          </a:prstGeom>
        </p:spPr>
        <p:txBody>
          <a:bodyPr/>
          <a:lstStyle/>
          <a:p>
            <a:endParaRPr lang="en-US"/>
          </a:p>
        </p:txBody>
      </p:sp>
      <p:sp>
        <p:nvSpPr>
          <p:cNvPr id="3" name="Espace réservé du pied de page 2"/>
          <p:cNvSpPr>
            <a:spLocks noGrp="1"/>
          </p:cNvSpPr>
          <p:nvPr>
            <p:ph type="ftr" sz="quarter" idx="11"/>
          </p:nvPr>
        </p:nvSpPr>
        <p:spPr>
          <a:xfrm>
            <a:off x="2667000" y="6356350"/>
            <a:ext cx="3352800" cy="365125"/>
          </a:xfrm>
          <a:prstGeom prst="rect">
            <a:avLst/>
          </a:prstGeom>
        </p:spPr>
        <p:txBody>
          <a:bodyPr/>
          <a:lstStyle/>
          <a:p>
            <a:endParaRPr kumimoji="0" lang="en-US"/>
          </a:p>
        </p:txBody>
      </p:sp>
      <p:sp>
        <p:nvSpPr>
          <p:cNvPr id="4" name="Espace réservé du numéro de diapositive 3"/>
          <p:cNvSpPr>
            <a:spLocks noGrp="1"/>
          </p:cNvSpPr>
          <p:nvPr>
            <p:ph type="sldNum" sz="quarter" idx="12"/>
          </p:nvPr>
        </p:nvSpPr>
        <p:spPr>
          <a:xfrm>
            <a:off x="7924800" y="6356350"/>
            <a:ext cx="762000" cy="365125"/>
          </a:xfrm>
          <a:prstGeom prst="rect">
            <a:avLst/>
          </a:prstGeom>
        </p:spPr>
        <p:txBody>
          <a:bodyPr/>
          <a:lstStyle/>
          <a:p>
            <a:fld id="{042AED99-7FB4-404E-8A97-64753DCE42EC}" type="slidenum">
              <a:rPr kumimoji="0" lang="en-US" smtClean="0"/>
              <a:pPr/>
              <a:t>‹N°›</a:t>
            </a:fld>
            <a:endParaRPr kumimoji="0" lang="en-US" dirty="0"/>
          </a:p>
        </p:txBody>
      </p:sp>
      <p:cxnSp>
        <p:nvCxnSpPr>
          <p:cNvPr id="5" name="Connecteur droit 4"/>
          <p:cNvCxnSpPr/>
          <p:nvPr userDrawn="1"/>
        </p:nvCxnSpPr>
        <p:spPr>
          <a:xfrm>
            <a:off x="0" y="1723664"/>
            <a:ext cx="9144000"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 name="Connecteur droit 5"/>
          <p:cNvCxnSpPr/>
          <p:nvPr userDrawn="1"/>
        </p:nvCxnSpPr>
        <p:spPr>
          <a:xfrm>
            <a:off x="0" y="5108040"/>
            <a:ext cx="9144000"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2906387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apositive de titre">
    <p:spTree>
      <p:nvGrpSpPr>
        <p:cNvPr id="1" name=""/>
        <p:cNvGrpSpPr/>
        <p:nvPr/>
      </p:nvGrpSpPr>
      <p:grpSpPr>
        <a:xfrm>
          <a:off x="0" y="0"/>
          <a:ext cx="0" cy="0"/>
          <a:chOff x="0" y="0"/>
          <a:chExt cx="0" cy="0"/>
        </a:xfrm>
      </p:grpSpPr>
      <p:sp>
        <p:nvSpPr>
          <p:cNvPr id="5"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fr-FR" sz="800" baseline="0" noProof="0" dirty="0" smtClean="0">
              <a:latin typeface="+mn-lt"/>
            </a:endParaRPr>
          </a:p>
        </p:txBody>
      </p:sp>
      <p:grpSp>
        <p:nvGrpSpPr>
          <p:cNvPr id="2" name="McK Title Elements"/>
          <p:cNvGrpSpPr>
            <a:grpSpLocks/>
          </p:cNvGrpSpPr>
          <p:nvPr/>
        </p:nvGrpSpPr>
        <p:grpSpPr bwMode="auto">
          <a:xfrm>
            <a:off x="4" y="4"/>
            <a:ext cx="9140760" cy="6859620"/>
            <a:chOff x="0" y="0"/>
            <a:chExt cx="5643" cy="4235"/>
          </a:xfrm>
        </p:grpSpPr>
        <p:sp>
          <p:nvSpPr>
            <p:cNvPr id="9" name="McK Document type" hidden="1"/>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00" baseline="0" noProof="0" dirty="0" smtClean="0">
                  <a:latin typeface="+mn-lt"/>
                </a:rPr>
                <a:t>Document type</a:t>
              </a:r>
            </a:p>
          </p:txBody>
        </p:sp>
        <p:sp>
          <p:nvSpPr>
            <p:cNvPr id="10" name="McK Date" hidden="1"/>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00" baseline="0" noProof="0" dirty="0" smtClean="0">
                  <a:latin typeface="+mn-lt"/>
                </a:rPr>
                <a:t>Date</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baseline="0" noProof="0" dirty="0">
                <a:latin typeface="+mn-lt"/>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baseline="0" noProof="0" dirty="0">
                <a:latin typeface="+mn-lt"/>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baseline="0" noProof="0" dirty="0">
                <a:latin typeface="+mn-lt"/>
              </a:endParaRPr>
            </a:p>
          </p:txBody>
        </p:sp>
      </p:grpSp>
      <p:pic>
        <p:nvPicPr>
          <p:cNvPr id="18" name="TitleBottomBarBW" hidden="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320063" y="6574549"/>
            <a:ext cx="1670055" cy="195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93795" y="2176938"/>
            <a:ext cx="5036084" cy="1015663"/>
          </a:xfrm>
          <a:prstGeom prst="rect">
            <a:avLst/>
          </a:prstGeom>
        </p:spPr>
        <p:txBody>
          <a:bodyPr/>
          <a:lstStyle>
            <a:lvl1pPr>
              <a:defRPr sz="3300" b="0" baseline="0">
                <a:latin typeface="+mj-lt"/>
                <a:ea typeface="+mj-ea"/>
              </a:defRPr>
            </a:lvl1pPr>
          </a:lstStyle>
          <a:p>
            <a:pPr lvl="0"/>
            <a:r>
              <a:rPr lang="fr-FR" noProof="0" smtClean="0"/>
              <a:t>Modifiez le style du titre</a:t>
            </a:r>
          </a:p>
        </p:txBody>
      </p:sp>
      <p:sp>
        <p:nvSpPr>
          <p:cNvPr id="13315" name="Rectangle 1027"/>
          <p:cNvSpPr>
            <a:spLocks noGrp="1" noChangeArrowheads="1"/>
          </p:cNvSpPr>
          <p:nvPr>
            <p:ph type="subTitle" idx="1"/>
          </p:nvPr>
        </p:nvSpPr>
        <p:spPr>
          <a:xfrm>
            <a:off x="2693795" y="3945699"/>
            <a:ext cx="5036084" cy="219820"/>
          </a:xfrm>
        </p:spPr>
        <p:txBody>
          <a:bodyPr>
            <a:spAutoFit/>
          </a:bodyPr>
          <a:lstStyle>
            <a:lvl1pPr>
              <a:defRPr sz="1400" baseline="0">
                <a:latin typeface="+mj-lt"/>
                <a:ea typeface="+mj-ea"/>
              </a:defRPr>
            </a:lvl1pPr>
          </a:lstStyle>
          <a:p>
            <a:pPr lvl="0"/>
            <a:r>
              <a:rPr lang="fr-FR" noProof="0" smtClean="0"/>
              <a:t>Modifiez le style des sous-titres du masque</a:t>
            </a:r>
          </a:p>
        </p:txBody>
      </p:sp>
    </p:spTree>
    <p:extLst>
      <p:ext uri="{BB962C8B-B14F-4D97-AF65-F5344CB8AC3E}">
        <p14:creationId xmlns:p14="http://schemas.microsoft.com/office/powerpoint/2010/main" xmlns="" val="302543414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2_Diapositive de titre">
    <p:spTree>
      <p:nvGrpSpPr>
        <p:cNvPr id="1" name=""/>
        <p:cNvGrpSpPr/>
        <p:nvPr/>
      </p:nvGrpSpPr>
      <p:grpSpPr>
        <a:xfrm>
          <a:off x="0" y="0"/>
          <a:ext cx="0" cy="0"/>
          <a:chOff x="0" y="0"/>
          <a:chExt cx="0" cy="0"/>
        </a:xfrm>
      </p:grpSpPr>
      <p:sp>
        <p:nvSpPr>
          <p:cNvPr id="14" name="Titre 13"/>
          <p:cNvSpPr>
            <a:spLocks noGrp="1"/>
          </p:cNvSpPr>
          <p:nvPr>
            <p:ph type="ctrTitle"/>
          </p:nvPr>
        </p:nvSpPr>
        <p:spPr>
          <a:xfrm>
            <a:off x="1432560" y="359898"/>
            <a:ext cx="7406640" cy="1472184"/>
          </a:xfrm>
        </p:spPr>
        <p:txBody>
          <a:bodyPr anchor="b"/>
          <a:lstStyle>
            <a:lvl1pPr algn="l">
              <a:defRPr/>
            </a:lvl1pPr>
            <a:extLst/>
          </a:lstStyle>
          <a:p>
            <a:r>
              <a:rPr kumimoji="0" lang="fr-FR" smtClean="0"/>
              <a:t>Cliquez pour modifier le style du titre</a:t>
            </a:r>
            <a:endParaRPr kumimoji="0" lang="en-US"/>
          </a:p>
        </p:txBody>
      </p:sp>
      <p:sp>
        <p:nvSpPr>
          <p:cNvPr id="22" name="Sous-titre 21"/>
          <p:cNvSpPr>
            <a:spLocks noGrp="1"/>
          </p:cNvSpPr>
          <p:nvPr>
            <p:ph type="subTitle" idx="1"/>
          </p:nvPr>
        </p:nvSpPr>
        <p:spPr>
          <a:xfrm>
            <a:off x="1432560" y="1850064"/>
            <a:ext cx="740664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fr-FR" smtClean="0"/>
              <a:t>Cliquez pour modifier le style des sous-titres du masque</a:t>
            </a:r>
            <a:endParaRPr kumimoji="0" lang="en-US"/>
          </a:p>
        </p:txBody>
      </p:sp>
      <p:sp>
        <p:nvSpPr>
          <p:cNvPr id="7" name="Espace réservé de la date 6"/>
          <p:cNvSpPr>
            <a:spLocks noGrp="1"/>
          </p:cNvSpPr>
          <p:nvPr>
            <p:ph type="dt" sz="half" idx="10"/>
          </p:nvPr>
        </p:nvSpPr>
        <p:spPr>
          <a:xfrm>
            <a:off x="457200" y="6356350"/>
            <a:ext cx="2133600" cy="365125"/>
          </a:xfrm>
          <a:prstGeom prst="rect">
            <a:avLst/>
          </a:prstGeom>
        </p:spPr>
        <p:txBody>
          <a:bodyPr/>
          <a:lstStyle/>
          <a:p>
            <a:pPr>
              <a:defRPr/>
            </a:pPr>
            <a:endParaRPr lang="en-US"/>
          </a:p>
        </p:txBody>
      </p:sp>
      <p:sp>
        <p:nvSpPr>
          <p:cNvPr id="20" name="Espace réservé du pied de page 19"/>
          <p:cNvSpPr>
            <a:spLocks noGrp="1"/>
          </p:cNvSpPr>
          <p:nvPr>
            <p:ph type="ftr" sz="quarter" idx="11"/>
          </p:nvPr>
        </p:nvSpPr>
        <p:spPr>
          <a:xfrm>
            <a:off x="3124201" y="6356350"/>
            <a:ext cx="2895600" cy="365125"/>
          </a:xfrm>
          <a:prstGeom prst="rect">
            <a:avLst/>
          </a:prstGeom>
        </p:spPr>
        <p:txBody>
          <a:bodyPr/>
          <a:lstStyle/>
          <a:p>
            <a:pPr>
              <a:defRPr/>
            </a:pPr>
            <a:endParaRPr lang="en-US"/>
          </a:p>
        </p:txBody>
      </p:sp>
      <p:sp>
        <p:nvSpPr>
          <p:cNvPr id="10" name="Espace réservé du numéro de diapositive 9"/>
          <p:cNvSpPr>
            <a:spLocks noGrp="1"/>
          </p:cNvSpPr>
          <p:nvPr>
            <p:ph type="sldNum" sz="quarter" idx="12"/>
          </p:nvPr>
        </p:nvSpPr>
        <p:spPr>
          <a:xfrm>
            <a:off x="6553200" y="6356350"/>
            <a:ext cx="2133600" cy="365125"/>
          </a:xfrm>
          <a:prstGeom prst="rect">
            <a:avLst/>
          </a:prstGeom>
        </p:spPr>
        <p:txBody>
          <a:bodyPr/>
          <a:lstStyle/>
          <a:p>
            <a:pPr>
              <a:defRPr/>
            </a:pPr>
            <a:fld id="{D7121611-C5E1-4B30-B081-B703FA7110C6}" type="slidenum">
              <a:rPr lang="en-US" smtClean="0"/>
              <a:pPr>
                <a:defRPr/>
              </a:pPr>
              <a:t>‹N°›</a:t>
            </a:fld>
            <a:endParaRPr lang="en-US"/>
          </a:p>
        </p:txBody>
      </p:sp>
    </p:spTree>
    <p:extLst>
      <p:ext uri="{BB962C8B-B14F-4D97-AF65-F5344CB8AC3E}">
        <p14:creationId xmlns:p14="http://schemas.microsoft.com/office/powerpoint/2010/main" xmlns="" val="11133538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2_Title and Content">
    <p:spTree>
      <p:nvGrpSpPr>
        <p:cNvPr id="1" name=""/>
        <p:cNvGrpSpPr/>
        <p:nvPr/>
      </p:nvGrpSpPr>
      <p:grpSpPr>
        <a:xfrm>
          <a:off x="0" y="0"/>
          <a:ext cx="0" cy="0"/>
          <a:chOff x="0" y="0"/>
          <a:chExt cx="0" cy="0"/>
        </a:xfrm>
      </p:grpSpPr>
      <p:cxnSp>
        <p:nvCxnSpPr>
          <p:cNvPr id="13" name="Connecteur droit 9"/>
          <p:cNvCxnSpPr/>
          <p:nvPr userDrawn="1"/>
        </p:nvCxnSpPr>
        <p:spPr>
          <a:xfrm>
            <a:off x="130634" y="895468"/>
            <a:ext cx="8763000" cy="0"/>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18" name="Text Placeholder 28"/>
          <p:cNvSpPr>
            <a:spLocks noGrp="1"/>
          </p:cNvSpPr>
          <p:nvPr>
            <p:ph type="body" sz="quarter" idx="23"/>
          </p:nvPr>
        </p:nvSpPr>
        <p:spPr>
          <a:xfrm>
            <a:off x="164012" y="176177"/>
            <a:ext cx="8791302" cy="710519"/>
          </a:xfrm>
        </p:spPr>
        <p:txBody>
          <a:bodyPr anchor="ctr" anchorCtr="0">
            <a:normAutofit/>
          </a:bodyPr>
          <a:lstStyle>
            <a:lvl1pPr marL="0" indent="0" algn="r" rtl="1">
              <a:buNone/>
              <a:defRPr lang="en-US" sz="1800" b="0" kern="1200" dirty="0" smtClean="0">
                <a:solidFill>
                  <a:srgbClr val="FF0000"/>
                </a:solidFill>
                <a:latin typeface="Arial" pitchFamily="34" charset="0"/>
                <a:ea typeface="+mj-ea"/>
                <a:cs typeface="Arial" pitchFamily="34" charset="0"/>
              </a:defRPr>
            </a:lvl1pPr>
            <a:lvl2pPr>
              <a:buNone/>
              <a:defRPr/>
            </a:lvl2pPr>
          </a:lstStyle>
          <a:p>
            <a:pPr marL="0" marR="0" lvl="0" indent="0" algn="r" defTabSz="914206" rtl="1" eaLnBrk="1" fontAlgn="auto" latinLnBrk="0" hangingPunct="1">
              <a:lnSpc>
                <a:spcPct val="100000"/>
              </a:lnSpc>
              <a:spcBef>
                <a:spcPct val="0"/>
              </a:spcBef>
              <a:spcAft>
                <a:spcPts val="0"/>
              </a:spcAft>
              <a:buClrTx/>
              <a:buSzTx/>
              <a:buFontTx/>
              <a:buNone/>
              <a:tabLst/>
              <a:defRPr/>
            </a:pPr>
            <a:r>
              <a:rPr lang="en-US" dirty="0" smtClean="0"/>
              <a:t>Click to edit Master text styles</a:t>
            </a:r>
          </a:p>
        </p:txBody>
      </p:sp>
      <p:sp>
        <p:nvSpPr>
          <p:cNvPr id="20" name="ZoneTexte 9"/>
          <p:cNvSpPr txBox="1"/>
          <p:nvPr userDrawn="1"/>
        </p:nvSpPr>
        <p:spPr>
          <a:xfrm>
            <a:off x="6215074" y="6400871"/>
            <a:ext cx="2520280" cy="406353"/>
          </a:xfrm>
          <a:prstGeom prst="rect">
            <a:avLst/>
          </a:prstGeom>
          <a:noFill/>
        </p:spPr>
        <p:txBody>
          <a:bodyPr wrap="square" lIns="91420" tIns="45711" rIns="91420" bIns="45711" rtlCol="0">
            <a:spAutoFit/>
          </a:bodyPr>
          <a:lstStyle/>
          <a:p>
            <a:pPr marL="0" marR="0" lvl="0" indent="0" algn="r" defTabSz="914206" rtl="0" eaLnBrk="1" fontAlgn="auto" latinLnBrk="0" hangingPunct="1">
              <a:lnSpc>
                <a:spcPct val="100000"/>
              </a:lnSpc>
              <a:spcBef>
                <a:spcPts val="0"/>
              </a:spcBef>
              <a:spcAft>
                <a:spcPts val="0"/>
              </a:spcAft>
              <a:buClrTx/>
              <a:buSzTx/>
              <a:buFontTx/>
              <a:buNone/>
              <a:tabLst/>
              <a:defRPr/>
            </a:pP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الجمهورية التونسية</a:t>
            </a:r>
            <a:b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b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وزارة التنمية والاستثمار والتعاون الدولي</a:t>
            </a:r>
            <a:endParaRPr kumimoji="0" lang="fr-BE" sz="1000" b="0" i="0" u="none" strike="noStrike" kern="1200" cap="none" spc="0" normalizeH="0" baseline="0" noProof="0" dirty="0">
              <a:ln>
                <a:noFill/>
              </a:ln>
              <a:solidFill>
                <a:prstClr val="black">
                  <a:tint val="75000"/>
                </a:prstClr>
              </a:solidFill>
              <a:effectLst/>
              <a:uLnTx/>
              <a:uFillTx/>
              <a:latin typeface="+mn-lt"/>
              <a:ea typeface="+mn-ea"/>
              <a:cs typeface="+mn-cs"/>
            </a:endParaRPr>
          </a:p>
        </p:txBody>
      </p:sp>
      <p:pic>
        <p:nvPicPr>
          <p:cNvPr id="21"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730048" y="6357254"/>
            <a:ext cx="363968" cy="48734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2" name="Espace réservé du pied de page 4"/>
          <p:cNvSpPr>
            <a:spLocks noGrp="1"/>
          </p:cNvSpPr>
          <p:nvPr>
            <p:ph type="ftr" sz="quarter" idx="11"/>
          </p:nvPr>
        </p:nvSpPr>
        <p:spPr>
          <a:xfrm>
            <a:off x="3124201" y="6418365"/>
            <a:ext cx="2895600" cy="365125"/>
          </a:xfrm>
          <a:prstGeom prst="rect">
            <a:avLst/>
          </a:prstGeom>
        </p:spPr>
        <p:txBody>
          <a:bodyPr/>
          <a:lstStyle>
            <a:lvl1pPr marL="0" marR="0" indent="0" algn="ctr" defTabSz="914206" rtl="0" eaLnBrk="1" fontAlgn="auto" latinLnBrk="0" hangingPunct="1">
              <a:lnSpc>
                <a:spcPct val="100000"/>
              </a:lnSpc>
              <a:spcBef>
                <a:spcPts val="0"/>
              </a:spcBef>
              <a:spcAft>
                <a:spcPts val="0"/>
              </a:spcAft>
              <a:buClrTx/>
              <a:buSzTx/>
              <a:buFontTx/>
              <a:buNone/>
              <a:tabLst/>
              <a:defRPr sz="1000">
                <a:solidFill>
                  <a:srgbClr val="FF7575"/>
                </a:solidFill>
              </a:defRPr>
            </a:lvl1pPr>
          </a:lstStyle>
          <a:p>
            <a:r>
              <a:rPr lang="ar-TN" dirty="0" smtClean="0"/>
              <a:t>24 أفريل 2015</a:t>
            </a:r>
            <a:endParaRPr lang="fr-BE" dirty="0"/>
          </a:p>
        </p:txBody>
      </p:sp>
      <p:sp>
        <p:nvSpPr>
          <p:cNvPr id="23" name="Espace réservé du numéro de diapositive 5"/>
          <p:cNvSpPr txBox="1">
            <a:spLocks/>
          </p:cNvSpPr>
          <p:nvPr userDrawn="1"/>
        </p:nvSpPr>
        <p:spPr>
          <a:xfrm>
            <a:off x="428596" y="6418365"/>
            <a:ext cx="625504" cy="365125"/>
          </a:xfrm>
          <a:prstGeom prst="rect">
            <a:avLst/>
          </a:prstGeom>
        </p:spPr>
        <p:txBody>
          <a:bodyPr vert="horz" lIns="91420" tIns="45711" rIns="91420" bIns="45711" rtlCol="0" anchor="ctr"/>
          <a:lstStyle>
            <a:lvl1pPr algn="l">
              <a:defRPr/>
            </a:lvl1pPr>
          </a:lstStyle>
          <a:p>
            <a:pPr marL="0" marR="0" lvl="0" indent="0" algn="ctr" defTabSz="914206" rtl="0" eaLnBrk="1" fontAlgn="auto" latinLnBrk="0" hangingPunct="1">
              <a:lnSpc>
                <a:spcPct val="100000"/>
              </a:lnSpc>
              <a:spcBef>
                <a:spcPts val="0"/>
              </a:spcBef>
              <a:spcAft>
                <a:spcPts val="0"/>
              </a:spcAft>
              <a:buClrTx/>
              <a:buSzTx/>
              <a:buFontTx/>
              <a:buNone/>
              <a:tabLst/>
              <a:defRPr/>
            </a:pPr>
            <a:fld id="{CF4668DC-857F-487D-BFFA-8C0CA5037977}" type="slidenum">
              <a:rPr lang="fr-BE" sz="1000" kern="1200" noProof="0" smtClean="0">
                <a:solidFill>
                  <a:srgbClr val="E51B2E"/>
                </a:solidFill>
                <a:latin typeface="Arial" pitchFamily="34" charset="0"/>
                <a:ea typeface="+mn-ea"/>
                <a:cs typeface="Arial" pitchFamily="34" charset="0"/>
              </a:rPr>
              <a:pPr marL="0" marR="0" lvl="0" indent="0" algn="ctr" defTabSz="914206" rtl="0" eaLnBrk="1" fontAlgn="auto" latinLnBrk="0" hangingPunct="1">
                <a:lnSpc>
                  <a:spcPct val="100000"/>
                </a:lnSpc>
                <a:spcBef>
                  <a:spcPts val="0"/>
                </a:spcBef>
                <a:spcAft>
                  <a:spcPts val="0"/>
                </a:spcAft>
                <a:buClrTx/>
                <a:buSzTx/>
                <a:buFontTx/>
                <a:buNone/>
                <a:tabLst/>
                <a:defRPr/>
              </a:pPr>
              <a:t>‹N°›</a:t>
            </a:fld>
            <a:endParaRPr lang="fr-BE" sz="1000" kern="1200" noProof="0" dirty="0">
              <a:solidFill>
                <a:srgbClr val="E51B2E"/>
              </a:solidFill>
              <a:latin typeface="Arial" pitchFamily="34" charset="0"/>
              <a:ea typeface="+mn-ea"/>
              <a:cs typeface="Arial" pitchFamily="34" charset="0"/>
            </a:endParaRPr>
          </a:p>
        </p:txBody>
      </p:sp>
      <p:cxnSp>
        <p:nvCxnSpPr>
          <p:cNvPr id="24" name="Connecteur droit 8"/>
          <p:cNvCxnSpPr/>
          <p:nvPr userDrawn="1"/>
        </p:nvCxnSpPr>
        <p:spPr>
          <a:xfrm>
            <a:off x="0" y="6358062"/>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a:endParaRPr lang="fr-FR"/>
          </a:p>
        </p:txBody>
      </p:sp>
    </p:spTree>
    <p:extLst>
      <p:ext uri="{BB962C8B-B14F-4D97-AF65-F5344CB8AC3E}">
        <p14:creationId xmlns:p14="http://schemas.microsoft.com/office/powerpoint/2010/main" xmlns="" val="40967416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4_Title and Content">
    <p:spTree>
      <p:nvGrpSpPr>
        <p:cNvPr id="1" name=""/>
        <p:cNvGrpSpPr/>
        <p:nvPr/>
      </p:nvGrpSpPr>
      <p:grpSpPr>
        <a:xfrm>
          <a:off x="0" y="0"/>
          <a:ext cx="0" cy="0"/>
          <a:chOff x="0" y="0"/>
          <a:chExt cx="0" cy="0"/>
        </a:xfrm>
      </p:grpSpPr>
      <p:cxnSp>
        <p:nvCxnSpPr>
          <p:cNvPr id="13" name="Connecteur droit 9"/>
          <p:cNvCxnSpPr/>
          <p:nvPr userDrawn="1"/>
        </p:nvCxnSpPr>
        <p:spPr>
          <a:xfrm>
            <a:off x="130634" y="895468"/>
            <a:ext cx="8763000" cy="0"/>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18" name="Text Placeholder 28"/>
          <p:cNvSpPr>
            <a:spLocks noGrp="1"/>
          </p:cNvSpPr>
          <p:nvPr>
            <p:ph type="body" sz="quarter" idx="23"/>
          </p:nvPr>
        </p:nvSpPr>
        <p:spPr>
          <a:xfrm>
            <a:off x="164012" y="176177"/>
            <a:ext cx="8791302" cy="710519"/>
          </a:xfrm>
        </p:spPr>
        <p:txBody>
          <a:bodyPr anchor="ctr" anchorCtr="0">
            <a:normAutofit/>
          </a:bodyPr>
          <a:lstStyle>
            <a:lvl1pPr marL="0" indent="0" algn="r" rtl="1">
              <a:buNone/>
              <a:defRPr lang="en-US" sz="1800" b="0" kern="1200" dirty="0" smtClean="0">
                <a:solidFill>
                  <a:srgbClr val="FF0000"/>
                </a:solidFill>
                <a:latin typeface="Arial" pitchFamily="34" charset="0"/>
                <a:ea typeface="+mj-ea"/>
                <a:cs typeface="Arial" pitchFamily="34" charset="0"/>
              </a:defRPr>
            </a:lvl1pPr>
            <a:lvl2pPr>
              <a:buNone/>
              <a:defRPr/>
            </a:lvl2pPr>
          </a:lstStyle>
          <a:p>
            <a:pPr marL="0" marR="0" lvl="0" indent="0" algn="r" defTabSz="914206" rtl="1" eaLnBrk="1" fontAlgn="auto" latinLnBrk="0" hangingPunct="1">
              <a:lnSpc>
                <a:spcPct val="100000"/>
              </a:lnSpc>
              <a:spcBef>
                <a:spcPct val="0"/>
              </a:spcBef>
              <a:spcAft>
                <a:spcPts val="0"/>
              </a:spcAft>
              <a:buClrTx/>
              <a:buSzTx/>
              <a:buFontTx/>
              <a:buNone/>
              <a:tabLst/>
              <a:defRPr/>
            </a:pPr>
            <a:r>
              <a:rPr lang="en-US" dirty="0" smtClean="0"/>
              <a:t>Click to edit Master text styles</a:t>
            </a:r>
          </a:p>
        </p:txBody>
      </p:sp>
      <p:sp>
        <p:nvSpPr>
          <p:cNvPr id="20" name="ZoneTexte 9"/>
          <p:cNvSpPr txBox="1"/>
          <p:nvPr userDrawn="1"/>
        </p:nvSpPr>
        <p:spPr>
          <a:xfrm>
            <a:off x="6215074" y="6400871"/>
            <a:ext cx="2520280" cy="406353"/>
          </a:xfrm>
          <a:prstGeom prst="rect">
            <a:avLst/>
          </a:prstGeom>
          <a:noFill/>
        </p:spPr>
        <p:txBody>
          <a:bodyPr wrap="square" lIns="91420" tIns="45711" rIns="91420" bIns="45711" rtlCol="0">
            <a:spAutoFit/>
          </a:bodyPr>
          <a:lstStyle/>
          <a:p>
            <a:pPr marL="0" marR="0" lvl="0" indent="0" algn="r" defTabSz="914206" rtl="0" eaLnBrk="1" fontAlgn="auto" latinLnBrk="0" hangingPunct="1">
              <a:lnSpc>
                <a:spcPct val="100000"/>
              </a:lnSpc>
              <a:spcBef>
                <a:spcPts val="0"/>
              </a:spcBef>
              <a:spcAft>
                <a:spcPts val="0"/>
              </a:spcAft>
              <a:buClrTx/>
              <a:buSzTx/>
              <a:buFontTx/>
              <a:buNone/>
              <a:tabLst/>
              <a:defRPr/>
            </a:pP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الجمهورية التونسية</a:t>
            </a:r>
            <a:b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b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وزارة التنمية والاستثمار والتعاون الدولي</a:t>
            </a:r>
            <a:endParaRPr kumimoji="0" lang="fr-BE" sz="1000" b="0" i="0" u="none" strike="noStrike" kern="1200" cap="none" spc="0" normalizeH="0" baseline="0" noProof="0" dirty="0">
              <a:ln>
                <a:noFill/>
              </a:ln>
              <a:solidFill>
                <a:prstClr val="black">
                  <a:tint val="75000"/>
                </a:prstClr>
              </a:solidFill>
              <a:effectLst/>
              <a:uLnTx/>
              <a:uFillTx/>
              <a:latin typeface="+mn-lt"/>
              <a:ea typeface="+mn-ea"/>
              <a:cs typeface="+mn-cs"/>
            </a:endParaRPr>
          </a:p>
        </p:txBody>
      </p:sp>
      <p:pic>
        <p:nvPicPr>
          <p:cNvPr id="21"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730048" y="6357254"/>
            <a:ext cx="363968" cy="48734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2" name="Espace réservé du pied de page 4"/>
          <p:cNvSpPr>
            <a:spLocks noGrp="1"/>
          </p:cNvSpPr>
          <p:nvPr>
            <p:ph type="ftr" sz="quarter" idx="11"/>
          </p:nvPr>
        </p:nvSpPr>
        <p:spPr>
          <a:xfrm>
            <a:off x="3124201" y="6418365"/>
            <a:ext cx="2895600" cy="365125"/>
          </a:xfrm>
          <a:prstGeom prst="rect">
            <a:avLst/>
          </a:prstGeom>
        </p:spPr>
        <p:txBody>
          <a:bodyPr/>
          <a:lstStyle>
            <a:lvl1pPr marL="0" marR="0" indent="0" algn="ctr" defTabSz="914206" rtl="0" eaLnBrk="1" fontAlgn="auto" latinLnBrk="0" hangingPunct="1">
              <a:lnSpc>
                <a:spcPct val="100000"/>
              </a:lnSpc>
              <a:spcBef>
                <a:spcPts val="0"/>
              </a:spcBef>
              <a:spcAft>
                <a:spcPts val="0"/>
              </a:spcAft>
              <a:buClrTx/>
              <a:buSzTx/>
              <a:buFontTx/>
              <a:buNone/>
              <a:tabLst/>
              <a:defRPr sz="1000">
                <a:solidFill>
                  <a:srgbClr val="FF7575"/>
                </a:solidFill>
              </a:defRPr>
            </a:lvl1pPr>
          </a:lstStyle>
          <a:p>
            <a:r>
              <a:rPr lang="ar-TN" dirty="0" smtClean="0"/>
              <a:t>24 أفريل 2015</a:t>
            </a:r>
            <a:endParaRPr lang="fr-BE" dirty="0"/>
          </a:p>
        </p:txBody>
      </p:sp>
      <p:sp>
        <p:nvSpPr>
          <p:cNvPr id="23" name="Espace réservé du numéro de diapositive 5"/>
          <p:cNvSpPr txBox="1">
            <a:spLocks/>
          </p:cNvSpPr>
          <p:nvPr userDrawn="1"/>
        </p:nvSpPr>
        <p:spPr>
          <a:xfrm>
            <a:off x="428596" y="6418365"/>
            <a:ext cx="625504" cy="365125"/>
          </a:xfrm>
          <a:prstGeom prst="rect">
            <a:avLst/>
          </a:prstGeom>
        </p:spPr>
        <p:txBody>
          <a:bodyPr vert="horz" lIns="91420" tIns="45711" rIns="91420" bIns="45711" rtlCol="0" anchor="ctr"/>
          <a:lstStyle>
            <a:lvl1pPr algn="l">
              <a:defRPr/>
            </a:lvl1pPr>
          </a:lstStyle>
          <a:p>
            <a:pPr marL="0" marR="0" lvl="0" indent="0" algn="ctr" defTabSz="914206" rtl="0" eaLnBrk="1" fontAlgn="auto" latinLnBrk="0" hangingPunct="1">
              <a:lnSpc>
                <a:spcPct val="100000"/>
              </a:lnSpc>
              <a:spcBef>
                <a:spcPts val="0"/>
              </a:spcBef>
              <a:spcAft>
                <a:spcPts val="0"/>
              </a:spcAft>
              <a:buClrTx/>
              <a:buSzTx/>
              <a:buFontTx/>
              <a:buNone/>
              <a:tabLst/>
              <a:defRPr/>
            </a:pPr>
            <a:fld id="{CF4668DC-857F-487D-BFFA-8C0CA5037977}" type="slidenum">
              <a:rPr lang="fr-BE" sz="1000" kern="1200" noProof="0" smtClean="0">
                <a:solidFill>
                  <a:srgbClr val="E51B2E"/>
                </a:solidFill>
                <a:latin typeface="Arial" pitchFamily="34" charset="0"/>
                <a:ea typeface="+mn-ea"/>
                <a:cs typeface="Arial" pitchFamily="34" charset="0"/>
              </a:rPr>
              <a:pPr marL="0" marR="0" lvl="0" indent="0" algn="ctr" defTabSz="914206" rtl="0" eaLnBrk="1" fontAlgn="auto" latinLnBrk="0" hangingPunct="1">
                <a:lnSpc>
                  <a:spcPct val="100000"/>
                </a:lnSpc>
                <a:spcBef>
                  <a:spcPts val="0"/>
                </a:spcBef>
                <a:spcAft>
                  <a:spcPts val="0"/>
                </a:spcAft>
                <a:buClrTx/>
                <a:buSzTx/>
                <a:buFontTx/>
                <a:buNone/>
                <a:tabLst/>
                <a:defRPr/>
              </a:pPr>
              <a:t>‹N°›</a:t>
            </a:fld>
            <a:endParaRPr lang="fr-BE" sz="1000" kern="1200" noProof="0" dirty="0">
              <a:solidFill>
                <a:srgbClr val="E51B2E"/>
              </a:solidFill>
              <a:latin typeface="Arial" pitchFamily="34" charset="0"/>
              <a:ea typeface="+mn-ea"/>
              <a:cs typeface="Arial" pitchFamily="34" charset="0"/>
            </a:endParaRPr>
          </a:p>
        </p:txBody>
      </p:sp>
      <p:cxnSp>
        <p:nvCxnSpPr>
          <p:cNvPr id="24" name="Connecteur droit 8"/>
          <p:cNvCxnSpPr/>
          <p:nvPr userDrawn="1"/>
        </p:nvCxnSpPr>
        <p:spPr>
          <a:xfrm>
            <a:off x="0" y="6358062"/>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a:endParaRPr lang="fr-FR"/>
          </a:p>
        </p:txBody>
      </p:sp>
    </p:spTree>
    <p:extLst>
      <p:ext uri="{BB962C8B-B14F-4D97-AF65-F5344CB8AC3E}">
        <p14:creationId xmlns:p14="http://schemas.microsoft.com/office/powerpoint/2010/main" xmlns="" val="3275829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5_Title and Content">
    <p:spTree>
      <p:nvGrpSpPr>
        <p:cNvPr id="1" name=""/>
        <p:cNvGrpSpPr/>
        <p:nvPr/>
      </p:nvGrpSpPr>
      <p:grpSpPr>
        <a:xfrm>
          <a:off x="0" y="0"/>
          <a:ext cx="0" cy="0"/>
          <a:chOff x="0" y="0"/>
          <a:chExt cx="0" cy="0"/>
        </a:xfrm>
      </p:grpSpPr>
      <p:cxnSp>
        <p:nvCxnSpPr>
          <p:cNvPr id="13" name="Connecteur droit 9"/>
          <p:cNvCxnSpPr/>
          <p:nvPr userDrawn="1"/>
        </p:nvCxnSpPr>
        <p:spPr>
          <a:xfrm>
            <a:off x="130634" y="895468"/>
            <a:ext cx="8763000" cy="0"/>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18" name="Text Placeholder 28"/>
          <p:cNvSpPr>
            <a:spLocks noGrp="1"/>
          </p:cNvSpPr>
          <p:nvPr>
            <p:ph type="body" sz="quarter" idx="23"/>
          </p:nvPr>
        </p:nvSpPr>
        <p:spPr>
          <a:xfrm>
            <a:off x="164012" y="176177"/>
            <a:ext cx="8791302" cy="710519"/>
          </a:xfrm>
        </p:spPr>
        <p:txBody>
          <a:bodyPr anchor="ctr" anchorCtr="0">
            <a:normAutofit/>
          </a:bodyPr>
          <a:lstStyle>
            <a:lvl1pPr marL="0" indent="0" algn="r" rtl="1">
              <a:buNone/>
              <a:defRPr lang="en-US" sz="1800" b="0" kern="1200" dirty="0" smtClean="0">
                <a:solidFill>
                  <a:srgbClr val="FF0000"/>
                </a:solidFill>
                <a:latin typeface="Arial" pitchFamily="34" charset="0"/>
                <a:ea typeface="+mj-ea"/>
                <a:cs typeface="Arial" pitchFamily="34" charset="0"/>
              </a:defRPr>
            </a:lvl1pPr>
            <a:lvl2pPr>
              <a:buNone/>
              <a:defRPr/>
            </a:lvl2pPr>
          </a:lstStyle>
          <a:p>
            <a:pPr marL="0" marR="0" lvl="0" indent="0" algn="r" defTabSz="914206" rtl="1" eaLnBrk="1" fontAlgn="auto" latinLnBrk="0" hangingPunct="1">
              <a:lnSpc>
                <a:spcPct val="100000"/>
              </a:lnSpc>
              <a:spcBef>
                <a:spcPct val="0"/>
              </a:spcBef>
              <a:spcAft>
                <a:spcPts val="0"/>
              </a:spcAft>
              <a:buClrTx/>
              <a:buSzTx/>
              <a:buFontTx/>
              <a:buNone/>
              <a:tabLst/>
              <a:defRPr/>
            </a:pPr>
            <a:r>
              <a:rPr lang="en-US" dirty="0" smtClean="0"/>
              <a:t>Click to edit Master text styles</a:t>
            </a:r>
          </a:p>
        </p:txBody>
      </p:sp>
      <p:sp>
        <p:nvSpPr>
          <p:cNvPr id="20" name="ZoneTexte 9"/>
          <p:cNvSpPr txBox="1"/>
          <p:nvPr userDrawn="1"/>
        </p:nvSpPr>
        <p:spPr>
          <a:xfrm>
            <a:off x="6215074" y="6400871"/>
            <a:ext cx="2520280" cy="406353"/>
          </a:xfrm>
          <a:prstGeom prst="rect">
            <a:avLst/>
          </a:prstGeom>
          <a:noFill/>
        </p:spPr>
        <p:txBody>
          <a:bodyPr wrap="square" lIns="91420" tIns="45711" rIns="91420" bIns="45711" rtlCol="0">
            <a:spAutoFit/>
          </a:bodyPr>
          <a:lstStyle/>
          <a:p>
            <a:pPr marL="0" marR="0" lvl="0" indent="0" algn="r" defTabSz="914206" rtl="0" eaLnBrk="1" fontAlgn="auto" latinLnBrk="0" hangingPunct="1">
              <a:lnSpc>
                <a:spcPct val="100000"/>
              </a:lnSpc>
              <a:spcBef>
                <a:spcPts val="0"/>
              </a:spcBef>
              <a:spcAft>
                <a:spcPts val="0"/>
              </a:spcAft>
              <a:buClrTx/>
              <a:buSzTx/>
              <a:buFontTx/>
              <a:buNone/>
              <a:tabLst/>
              <a:defRPr/>
            </a:pP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الجمهورية التونسية</a:t>
            </a:r>
            <a:b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b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وزارة التنمية والاستثمار والتعاون الدولي</a:t>
            </a:r>
            <a:endParaRPr kumimoji="0" lang="fr-BE" sz="1000" b="0" i="0" u="none" strike="noStrike" kern="1200" cap="none" spc="0" normalizeH="0" baseline="0" noProof="0" dirty="0">
              <a:ln>
                <a:noFill/>
              </a:ln>
              <a:solidFill>
                <a:prstClr val="black">
                  <a:tint val="75000"/>
                </a:prstClr>
              </a:solidFill>
              <a:effectLst/>
              <a:uLnTx/>
              <a:uFillTx/>
              <a:latin typeface="+mn-lt"/>
              <a:ea typeface="+mn-ea"/>
              <a:cs typeface="+mn-cs"/>
            </a:endParaRPr>
          </a:p>
        </p:txBody>
      </p:sp>
      <p:pic>
        <p:nvPicPr>
          <p:cNvPr id="21"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730048" y="6357254"/>
            <a:ext cx="363968" cy="48734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2" name="Espace réservé du pied de page 4"/>
          <p:cNvSpPr>
            <a:spLocks noGrp="1"/>
          </p:cNvSpPr>
          <p:nvPr>
            <p:ph type="ftr" sz="quarter" idx="11"/>
          </p:nvPr>
        </p:nvSpPr>
        <p:spPr>
          <a:xfrm>
            <a:off x="3124201" y="6418365"/>
            <a:ext cx="2895600" cy="365125"/>
          </a:xfrm>
          <a:prstGeom prst="rect">
            <a:avLst/>
          </a:prstGeom>
        </p:spPr>
        <p:txBody>
          <a:bodyPr/>
          <a:lstStyle>
            <a:lvl1pPr marL="0" marR="0" indent="0" algn="ctr" defTabSz="914206" rtl="0" eaLnBrk="1" fontAlgn="auto" latinLnBrk="0" hangingPunct="1">
              <a:lnSpc>
                <a:spcPct val="100000"/>
              </a:lnSpc>
              <a:spcBef>
                <a:spcPts val="0"/>
              </a:spcBef>
              <a:spcAft>
                <a:spcPts val="0"/>
              </a:spcAft>
              <a:buClrTx/>
              <a:buSzTx/>
              <a:buFontTx/>
              <a:buNone/>
              <a:tabLst/>
              <a:defRPr sz="1000">
                <a:solidFill>
                  <a:srgbClr val="FF7575"/>
                </a:solidFill>
              </a:defRPr>
            </a:lvl1pPr>
          </a:lstStyle>
          <a:p>
            <a:r>
              <a:rPr lang="ar-TN" dirty="0" smtClean="0"/>
              <a:t>24 أفريل 2015</a:t>
            </a:r>
            <a:endParaRPr lang="fr-BE" dirty="0"/>
          </a:p>
        </p:txBody>
      </p:sp>
      <p:sp>
        <p:nvSpPr>
          <p:cNvPr id="23" name="Espace réservé du numéro de diapositive 5"/>
          <p:cNvSpPr txBox="1">
            <a:spLocks/>
          </p:cNvSpPr>
          <p:nvPr userDrawn="1"/>
        </p:nvSpPr>
        <p:spPr>
          <a:xfrm>
            <a:off x="428596" y="6418365"/>
            <a:ext cx="625504" cy="365125"/>
          </a:xfrm>
          <a:prstGeom prst="rect">
            <a:avLst/>
          </a:prstGeom>
        </p:spPr>
        <p:txBody>
          <a:bodyPr vert="horz" lIns="91420" tIns="45711" rIns="91420" bIns="45711" rtlCol="0" anchor="ctr"/>
          <a:lstStyle>
            <a:lvl1pPr algn="l">
              <a:defRPr/>
            </a:lvl1pPr>
          </a:lstStyle>
          <a:p>
            <a:pPr marL="0" marR="0" lvl="0" indent="0" algn="ctr" defTabSz="914206" rtl="0" eaLnBrk="1" fontAlgn="auto" latinLnBrk="0" hangingPunct="1">
              <a:lnSpc>
                <a:spcPct val="100000"/>
              </a:lnSpc>
              <a:spcBef>
                <a:spcPts val="0"/>
              </a:spcBef>
              <a:spcAft>
                <a:spcPts val="0"/>
              </a:spcAft>
              <a:buClrTx/>
              <a:buSzTx/>
              <a:buFontTx/>
              <a:buNone/>
              <a:tabLst/>
              <a:defRPr/>
            </a:pPr>
            <a:fld id="{CF4668DC-857F-487D-BFFA-8C0CA5037977}" type="slidenum">
              <a:rPr lang="fr-BE" sz="1000" kern="1200" noProof="0" smtClean="0">
                <a:solidFill>
                  <a:srgbClr val="E51B2E"/>
                </a:solidFill>
                <a:latin typeface="Arial" pitchFamily="34" charset="0"/>
                <a:ea typeface="+mn-ea"/>
                <a:cs typeface="Arial" pitchFamily="34" charset="0"/>
              </a:rPr>
              <a:pPr marL="0" marR="0" lvl="0" indent="0" algn="ctr" defTabSz="914206" rtl="0" eaLnBrk="1" fontAlgn="auto" latinLnBrk="0" hangingPunct="1">
                <a:lnSpc>
                  <a:spcPct val="100000"/>
                </a:lnSpc>
                <a:spcBef>
                  <a:spcPts val="0"/>
                </a:spcBef>
                <a:spcAft>
                  <a:spcPts val="0"/>
                </a:spcAft>
                <a:buClrTx/>
                <a:buSzTx/>
                <a:buFontTx/>
                <a:buNone/>
                <a:tabLst/>
                <a:defRPr/>
              </a:pPr>
              <a:t>‹N°›</a:t>
            </a:fld>
            <a:endParaRPr lang="fr-BE" sz="1000" kern="1200" noProof="0" dirty="0">
              <a:solidFill>
                <a:srgbClr val="E51B2E"/>
              </a:solidFill>
              <a:latin typeface="Arial" pitchFamily="34" charset="0"/>
              <a:ea typeface="+mn-ea"/>
              <a:cs typeface="Arial" pitchFamily="34" charset="0"/>
            </a:endParaRPr>
          </a:p>
        </p:txBody>
      </p:sp>
      <p:cxnSp>
        <p:nvCxnSpPr>
          <p:cNvPr id="24" name="Connecteur droit 8"/>
          <p:cNvCxnSpPr/>
          <p:nvPr userDrawn="1"/>
        </p:nvCxnSpPr>
        <p:spPr>
          <a:xfrm>
            <a:off x="0" y="6358062"/>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a:endParaRPr lang="fr-FR"/>
          </a:p>
        </p:txBody>
      </p:sp>
    </p:spTree>
    <p:extLst>
      <p:ext uri="{BB962C8B-B14F-4D97-AF65-F5344CB8AC3E}">
        <p14:creationId xmlns:p14="http://schemas.microsoft.com/office/powerpoint/2010/main" xmlns="" val="17142421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6_Title and Content">
    <p:spTree>
      <p:nvGrpSpPr>
        <p:cNvPr id="1" name=""/>
        <p:cNvGrpSpPr/>
        <p:nvPr/>
      </p:nvGrpSpPr>
      <p:grpSpPr>
        <a:xfrm>
          <a:off x="0" y="0"/>
          <a:ext cx="0" cy="0"/>
          <a:chOff x="0" y="0"/>
          <a:chExt cx="0" cy="0"/>
        </a:xfrm>
      </p:grpSpPr>
      <p:cxnSp>
        <p:nvCxnSpPr>
          <p:cNvPr id="13" name="Connecteur droit 9"/>
          <p:cNvCxnSpPr/>
          <p:nvPr userDrawn="1"/>
        </p:nvCxnSpPr>
        <p:spPr>
          <a:xfrm>
            <a:off x="130634" y="895468"/>
            <a:ext cx="8763000" cy="0"/>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18" name="Text Placeholder 28"/>
          <p:cNvSpPr>
            <a:spLocks noGrp="1"/>
          </p:cNvSpPr>
          <p:nvPr>
            <p:ph type="body" sz="quarter" idx="23"/>
          </p:nvPr>
        </p:nvSpPr>
        <p:spPr>
          <a:xfrm>
            <a:off x="164012" y="176177"/>
            <a:ext cx="8791302" cy="710519"/>
          </a:xfrm>
        </p:spPr>
        <p:txBody>
          <a:bodyPr anchor="ctr" anchorCtr="0">
            <a:normAutofit/>
          </a:bodyPr>
          <a:lstStyle>
            <a:lvl1pPr marL="0" indent="0" algn="r" rtl="1">
              <a:buNone/>
              <a:defRPr lang="en-US" sz="1800" b="0" kern="1200" dirty="0" smtClean="0">
                <a:solidFill>
                  <a:srgbClr val="FF0000"/>
                </a:solidFill>
                <a:latin typeface="Arial" pitchFamily="34" charset="0"/>
                <a:ea typeface="+mj-ea"/>
                <a:cs typeface="Arial" pitchFamily="34" charset="0"/>
              </a:defRPr>
            </a:lvl1pPr>
            <a:lvl2pPr>
              <a:buNone/>
              <a:defRPr/>
            </a:lvl2pPr>
          </a:lstStyle>
          <a:p>
            <a:pPr marL="0" marR="0" lvl="0" indent="0" algn="r" defTabSz="914206" rtl="1" eaLnBrk="1" fontAlgn="auto" latinLnBrk="0" hangingPunct="1">
              <a:lnSpc>
                <a:spcPct val="100000"/>
              </a:lnSpc>
              <a:spcBef>
                <a:spcPct val="0"/>
              </a:spcBef>
              <a:spcAft>
                <a:spcPts val="0"/>
              </a:spcAft>
              <a:buClrTx/>
              <a:buSzTx/>
              <a:buFontTx/>
              <a:buNone/>
              <a:tabLst/>
              <a:defRPr/>
            </a:pPr>
            <a:r>
              <a:rPr lang="en-US" dirty="0" smtClean="0"/>
              <a:t>Click to edit Master text styles</a:t>
            </a:r>
          </a:p>
        </p:txBody>
      </p:sp>
      <p:sp>
        <p:nvSpPr>
          <p:cNvPr id="20" name="ZoneTexte 9"/>
          <p:cNvSpPr txBox="1"/>
          <p:nvPr userDrawn="1"/>
        </p:nvSpPr>
        <p:spPr>
          <a:xfrm>
            <a:off x="6215074" y="6400871"/>
            <a:ext cx="2520280" cy="406353"/>
          </a:xfrm>
          <a:prstGeom prst="rect">
            <a:avLst/>
          </a:prstGeom>
          <a:noFill/>
        </p:spPr>
        <p:txBody>
          <a:bodyPr wrap="square" lIns="91420" tIns="45711" rIns="91420" bIns="45711" rtlCol="0">
            <a:spAutoFit/>
          </a:bodyPr>
          <a:lstStyle/>
          <a:p>
            <a:pPr marL="0" marR="0" lvl="0" indent="0" algn="r" defTabSz="914206" rtl="0" eaLnBrk="1" fontAlgn="auto" latinLnBrk="0" hangingPunct="1">
              <a:lnSpc>
                <a:spcPct val="100000"/>
              </a:lnSpc>
              <a:spcBef>
                <a:spcPts val="0"/>
              </a:spcBef>
              <a:spcAft>
                <a:spcPts val="0"/>
              </a:spcAft>
              <a:buClrTx/>
              <a:buSzTx/>
              <a:buFontTx/>
              <a:buNone/>
              <a:tabLst/>
              <a:defRPr/>
            </a:pP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الجمهورية التونسية</a:t>
            </a:r>
            <a:b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b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وزارة التنمية والاستثمار والتعاون الدولي</a:t>
            </a:r>
            <a:endParaRPr kumimoji="0" lang="fr-BE" sz="1000" b="0" i="0" u="none" strike="noStrike" kern="1200" cap="none" spc="0" normalizeH="0" baseline="0" noProof="0" dirty="0">
              <a:ln>
                <a:noFill/>
              </a:ln>
              <a:solidFill>
                <a:prstClr val="black">
                  <a:tint val="75000"/>
                </a:prstClr>
              </a:solidFill>
              <a:effectLst/>
              <a:uLnTx/>
              <a:uFillTx/>
              <a:latin typeface="+mn-lt"/>
              <a:ea typeface="+mn-ea"/>
              <a:cs typeface="+mn-cs"/>
            </a:endParaRPr>
          </a:p>
        </p:txBody>
      </p:sp>
      <p:pic>
        <p:nvPicPr>
          <p:cNvPr id="21"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730048" y="6357254"/>
            <a:ext cx="363968" cy="48734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2" name="Espace réservé du pied de page 4"/>
          <p:cNvSpPr>
            <a:spLocks noGrp="1"/>
          </p:cNvSpPr>
          <p:nvPr>
            <p:ph type="ftr" sz="quarter" idx="11"/>
          </p:nvPr>
        </p:nvSpPr>
        <p:spPr>
          <a:xfrm>
            <a:off x="3124201" y="6418365"/>
            <a:ext cx="2895600" cy="365125"/>
          </a:xfrm>
          <a:prstGeom prst="rect">
            <a:avLst/>
          </a:prstGeom>
        </p:spPr>
        <p:txBody>
          <a:bodyPr/>
          <a:lstStyle>
            <a:lvl1pPr marL="0" marR="0" indent="0" algn="ctr" defTabSz="914206" rtl="0" eaLnBrk="1" fontAlgn="auto" latinLnBrk="0" hangingPunct="1">
              <a:lnSpc>
                <a:spcPct val="100000"/>
              </a:lnSpc>
              <a:spcBef>
                <a:spcPts val="0"/>
              </a:spcBef>
              <a:spcAft>
                <a:spcPts val="0"/>
              </a:spcAft>
              <a:buClrTx/>
              <a:buSzTx/>
              <a:buFontTx/>
              <a:buNone/>
              <a:tabLst/>
              <a:defRPr sz="1000">
                <a:solidFill>
                  <a:srgbClr val="FF7575"/>
                </a:solidFill>
              </a:defRPr>
            </a:lvl1pPr>
          </a:lstStyle>
          <a:p>
            <a:r>
              <a:rPr lang="ar-TN" dirty="0" smtClean="0"/>
              <a:t>24 أفريل 2015</a:t>
            </a:r>
            <a:endParaRPr lang="fr-BE" dirty="0"/>
          </a:p>
        </p:txBody>
      </p:sp>
      <p:sp>
        <p:nvSpPr>
          <p:cNvPr id="23" name="Espace réservé du numéro de diapositive 5"/>
          <p:cNvSpPr txBox="1">
            <a:spLocks/>
          </p:cNvSpPr>
          <p:nvPr userDrawn="1"/>
        </p:nvSpPr>
        <p:spPr>
          <a:xfrm>
            <a:off x="428596" y="6418365"/>
            <a:ext cx="625504" cy="365125"/>
          </a:xfrm>
          <a:prstGeom prst="rect">
            <a:avLst/>
          </a:prstGeom>
        </p:spPr>
        <p:txBody>
          <a:bodyPr vert="horz" lIns="91420" tIns="45711" rIns="91420" bIns="45711" rtlCol="0" anchor="ctr"/>
          <a:lstStyle>
            <a:lvl1pPr algn="l">
              <a:defRPr/>
            </a:lvl1pPr>
          </a:lstStyle>
          <a:p>
            <a:pPr marL="0" marR="0" lvl="0" indent="0" algn="ctr" defTabSz="914206" rtl="0" eaLnBrk="1" fontAlgn="auto" latinLnBrk="0" hangingPunct="1">
              <a:lnSpc>
                <a:spcPct val="100000"/>
              </a:lnSpc>
              <a:spcBef>
                <a:spcPts val="0"/>
              </a:spcBef>
              <a:spcAft>
                <a:spcPts val="0"/>
              </a:spcAft>
              <a:buClrTx/>
              <a:buSzTx/>
              <a:buFontTx/>
              <a:buNone/>
              <a:tabLst/>
              <a:defRPr/>
            </a:pPr>
            <a:fld id="{CF4668DC-857F-487D-BFFA-8C0CA5037977}" type="slidenum">
              <a:rPr lang="fr-BE" sz="1000" kern="1200" noProof="0" smtClean="0">
                <a:solidFill>
                  <a:srgbClr val="E51B2E"/>
                </a:solidFill>
                <a:latin typeface="Arial" pitchFamily="34" charset="0"/>
                <a:ea typeface="+mn-ea"/>
                <a:cs typeface="Arial" pitchFamily="34" charset="0"/>
              </a:rPr>
              <a:pPr marL="0" marR="0" lvl="0" indent="0" algn="ctr" defTabSz="914206" rtl="0" eaLnBrk="1" fontAlgn="auto" latinLnBrk="0" hangingPunct="1">
                <a:lnSpc>
                  <a:spcPct val="100000"/>
                </a:lnSpc>
                <a:spcBef>
                  <a:spcPts val="0"/>
                </a:spcBef>
                <a:spcAft>
                  <a:spcPts val="0"/>
                </a:spcAft>
                <a:buClrTx/>
                <a:buSzTx/>
                <a:buFontTx/>
                <a:buNone/>
                <a:tabLst/>
                <a:defRPr/>
              </a:pPr>
              <a:t>‹N°›</a:t>
            </a:fld>
            <a:endParaRPr lang="fr-BE" sz="1000" kern="1200" noProof="0" dirty="0">
              <a:solidFill>
                <a:srgbClr val="E51B2E"/>
              </a:solidFill>
              <a:latin typeface="Arial" pitchFamily="34" charset="0"/>
              <a:ea typeface="+mn-ea"/>
              <a:cs typeface="Arial" pitchFamily="34" charset="0"/>
            </a:endParaRPr>
          </a:p>
        </p:txBody>
      </p:sp>
      <p:cxnSp>
        <p:nvCxnSpPr>
          <p:cNvPr id="24" name="Connecteur droit 8"/>
          <p:cNvCxnSpPr/>
          <p:nvPr userDrawn="1"/>
        </p:nvCxnSpPr>
        <p:spPr>
          <a:xfrm>
            <a:off x="0" y="6358062"/>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a:endParaRPr lang="fr-FR"/>
          </a:p>
        </p:txBody>
      </p:sp>
    </p:spTree>
    <p:extLst>
      <p:ext uri="{BB962C8B-B14F-4D97-AF65-F5344CB8AC3E}">
        <p14:creationId xmlns:p14="http://schemas.microsoft.com/office/powerpoint/2010/main" xmlns="" val="32938387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 y="6366398"/>
            <a:ext cx="512466" cy="325804"/>
          </a:xfrm>
          <a:prstGeom prst="rect">
            <a:avLst/>
          </a:prstGeom>
        </p:spPr>
        <p:txBody>
          <a:bodyPr/>
          <a:lstStyle>
            <a:lvl1pPr>
              <a:defRPr>
                <a:solidFill>
                  <a:srgbClr val="FF0000"/>
                </a:solidFill>
              </a:defRPr>
            </a:lvl1pPr>
          </a:lstStyle>
          <a:p>
            <a:fld id="{D4ACFD55-7BD4-4AA3-8F96-2C76D927290B}" type="slidenum">
              <a:rPr lang="en-US" smtClean="0"/>
              <a:pPr/>
              <a:t>‹N°›</a:t>
            </a:fld>
            <a:endParaRPr lang="en-US"/>
          </a:p>
        </p:txBody>
      </p:sp>
      <p:pic>
        <p:nvPicPr>
          <p:cNvPr id="10"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627347" y="6300322"/>
            <a:ext cx="363968" cy="48734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4" name="Rectangle 13"/>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6" name="Connecteur droit 8"/>
          <p:cNvCxnSpPr/>
          <p:nvPr userDrawn="1"/>
        </p:nvCxnSpPr>
        <p:spPr>
          <a:xfrm>
            <a:off x="0" y="6227436"/>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Connecteur droit 9"/>
          <p:cNvCxnSpPr/>
          <p:nvPr userDrawn="1"/>
        </p:nvCxnSpPr>
        <p:spPr>
          <a:xfrm>
            <a:off x="0" y="904352"/>
            <a:ext cx="9144000" cy="10048"/>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15" name="Rectangle 14"/>
          <p:cNvSpPr/>
          <p:nvPr userDrawn="1"/>
        </p:nvSpPr>
        <p:spPr>
          <a:xfrm>
            <a:off x="4064558" y="6205966"/>
            <a:ext cx="4572000" cy="623248"/>
          </a:xfrm>
          <a:prstGeom prst="rect">
            <a:avLst/>
          </a:prstGeom>
        </p:spPr>
        <p:txBody>
          <a:bodyPr>
            <a:spAutoFit/>
          </a:bodyPr>
          <a:lstStyle/>
          <a:p>
            <a:pPr algn="r" rtl="1">
              <a:lnSpc>
                <a:spcPct val="150000"/>
              </a:lnSpc>
            </a:pPr>
            <a:r>
              <a:rPr lang="ar-TN" sz="1200" b="1" dirty="0" smtClean="0">
                <a:solidFill>
                  <a:schemeClr val="tx1"/>
                </a:solidFill>
                <a:latin typeface="Simplified Arabic" panose="02020603050405020304" pitchFamily="18" charset="-78"/>
                <a:cs typeface="Simplified Arabic" panose="02020603050405020304" pitchFamily="18" charset="-78"/>
              </a:rPr>
              <a:t>الجمهورية التونسية</a:t>
            </a:r>
          </a:p>
          <a:p>
            <a:pPr algn="r" rtl="1">
              <a:lnSpc>
                <a:spcPct val="150000"/>
              </a:lnSpc>
            </a:pPr>
            <a:r>
              <a:rPr lang="ar-TN" sz="1200" b="1" dirty="0" smtClean="0">
                <a:solidFill>
                  <a:schemeClr val="tx1"/>
                </a:solidFill>
                <a:latin typeface="Simplified Arabic" panose="02020603050405020304" pitchFamily="18" charset="-78"/>
                <a:cs typeface="Simplified Arabic" panose="02020603050405020304" pitchFamily="18" charset="-78"/>
              </a:rPr>
              <a:t>وزارة التنمية والاستثمار</a:t>
            </a:r>
            <a:r>
              <a:rPr lang="ar-TN" sz="1200" b="1" baseline="0" dirty="0" smtClean="0">
                <a:solidFill>
                  <a:schemeClr val="tx1"/>
                </a:solidFill>
                <a:latin typeface="Simplified Arabic" panose="02020603050405020304" pitchFamily="18" charset="-78"/>
                <a:cs typeface="Simplified Arabic" panose="02020603050405020304" pitchFamily="18" charset="-78"/>
              </a:rPr>
              <a:t> والتعاون الدولي</a:t>
            </a:r>
          </a:p>
        </p:txBody>
      </p:sp>
    </p:spTree>
    <p:extLst>
      <p:ext uri="{BB962C8B-B14F-4D97-AF65-F5344CB8AC3E}">
        <p14:creationId xmlns:p14="http://schemas.microsoft.com/office/powerpoint/2010/main" xmlns="" val="6431362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apositive de titre">
    <p:spTree>
      <p:nvGrpSpPr>
        <p:cNvPr id="1" name=""/>
        <p:cNvGrpSpPr/>
        <p:nvPr/>
      </p:nvGrpSpPr>
      <p:grpSpPr>
        <a:xfrm>
          <a:off x="0" y="0"/>
          <a:ext cx="0" cy="0"/>
          <a:chOff x="0" y="0"/>
          <a:chExt cx="0" cy="0"/>
        </a:xfrm>
      </p:grpSpPr>
      <p:sp>
        <p:nvSpPr>
          <p:cNvPr id="5"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fr-FR" sz="800" baseline="0" noProof="0" dirty="0" smtClean="0">
              <a:latin typeface="+mn-lt"/>
            </a:endParaRPr>
          </a:p>
        </p:txBody>
      </p:sp>
      <p:grpSp>
        <p:nvGrpSpPr>
          <p:cNvPr id="2" name="McK Title Elements"/>
          <p:cNvGrpSpPr>
            <a:grpSpLocks/>
          </p:cNvGrpSpPr>
          <p:nvPr/>
        </p:nvGrpSpPr>
        <p:grpSpPr bwMode="auto">
          <a:xfrm>
            <a:off x="4" y="4"/>
            <a:ext cx="9140760" cy="6859620"/>
            <a:chOff x="0" y="0"/>
            <a:chExt cx="5643" cy="4235"/>
          </a:xfrm>
        </p:grpSpPr>
        <p:sp>
          <p:nvSpPr>
            <p:cNvPr id="9" name="McK Document type" hidden="1"/>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00" baseline="0" noProof="0" dirty="0" smtClean="0">
                  <a:latin typeface="+mn-lt"/>
                </a:rPr>
                <a:t>Document type</a:t>
              </a:r>
            </a:p>
          </p:txBody>
        </p:sp>
        <p:sp>
          <p:nvSpPr>
            <p:cNvPr id="10" name="McK Date" hidden="1"/>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00" baseline="0" noProof="0" dirty="0" smtClean="0">
                  <a:latin typeface="+mn-lt"/>
                </a:rPr>
                <a:t>Date</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baseline="0" noProof="0" dirty="0">
                <a:latin typeface="+mn-lt"/>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baseline="0" noProof="0" dirty="0">
                <a:latin typeface="+mn-lt"/>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baseline="0" noProof="0" dirty="0">
                <a:latin typeface="+mn-lt"/>
              </a:endParaRPr>
            </a:p>
          </p:txBody>
        </p:sp>
      </p:grpSp>
      <p:pic>
        <p:nvPicPr>
          <p:cNvPr id="18" name="TitleBottomBarBW" hidden="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320063" y="6574549"/>
            <a:ext cx="1670055" cy="195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93795" y="2176938"/>
            <a:ext cx="5036084" cy="1015663"/>
          </a:xfrm>
          <a:prstGeom prst="rect">
            <a:avLst/>
          </a:prstGeom>
        </p:spPr>
        <p:txBody>
          <a:bodyPr/>
          <a:lstStyle>
            <a:lvl1pPr>
              <a:defRPr sz="3300" b="0" baseline="0">
                <a:latin typeface="+mj-lt"/>
                <a:ea typeface="+mj-ea"/>
              </a:defRPr>
            </a:lvl1pPr>
          </a:lstStyle>
          <a:p>
            <a:pPr lvl="0"/>
            <a:r>
              <a:rPr lang="fr-FR" noProof="0" smtClean="0"/>
              <a:t>Modifiez le style du titre</a:t>
            </a:r>
          </a:p>
        </p:txBody>
      </p:sp>
      <p:sp>
        <p:nvSpPr>
          <p:cNvPr id="13315" name="Rectangle 1027"/>
          <p:cNvSpPr>
            <a:spLocks noGrp="1" noChangeArrowheads="1"/>
          </p:cNvSpPr>
          <p:nvPr>
            <p:ph type="subTitle" idx="1"/>
          </p:nvPr>
        </p:nvSpPr>
        <p:spPr>
          <a:xfrm>
            <a:off x="2693795" y="3945699"/>
            <a:ext cx="5036084" cy="219820"/>
          </a:xfrm>
        </p:spPr>
        <p:txBody>
          <a:bodyPr>
            <a:spAutoFit/>
          </a:bodyPr>
          <a:lstStyle>
            <a:lvl1pPr>
              <a:defRPr sz="1400" baseline="0">
                <a:latin typeface="+mj-lt"/>
                <a:ea typeface="+mj-ea"/>
              </a:defRPr>
            </a:lvl1pPr>
          </a:lstStyle>
          <a:p>
            <a:pPr lvl="0"/>
            <a:r>
              <a:rPr lang="fr-FR" noProof="0" smtClean="0"/>
              <a:t>Modifiez le style des sous-titres du masque</a:t>
            </a:r>
          </a:p>
        </p:txBody>
      </p:sp>
    </p:spTree>
    <p:extLst>
      <p:ext uri="{BB962C8B-B14F-4D97-AF65-F5344CB8AC3E}">
        <p14:creationId xmlns:p14="http://schemas.microsoft.com/office/powerpoint/2010/main" xmlns="" val="310534092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cSld name="2_Diapositive de titre">
    <p:spTree>
      <p:nvGrpSpPr>
        <p:cNvPr id="1" name=""/>
        <p:cNvGrpSpPr/>
        <p:nvPr/>
      </p:nvGrpSpPr>
      <p:grpSpPr>
        <a:xfrm>
          <a:off x="0" y="0"/>
          <a:ext cx="0" cy="0"/>
          <a:chOff x="0" y="0"/>
          <a:chExt cx="0" cy="0"/>
        </a:xfrm>
      </p:grpSpPr>
      <p:sp>
        <p:nvSpPr>
          <p:cNvPr id="14" name="Titre 13"/>
          <p:cNvSpPr>
            <a:spLocks noGrp="1"/>
          </p:cNvSpPr>
          <p:nvPr>
            <p:ph type="ctrTitle"/>
          </p:nvPr>
        </p:nvSpPr>
        <p:spPr>
          <a:xfrm>
            <a:off x="1432560" y="359898"/>
            <a:ext cx="7406640" cy="1472184"/>
          </a:xfrm>
        </p:spPr>
        <p:txBody>
          <a:bodyPr anchor="b"/>
          <a:lstStyle>
            <a:lvl1pPr algn="l">
              <a:defRPr/>
            </a:lvl1pPr>
            <a:extLst/>
          </a:lstStyle>
          <a:p>
            <a:r>
              <a:rPr kumimoji="0" lang="fr-FR" smtClean="0"/>
              <a:t>Cliquez pour modifier le style du titre</a:t>
            </a:r>
            <a:endParaRPr kumimoji="0" lang="en-US"/>
          </a:p>
        </p:txBody>
      </p:sp>
      <p:sp>
        <p:nvSpPr>
          <p:cNvPr id="22" name="Sous-titre 21"/>
          <p:cNvSpPr>
            <a:spLocks noGrp="1"/>
          </p:cNvSpPr>
          <p:nvPr>
            <p:ph type="subTitle" idx="1"/>
          </p:nvPr>
        </p:nvSpPr>
        <p:spPr>
          <a:xfrm>
            <a:off x="1432560" y="1850064"/>
            <a:ext cx="740664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fr-FR" smtClean="0"/>
              <a:t>Cliquez pour modifier le style des sous-titres du masque</a:t>
            </a:r>
            <a:endParaRPr kumimoji="0" lang="en-US"/>
          </a:p>
        </p:txBody>
      </p:sp>
      <p:sp>
        <p:nvSpPr>
          <p:cNvPr id="7" name="Espace réservé de la date 6"/>
          <p:cNvSpPr>
            <a:spLocks noGrp="1"/>
          </p:cNvSpPr>
          <p:nvPr>
            <p:ph type="dt" sz="half" idx="10"/>
          </p:nvPr>
        </p:nvSpPr>
        <p:spPr>
          <a:xfrm>
            <a:off x="457200" y="6356350"/>
            <a:ext cx="2133600" cy="365125"/>
          </a:xfrm>
          <a:prstGeom prst="rect">
            <a:avLst/>
          </a:prstGeom>
        </p:spPr>
        <p:txBody>
          <a:bodyPr/>
          <a:lstStyle/>
          <a:p>
            <a:pPr>
              <a:defRPr/>
            </a:pPr>
            <a:endParaRPr lang="en-US"/>
          </a:p>
        </p:txBody>
      </p:sp>
      <p:sp>
        <p:nvSpPr>
          <p:cNvPr id="20" name="Espace réservé du pied de page 19"/>
          <p:cNvSpPr>
            <a:spLocks noGrp="1"/>
          </p:cNvSpPr>
          <p:nvPr>
            <p:ph type="ftr" sz="quarter" idx="11"/>
          </p:nvPr>
        </p:nvSpPr>
        <p:spPr>
          <a:xfrm>
            <a:off x="3124201" y="6356350"/>
            <a:ext cx="2895600" cy="365125"/>
          </a:xfrm>
          <a:prstGeom prst="rect">
            <a:avLst/>
          </a:prstGeom>
        </p:spPr>
        <p:txBody>
          <a:bodyPr/>
          <a:lstStyle/>
          <a:p>
            <a:pPr>
              <a:defRPr/>
            </a:pPr>
            <a:endParaRPr lang="en-US"/>
          </a:p>
        </p:txBody>
      </p:sp>
      <p:sp>
        <p:nvSpPr>
          <p:cNvPr id="10" name="Espace réservé du numéro de diapositive 9"/>
          <p:cNvSpPr>
            <a:spLocks noGrp="1"/>
          </p:cNvSpPr>
          <p:nvPr>
            <p:ph type="sldNum" sz="quarter" idx="12"/>
          </p:nvPr>
        </p:nvSpPr>
        <p:spPr>
          <a:xfrm>
            <a:off x="6553200" y="6356350"/>
            <a:ext cx="2133600" cy="365125"/>
          </a:xfrm>
          <a:prstGeom prst="rect">
            <a:avLst/>
          </a:prstGeom>
        </p:spPr>
        <p:txBody>
          <a:bodyPr/>
          <a:lstStyle/>
          <a:p>
            <a:pPr>
              <a:defRPr/>
            </a:pPr>
            <a:fld id="{D7121611-C5E1-4B30-B081-B703FA7110C6}" type="slidenum">
              <a:rPr lang="en-US" smtClean="0"/>
              <a:pPr>
                <a:defRPr/>
              </a:pPr>
              <a:t>‹N°›</a:t>
            </a:fld>
            <a:endParaRPr lang="en-US"/>
          </a:p>
        </p:txBody>
      </p:sp>
    </p:spTree>
    <p:extLst>
      <p:ext uri="{BB962C8B-B14F-4D97-AF65-F5344CB8AC3E}">
        <p14:creationId xmlns:p14="http://schemas.microsoft.com/office/powerpoint/2010/main" xmlns="" val="33739154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2_Diapositive de titre">
    <p:spTree>
      <p:nvGrpSpPr>
        <p:cNvPr id="1" name=""/>
        <p:cNvGrpSpPr/>
        <p:nvPr/>
      </p:nvGrpSpPr>
      <p:grpSpPr>
        <a:xfrm>
          <a:off x="0" y="0"/>
          <a:ext cx="0" cy="0"/>
          <a:chOff x="0" y="0"/>
          <a:chExt cx="0" cy="0"/>
        </a:xfrm>
      </p:grpSpPr>
      <p:sp>
        <p:nvSpPr>
          <p:cNvPr id="14" name="Titre 13"/>
          <p:cNvSpPr>
            <a:spLocks noGrp="1"/>
          </p:cNvSpPr>
          <p:nvPr>
            <p:ph type="ctrTitle"/>
          </p:nvPr>
        </p:nvSpPr>
        <p:spPr>
          <a:xfrm>
            <a:off x="1432560" y="359898"/>
            <a:ext cx="7406640" cy="1472184"/>
          </a:xfrm>
        </p:spPr>
        <p:txBody>
          <a:bodyPr anchor="b"/>
          <a:lstStyle>
            <a:lvl1pPr algn="l">
              <a:defRPr/>
            </a:lvl1pPr>
            <a:extLst/>
          </a:lstStyle>
          <a:p>
            <a:r>
              <a:rPr kumimoji="0" lang="fr-FR" smtClean="0"/>
              <a:t>Cliquez pour modifier le style du titre</a:t>
            </a:r>
            <a:endParaRPr kumimoji="0" lang="en-US"/>
          </a:p>
        </p:txBody>
      </p:sp>
      <p:sp>
        <p:nvSpPr>
          <p:cNvPr id="22" name="Sous-titre 21"/>
          <p:cNvSpPr>
            <a:spLocks noGrp="1"/>
          </p:cNvSpPr>
          <p:nvPr>
            <p:ph type="subTitle" idx="1"/>
          </p:nvPr>
        </p:nvSpPr>
        <p:spPr>
          <a:xfrm>
            <a:off x="1432560" y="1850064"/>
            <a:ext cx="740664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fr-FR" smtClean="0"/>
              <a:t>Cliquez pour modifier le style des sous-titres du masque</a:t>
            </a:r>
            <a:endParaRPr kumimoji="0" lang="en-US"/>
          </a:p>
        </p:txBody>
      </p:sp>
      <p:sp>
        <p:nvSpPr>
          <p:cNvPr id="7" name="Espace réservé de la date 6"/>
          <p:cNvSpPr>
            <a:spLocks noGrp="1"/>
          </p:cNvSpPr>
          <p:nvPr>
            <p:ph type="dt" sz="half" idx="10"/>
          </p:nvPr>
        </p:nvSpPr>
        <p:spPr>
          <a:xfrm>
            <a:off x="457200" y="6356350"/>
            <a:ext cx="2133600" cy="365125"/>
          </a:xfrm>
          <a:prstGeom prst="rect">
            <a:avLst/>
          </a:prstGeom>
        </p:spPr>
        <p:txBody>
          <a:bodyPr/>
          <a:lstStyle/>
          <a:p>
            <a:pPr>
              <a:defRPr/>
            </a:pPr>
            <a:endParaRPr lang="en-US"/>
          </a:p>
        </p:txBody>
      </p:sp>
      <p:sp>
        <p:nvSpPr>
          <p:cNvPr id="20" name="Espace réservé du pied de page 19"/>
          <p:cNvSpPr>
            <a:spLocks noGrp="1"/>
          </p:cNvSpPr>
          <p:nvPr>
            <p:ph type="ftr" sz="quarter" idx="11"/>
          </p:nvPr>
        </p:nvSpPr>
        <p:spPr>
          <a:xfrm>
            <a:off x="3124201" y="6356350"/>
            <a:ext cx="2895600" cy="365125"/>
          </a:xfrm>
          <a:prstGeom prst="rect">
            <a:avLst/>
          </a:prstGeom>
        </p:spPr>
        <p:txBody>
          <a:bodyPr/>
          <a:lstStyle/>
          <a:p>
            <a:pPr>
              <a:defRPr/>
            </a:pPr>
            <a:endParaRPr lang="en-US"/>
          </a:p>
        </p:txBody>
      </p:sp>
      <p:sp>
        <p:nvSpPr>
          <p:cNvPr id="10" name="Espace réservé du numéro de diapositive 9"/>
          <p:cNvSpPr>
            <a:spLocks noGrp="1"/>
          </p:cNvSpPr>
          <p:nvPr>
            <p:ph type="sldNum" sz="quarter" idx="12"/>
          </p:nvPr>
        </p:nvSpPr>
        <p:spPr>
          <a:xfrm>
            <a:off x="6553200" y="6356350"/>
            <a:ext cx="2133600" cy="365125"/>
          </a:xfrm>
          <a:prstGeom prst="rect">
            <a:avLst/>
          </a:prstGeom>
        </p:spPr>
        <p:txBody>
          <a:bodyPr/>
          <a:lstStyle/>
          <a:p>
            <a:pPr>
              <a:defRPr/>
            </a:pPr>
            <a:fld id="{D7121611-C5E1-4B30-B081-B703FA7110C6}" type="slidenum">
              <a:rPr lang="en-US" smtClean="0"/>
              <a:pPr>
                <a:defRPr/>
              </a:pPr>
              <a:t>‹N°›</a:t>
            </a:fld>
            <a:endParaRPr lang="en-US"/>
          </a:p>
        </p:txBody>
      </p:sp>
    </p:spTree>
    <p:extLst>
      <p:ext uri="{BB962C8B-B14F-4D97-AF65-F5344CB8AC3E}">
        <p14:creationId xmlns:p14="http://schemas.microsoft.com/office/powerpoint/2010/main" xmlns="" val="654103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cxnSp>
        <p:nvCxnSpPr>
          <p:cNvPr id="13" name="Connecteur droit 9"/>
          <p:cNvCxnSpPr/>
          <p:nvPr userDrawn="1"/>
        </p:nvCxnSpPr>
        <p:spPr>
          <a:xfrm flipV="1">
            <a:off x="0" y="885825"/>
            <a:ext cx="9144000" cy="9525"/>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pic>
        <p:nvPicPr>
          <p:cNvPr id="21"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630816" y="6160839"/>
            <a:ext cx="513184" cy="68713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cxnSp>
        <p:nvCxnSpPr>
          <p:cNvPr id="24" name="Connecteur droit 8"/>
          <p:cNvCxnSpPr/>
          <p:nvPr userDrawn="1"/>
        </p:nvCxnSpPr>
        <p:spPr>
          <a:xfrm>
            <a:off x="0" y="6160839"/>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a:endParaRPr lang="fr-FR"/>
          </a:p>
        </p:txBody>
      </p:sp>
      <p:sp>
        <p:nvSpPr>
          <p:cNvPr id="16" name="Espace réservé du numéro de diapositive 5"/>
          <p:cNvSpPr txBox="1">
            <a:spLocks/>
          </p:cNvSpPr>
          <p:nvPr userDrawn="1"/>
        </p:nvSpPr>
        <p:spPr>
          <a:xfrm>
            <a:off x="0" y="6160839"/>
            <a:ext cx="625504" cy="697161"/>
          </a:xfrm>
          <a:prstGeom prst="rect">
            <a:avLst/>
          </a:prstGeom>
        </p:spPr>
        <p:txBody>
          <a:bodyPr vert="horz" lIns="91420" tIns="45711" rIns="91420" bIns="45711" rtlCol="0" anchor="ctr"/>
          <a:lstStyle>
            <a:lvl1pPr algn="l">
              <a:defRPr/>
            </a:lvl1pPr>
          </a:lstStyle>
          <a:p>
            <a:pPr marL="0" marR="0" lvl="0" indent="0" algn="ctr" defTabSz="914206" rtl="0" eaLnBrk="1" fontAlgn="auto" latinLnBrk="0" hangingPunct="1">
              <a:lnSpc>
                <a:spcPct val="100000"/>
              </a:lnSpc>
              <a:spcBef>
                <a:spcPts val="0"/>
              </a:spcBef>
              <a:spcAft>
                <a:spcPts val="0"/>
              </a:spcAft>
              <a:buClrTx/>
              <a:buSzTx/>
              <a:buFontTx/>
              <a:buNone/>
              <a:tabLst/>
              <a:defRPr/>
            </a:pPr>
            <a:fld id="{E9478299-53AF-4918-BD71-F6C4D7E382A0}" type="slidenum">
              <a:rPr lang="fr-BE" sz="1200" b="1" kern="1200" noProof="0" smtClean="0">
                <a:solidFill>
                  <a:srgbClr val="E51B2E"/>
                </a:solidFill>
                <a:latin typeface="Times New Roman" pitchFamily="18" charset="0"/>
                <a:ea typeface="+mn-ea"/>
                <a:cs typeface="Times New Roman" pitchFamily="18" charset="0"/>
              </a:rPr>
              <a:pPr marL="0" marR="0" lvl="0" indent="0" algn="ctr" defTabSz="914206" rtl="0" eaLnBrk="1" fontAlgn="auto" latinLnBrk="0" hangingPunct="1">
                <a:lnSpc>
                  <a:spcPct val="100000"/>
                </a:lnSpc>
                <a:spcBef>
                  <a:spcPts val="0"/>
                </a:spcBef>
                <a:spcAft>
                  <a:spcPts val="0"/>
                </a:spcAft>
                <a:buClrTx/>
                <a:buSzTx/>
                <a:buFontTx/>
                <a:buNone/>
                <a:tabLst/>
                <a:defRPr/>
              </a:pPr>
              <a:t>‹N°›</a:t>
            </a:fld>
            <a:endParaRPr lang="fr-BE" sz="1000" b="1" kern="1200" noProof="0" dirty="0">
              <a:solidFill>
                <a:srgbClr val="E51B2E"/>
              </a:solidFill>
              <a:latin typeface="Times New Roman" pitchFamily="18" charset="0"/>
              <a:ea typeface="+mn-ea"/>
              <a:cs typeface="Times New Roman" pitchFamily="18" charset="0"/>
            </a:endParaRPr>
          </a:p>
        </p:txBody>
      </p:sp>
      <p:sp>
        <p:nvSpPr>
          <p:cNvPr id="8" name="ZoneTexte 7"/>
          <p:cNvSpPr txBox="1"/>
          <p:nvPr userDrawn="1"/>
        </p:nvSpPr>
        <p:spPr>
          <a:xfrm>
            <a:off x="6481483" y="6210000"/>
            <a:ext cx="2149334" cy="576000"/>
          </a:xfrm>
          <a:prstGeom prst="rect">
            <a:avLst/>
          </a:prstGeom>
          <a:no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ctr" rtl="1"/>
            <a:r>
              <a:rPr lang="ar-TN" sz="1200" b="1" dirty="0" smtClean="0">
                <a:solidFill>
                  <a:schemeClr val="tx1"/>
                </a:solidFill>
                <a:latin typeface="Simplified Arabic" pitchFamily="18" charset="-78"/>
                <a:cs typeface="Simplified Arabic" pitchFamily="18" charset="-78"/>
              </a:rPr>
              <a:t>وزارة</a:t>
            </a:r>
            <a:r>
              <a:rPr lang="ar-TN" sz="1200" b="1" baseline="0" dirty="0" smtClean="0">
                <a:solidFill>
                  <a:schemeClr val="tx1"/>
                </a:solidFill>
                <a:latin typeface="Simplified Arabic" pitchFamily="18" charset="-78"/>
                <a:cs typeface="Simplified Arabic" pitchFamily="18" charset="-78"/>
              </a:rPr>
              <a:t> التنمية والاستثمار</a:t>
            </a:r>
            <a:r>
              <a:rPr lang="fr-FR" sz="1200" b="1" baseline="0" dirty="0" smtClean="0">
                <a:solidFill>
                  <a:schemeClr val="tx1"/>
                </a:solidFill>
                <a:latin typeface="Simplified Arabic" pitchFamily="18" charset="-78"/>
                <a:cs typeface="Simplified Arabic" pitchFamily="18" charset="-78"/>
              </a:rPr>
              <a:t> </a:t>
            </a:r>
            <a:r>
              <a:rPr lang="ar-TN" sz="1200" b="1" baseline="0" dirty="0" smtClean="0">
                <a:solidFill>
                  <a:schemeClr val="tx1"/>
                </a:solidFill>
                <a:latin typeface="Simplified Arabic" pitchFamily="18" charset="-78"/>
                <a:cs typeface="Simplified Arabic" pitchFamily="18" charset="-78"/>
              </a:rPr>
              <a:t>والتعاون الدولي</a:t>
            </a:r>
            <a:endParaRPr lang="en-US" sz="1200" b="1" dirty="0" err="1" smtClean="0">
              <a:solidFill>
                <a:schemeClr val="tx1"/>
              </a:solidFill>
              <a:latin typeface="Simplified Arabic" pitchFamily="18" charset="-78"/>
              <a:cs typeface="Simplified Arabic" pitchFamily="18" charset="-78"/>
            </a:endParaRPr>
          </a:p>
        </p:txBody>
      </p:sp>
    </p:spTree>
    <p:extLst>
      <p:ext uri="{BB962C8B-B14F-4D97-AF65-F5344CB8AC3E}">
        <p14:creationId xmlns:p14="http://schemas.microsoft.com/office/powerpoint/2010/main" xmlns="" val="35747229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2_Title and Content">
    <p:spTree>
      <p:nvGrpSpPr>
        <p:cNvPr id="1" name=""/>
        <p:cNvGrpSpPr/>
        <p:nvPr/>
      </p:nvGrpSpPr>
      <p:grpSpPr>
        <a:xfrm>
          <a:off x="0" y="0"/>
          <a:ext cx="0" cy="0"/>
          <a:chOff x="0" y="0"/>
          <a:chExt cx="0" cy="0"/>
        </a:xfrm>
      </p:grpSpPr>
      <p:cxnSp>
        <p:nvCxnSpPr>
          <p:cNvPr id="13" name="Connecteur droit 9"/>
          <p:cNvCxnSpPr/>
          <p:nvPr userDrawn="1"/>
        </p:nvCxnSpPr>
        <p:spPr>
          <a:xfrm>
            <a:off x="130634" y="895468"/>
            <a:ext cx="8763000" cy="0"/>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18" name="Text Placeholder 28"/>
          <p:cNvSpPr>
            <a:spLocks noGrp="1"/>
          </p:cNvSpPr>
          <p:nvPr>
            <p:ph type="body" sz="quarter" idx="23"/>
          </p:nvPr>
        </p:nvSpPr>
        <p:spPr>
          <a:xfrm>
            <a:off x="164012" y="176177"/>
            <a:ext cx="8791302" cy="710519"/>
          </a:xfrm>
        </p:spPr>
        <p:txBody>
          <a:bodyPr anchor="ctr" anchorCtr="0">
            <a:normAutofit/>
          </a:bodyPr>
          <a:lstStyle>
            <a:lvl1pPr marL="0" indent="0" algn="r" rtl="1">
              <a:buNone/>
              <a:defRPr lang="en-US" sz="1800" b="0" kern="1200" dirty="0" smtClean="0">
                <a:solidFill>
                  <a:srgbClr val="FF0000"/>
                </a:solidFill>
                <a:latin typeface="Arial" pitchFamily="34" charset="0"/>
                <a:ea typeface="+mj-ea"/>
                <a:cs typeface="Arial" pitchFamily="34" charset="0"/>
              </a:defRPr>
            </a:lvl1pPr>
            <a:lvl2pPr>
              <a:buNone/>
              <a:defRPr/>
            </a:lvl2pPr>
          </a:lstStyle>
          <a:p>
            <a:pPr marL="0" marR="0" lvl="0" indent="0" algn="r" defTabSz="914206" rtl="1" eaLnBrk="1" fontAlgn="auto" latinLnBrk="0" hangingPunct="1">
              <a:lnSpc>
                <a:spcPct val="100000"/>
              </a:lnSpc>
              <a:spcBef>
                <a:spcPct val="0"/>
              </a:spcBef>
              <a:spcAft>
                <a:spcPts val="0"/>
              </a:spcAft>
              <a:buClrTx/>
              <a:buSzTx/>
              <a:buFontTx/>
              <a:buNone/>
              <a:tabLst/>
              <a:defRPr/>
            </a:pPr>
            <a:r>
              <a:rPr lang="en-US" dirty="0" smtClean="0"/>
              <a:t>Click to edit Master text styles</a:t>
            </a:r>
          </a:p>
        </p:txBody>
      </p:sp>
      <p:sp>
        <p:nvSpPr>
          <p:cNvPr id="20" name="ZoneTexte 9"/>
          <p:cNvSpPr txBox="1"/>
          <p:nvPr userDrawn="1"/>
        </p:nvSpPr>
        <p:spPr>
          <a:xfrm>
            <a:off x="6215074" y="6400871"/>
            <a:ext cx="2520280" cy="406353"/>
          </a:xfrm>
          <a:prstGeom prst="rect">
            <a:avLst/>
          </a:prstGeom>
          <a:noFill/>
        </p:spPr>
        <p:txBody>
          <a:bodyPr wrap="square" lIns="91420" tIns="45711" rIns="91420" bIns="45711" rtlCol="0">
            <a:spAutoFit/>
          </a:bodyPr>
          <a:lstStyle/>
          <a:p>
            <a:pPr marL="0" marR="0" lvl="0" indent="0" algn="r" defTabSz="914206" rtl="0" eaLnBrk="1" fontAlgn="auto" latinLnBrk="0" hangingPunct="1">
              <a:lnSpc>
                <a:spcPct val="100000"/>
              </a:lnSpc>
              <a:spcBef>
                <a:spcPts val="0"/>
              </a:spcBef>
              <a:spcAft>
                <a:spcPts val="0"/>
              </a:spcAft>
              <a:buClrTx/>
              <a:buSzTx/>
              <a:buFontTx/>
              <a:buNone/>
              <a:tabLst/>
              <a:defRPr/>
            </a:pP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الجمهورية التونسية</a:t>
            </a:r>
            <a:b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b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وزارة التنمية والاستثمار والتعاون الدولي</a:t>
            </a:r>
            <a:endParaRPr kumimoji="0" lang="fr-BE" sz="1000" b="0" i="0" u="none" strike="noStrike" kern="1200" cap="none" spc="0" normalizeH="0" baseline="0" noProof="0" dirty="0">
              <a:ln>
                <a:noFill/>
              </a:ln>
              <a:solidFill>
                <a:prstClr val="black">
                  <a:tint val="75000"/>
                </a:prstClr>
              </a:solidFill>
              <a:effectLst/>
              <a:uLnTx/>
              <a:uFillTx/>
              <a:latin typeface="+mn-lt"/>
              <a:ea typeface="+mn-ea"/>
              <a:cs typeface="+mn-cs"/>
            </a:endParaRPr>
          </a:p>
        </p:txBody>
      </p:sp>
      <p:pic>
        <p:nvPicPr>
          <p:cNvPr id="21"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730048" y="6357254"/>
            <a:ext cx="363968" cy="48734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2" name="Espace réservé du pied de page 4"/>
          <p:cNvSpPr>
            <a:spLocks noGrp="1"/>
          </p:cNvSpPr>
          <p:nvPr>
            <p:ph type="ftr" sz="quarter" idx="11"/>
          </p:nvPr>
        </p:nvSpPr>
        <p:spPr>
          <a:xfrm>
            <a:off x="3124201" y="6418365"/>
            <a:ext cx="2895600" cy="365125"/>
          </a:xfrm>
          <a:prstGeom prst="rect">
            <a:avLst/>
          </a:prstGeom>
        </p:spPr>
        <p:txBody>
          <a:bodyPr/>
          <a:lstStyle>
            <a:lvl1pPr marL="0" marR="0" indent="0" algn="ctr" defTabSz="914206" rtl="0" eaLnBrk="1" fontAlgn="auto" latinLnBrk="0" hangingPunct="1">
              <a:lnSpc>
                <a:spcPct val="100000"/>
              </a:lnSpc>
              <a:spcBef>
                <a:spcPts val="0"/>
              </a:spcBef>
              <a:spcAft>
                <a:spcPts val="0"/>
              </a:spcAft>
              <a:buClrTx/>
              <a:buSzTx/>
              <a:buFontTx/>
              <a:buNone/>
              <a:tabLst/>
              <a:defRPr sz="1000">
                <a:solidFill>
                  <a:srgbClr val="FF7575"/>
                </a:solidFill>
              </a:defRPr>
            </a:lvl1pPr>
          </a:lstStyle>
          <a:p>
            <a:r>
              <a:rPr lang="ar-TN" dirty="0" smtClean="0"/>
              <a:t>24 أفريل 2015</a:t>
            </a:r>
            <a:endParaRPr lang="fr-BE" dirty="0"/>
          </a:p>
        </p:txBody>
      </p:sp>
      <p:sp>
        <p:nvSpPr>
          <p:cNvPr id="23" name="Espace réservé du numéro de diapositive 5"/>
          <p:cNvSpPr txBox="1">
            <a:spLocks/>
          </p:cNvSpPr>
          <p:nvPr userDrawn="1"/>
        </p:nvSpPr>
        <p:spPr>
          <a:xfrm>
            <a:off x="428596" y="6418365"/>
            <a:ext cx="625504" cy="365125"/>
          </a:xfrm>
          <a:prstGeom prst="rect">
            <a:avLst/>
          </a:prstGeom>
        </p:spPr>
        <p:txBody>
          <a:bodyPr vert="horz" lIns="91420" tIns="45711" rIns="91420" bIns="45711" rtlCol="0" anchor="ctr"/>
          <a:lstStyle>
            <a:lvl1pPr algn="l">
              <a:defRPr/>
            </a:lvl1pPr>
          </a:lstStyle>
          <a:p>
            <a:pPr marL="0" marR="0" lvl="0" indent="0" algn="ctr" defTabSz="914206" rtl="0" eaLnBrk="1" fontAlgn="auto" latinLnBrk="0" hangingPunct="1">
              <a:lnSpc>
                <a:spcPct val="100000"/>
              </a:lnSpc>
              <a:spcBef>
                <a:spcPts val="0"/>
              </a:spcBef>
              <a:spcAft>
                <a:spcPts val="0"/>
              </a:spcAft>
              <a:buClrTx/>
              <a:buSzTx/>
              <a:buFontTx/>
              <a:buNone/>
              <a:tabLst/>
              <a:defRPr/>
            </a:pPr>
            <a:fld id="{CF4668DC-857F-487D-BFFA-8C0CA5037977}" type="slidenum">
              <a:rPr lang="fr-BE" sz="1000" kern="1200" noProof="0" smtClean="0">
                <a:solidFill>
                  <a:srgbClr val="E51B2E"/>
                </a:solidFill>
                <a:latin typeface="Arial" pitchFamily="34" charset="0"/>
                <a:ea typeface="+mn-ea"/>
                <a:cs typeface="Arial" pitchFamily="34" charset="0"/>
              </a:rPr>
              <a:pPr marL="0" marR="0" lvl="0" indent="0" algn="ctr" defTabSz="914206" rtl="0" eaLnBrk="1" fontAlgn="auto" latinLnBrk="0" hangingPunct="1">
                <a:lnSpc>
                  <a:spcPct val="100000"/>
                </a:lnSpc>
                <a:spcBef>
                  <a:spcPts val="0"/>
                </a:spcBef>
                <a:spcAft>
                  <a:spcPts val="0"/>
                </a:spcAft>
                <a:buClrTx/>
                <a:buSzTx/>
                <a:buFontTx/>
                <a:buNone/>
                <a:tabLst/>
                <a:defRPr/>
              </a:pPr>
              <a:t>‹N°›</a:t>
            </a:fld>
            <a:endParaRPr lang="fr-BE" sz="1000" kern="1200" noProof="0" dirty="0">
              <a:solidFill>
                <a:srgbClr val="E51B2E"/>
              </a:solidFill>
              <a:latin typeface="Arial" pitchFamily="34" charset="0"/>
              <a:ea typeface="+mn-ea"/>
              <a:cs typeface="Arial" pitchFamily="34" charset="0"/>
            </a:endParaRPr>
          </a:p>
        </p:txBody>
      </p:sp>
      <p:cxnSp>
        <p:nvCxnSpPr>
          <p:cNvPr id="24" name="Connecteur droit 8"/>
          <p:cNvCxnSpPr/>
          <p:nvPr userDrawn="1"/>
        </p:nvCxnSpPr>
        <p:spPr>
          <a:xfrm>
            <a:off x="0" y="6358062"/>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a:endParaRPr lang="fr-FR"/>
          </a:p>
        </p:txBody>
      </p:sp>
    </p:spTree>
    <p:extLst>
      <p:ext uri="{BB962C8B-B14F-4D97-AF65-F5344CB8AC3E}">
        <p14:creationId xmlns:p14="http://schemas.microsoft.com/office/powerpoint/2010/main" xmlns="" val="42903501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4_Title and Content">
    <p:spTree>
      <p:nvGrpSpPr>
        <p:cNvPr id="1" name=""/>
        <p:cNvGrpSpPr/>
        <p:nvPr/>
      </p:nvGrpSpPr>
      <p:grpSpPr>
        <a:xfrm>
          <a:off x="0" y="0"/>
          <a:ext cx="0" cy="0"/>
          <a:chOff x="0" y="0"/>
          <a:chExt cx="0" cy="0"/>
        </a:xfrm>
      </p:grpSpPr>
      <p:cxnSp>
        <p:nvCxnSpPr>
          <p:cNvPr id="13" name="Connecteur droit 9"/>
          <p:cNvCxnSpPr/>
          <p:nvPr userDrawn="1"/>
        </p:nvCxnSpPr>
        <p:spPr>
          <a:xfrm>
            <a:off x="130634" y="895468"/>
            <a:ext cx="8763000" cy="0"/>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18" name="Text Placeholder 28"/>
          <p:cNvSpPr>
            <a:spLocks noGrp="1"/>
          </p:cNvSpPr>
          <p:nvPr>
            <p:ph type="body" sz="quarter" idx="23"/>
          </p:nvPr>
        </p:nvSpPr>
        <p:spPr>
          <a:xfrm>
            <a:off x="164012" y="176177"/>
            <a:ext cx="8791302" cy="710519"/>
          </a:xfrm>
        </p:spPr>
        <p:txBody>
          <a:bodyPr anchor="ctr" anchorCtr="0">
            <a:normAutofit/>
          </a:bodyPr>
          <a:lstStyle>
            <a:lvl1pPr marL="0" indent="0" algn="r" rtl="1">
              <a:buNone/>
              <a:defRPr lang="en-US" sz="1800" b="0" kern="1200" dirty="0" smtClean="0">
                <a:solidFill>
                  <a:srgbClr val="FF0000"/>
                </a:solidFill>
                <a:latin typeface="Arial" pitchFamily="34" charset="0"/>
                <a:ea typeface="+mj-ea"/>
                <a:cs typeface="Arial" pitchFamily="34" charset="0"/>
              </a:defRPr>
            </a:lvl1pPr>
            <a:lvl2pPr>
              <a:buNone/>
              <a:defRPr/>
            </a:lvl2pPr>
          </a:lstStyle>
          <a:p>
            <a:pPr marL="0" marR="0" lvl="0" indent="0" algn="r" defTabSz="914206" rtl="1" eaLnBrk="1" fontAlgn="auto" latinLnBrk="0" hangingPunct="1">
              <a:lnSpc>
                <a:spcPct val="100000"/>
              </a:lnSpc>
              <a:spcBef>
                <a:spcPct val="0"/>
              </a:spcBef>
              <a:spcAft>
                <a:spcPts val="0"/>
              </a:spcAft>
              <a:buClrTx/>
              <a:buSzTx/>
              <a:buFontTx/>
              <a:buNone/>
              <a:tabLst/>
              <a:defRPr/>
            </a:pPr>
            <a:r>
              <a:rPr lang="en-US" dirty="0" smtClean="0"/>
              <a:t>Click to edit Master text styles</a:t>
            </a:r>
          </a:p>
        </p:txBody>
      </p:sp>
      <p:sp>
        <p:nvSpPr>
          <p:cNvPr id="20" name="ZoneTexte 9"/>
          <p:cNvSpPr txBox="1"/>
          <p:nvPr userDrawn="1"/>
        </p:nvSpPr>
        <p:spPr>
          <a:xfrm>
            <a:off x="6215074" y="6400871"/>
            <a:ext cx="2520280" cy="406353"/>
          </a:xfrm>
          <a:prstGeom prst="rect">
            <a:avLst/>
          </a:prstGeom>
          <a:noFill/>
        </p:spPr>
        <p:txBody>
          <a:bodyPr wrap="square" lIns="91420" tIns="45711" rIns="91420" bIns="45711" rtlCol="0">
            <a:spAutoFit/>
          </a:bodyPr>
          <a:lstStyle/>
          <a:p>
            <a:pPr marL="0" marR="0" lvl="0" indent="0" algn="r" defTabSz="914206" rtl="0" eaLnBrk="1" fontAlgn="auto" latinLnBrk="0" hangingPunct="1">
              <a:lnSpc>
                <a:spcPct val="100000"/>
              </a:lnSpc>
              <a:spcBef>
                <a:spcPts val="0"/>
              </a:spcBef>
              <a:spcAft>
                <a:spcPts val="0"/>
              </a:spcAft>
              <a:buClrTx/>
              <a:buSzTx/>
              <a:buFontTx/>
              <a:buNone/>
              <a:tabLst/>
              <a:defRPr/>
            </a:pP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الجمهورية التونسية</a:t>
            </a:r>
            <a:b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b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وزارة التنمية والاستثمار والتعاون الدولي</a:t>
            </a:r>
            <a:endParaRPr kumimoji="0" lang="fr-BE" sz="1000" b="0" i="0" u="none" strike="noStrike" kern="1200" cap="none" spc="0" normalizeH="0" baseline="0" noProof="0" dirty="0">
              <a:ln>
                <a:noFill/>
              </a:ln>
              <a:solidFill>
                <a:prstClr val="black">
                  <a:tint val="75000"/>
                </a:prstClr>
              </a:solidFill>
              <a:effectLst/>
              <a:uLnTx/>
              <a:uFillTx/>
              <a:latin typeface="+mn-lt"/>
              <a:ea typeface="+mn-ea"/>
              <a:cs typeface="+mn-cs"/>
            </a:endParaRPr>
          </a:p>
        </p:txBody>
      </p:sp>
      <p:pic>
        <p:nvPicPr>
          <p:cNvPr id="21"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730048" y="6357254"/>
            <a:ext cx="363968" cy="48734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2" name="Espace réservé du pied de page 4"/>
          <p:cNvSpPr>
            <a:spLocks noGrp="1"/>
          </p:cNvSpPr>
          <p:nvPr>
            <p:ph type="ftr" sz="quarter" idx="11"/>
          </p:nvPr>
        </p:nvSpPr>
        <p:spPr>
          <a:xfrm>
            <a:off x="3124201" y="6418365"/>
            <a:ext cx="2895600" cy="365125"/>
          </a:xfrm>
          <a:prstGeom prst="rect">
            <a:avLst/>
          </a:prstGeom>
        </p:spPr>
        <p:txBody>
          <a:bodyPr/>
          <a:lstStyle>
            <a:lvl1pPr marL="0" marR="0" indent="0" algn="ctr" defTabSz="914206" rtl="0" eaLnBrk="1" fontAlgn="auto" latinLnBrk="0" hangingPunct="1">
              <a:lnSpc>
                <a:spcPct val="100000"/>
              </a:lnSpc>
              <a:spcBef>
                <a:spcPts val="0"/>
              </a:spcBef>
              <a:spcAft>
                <a:spcPts val="0"/>
              </a:spcAft>
              <a:buClrTx/>
              <a:buSzTx/>
              <a:buFontTx/>
              <a:buNone/>
              <a:tabLst/>
              <a:defRPr sz="1000">
                <a:solidFill>
                  <a:srgbClr val="FF7575"/>
                </a:solidFill>
              </a:defRPr>
            </a:lvl1pPr>
          </a:lstStyle>
          <a:p>
            <a:r>
              <a:rPr lang="ar-TN" dirty="0" smtClean="0"/>
              <a:t>24 أفريل 2015</a:t>
            </a:r>
            <a:endParaRPr lang="fr-BE" dirty="0"/>
          </a:p>
        </p:txBody>
      </p:sp>
      <p:sp>
        <p:nvSpPr>
          <p:cNvPr id="23" name="Espace réservé du numéro de diapositive 5"/>
          <p:cNvSpPr txBox="1">
            <a:spLocks/>
          </p:cNvSpPr>
          <p:nvPr userDrawn="1"/>
        </p:nvSpPr>
        <p:spPr>
          <a:xfrm>
            <a:off x="428596" y="6418365"/>
            <a:ext cx="625504" cy="365125"/>
          </a:xfrm>
          <a:prstGeom prst="rect">
            <a:avLst/>
          </a:prstGeom>
        </p:spPr>
        <p:txBody>
          <a:bodyPr vert="horz" lIns="91420" tIns="45711" rIns="91420" bIns="45711" rtlCol="0" anchor="ctr"/>
          <a:lstStyle>
            <a:lvl1pPr algn="l">
              <a:defRPr/>
            </a:lvl1pPr>
          </a:lstStyle>
          <a:p>
            <a:pPr marL="0" marR="0" lvl="0" indent="0" algn="ctr" defTabSz="914206" rtl="0" eaLnBrk="1" fontAlgn="auto" latinLnBrk="0" hangingPunct="1">
              <a:lnSpc>
                <a:spcPct val="100000"/>
              </a:lnSpc>
              <a:spcBef>
                <a:spcPts val="0"/>
              </a:spcBef>
              <a:spcAft>
                <a:spcPts val="0"/>
              </a:spcAft>
              <a:buClrTx/>
              <a:buSzTx/>
              <a:buFontTx/>
              <a:buNone/>
              <a:tabLst/>
              <a:defRPr/>
            </a:pPr>
            <a:fld id="{CF4668DC-857F-487D-BFFA-8C0CA5037977}" type="slidenum">
              <a:rPr lang="fr-BE" sz="1000" kern="1200" noProof="0" smtClean="0">
                <a:solidFill>
                  <a:srgbClr val="E51B2E"/>
                </a:solidFill>
                <a:latin typeface="Arial" pitchFamily="34" charset="0"/>
                <a:ea typeface="+mn-ea"/>
                <a:cs typeface="Arial" pitchFamily="34" charset="0"/>
              </a:rPr>
              <a:pPr marL="0" marR="0" lvl="0" indent="0" algn="ctr" defTabSz="914206" rtl="0" eaLnBrk="1" fontAlgn="auto" latinLnBrk="0" hangingPunct="1">
                <a:lnSpc>
                  <a:spcPct val="100000"/>
                </a:lnSpc>
                <a:spcBef>
                  <a:spcPts val="0"/>
                </a:spcBef>
                <a:spcAft>
                  <a:spcPts val="0"/>
                </a:spcAft>
                <a:buClrTx/>
                <a:buSzTx/>
                <a:buFontTx/>
                <a:buNone/>
                <a:tabLst/>
                <a:defRPr/>
              </a:pPr>
              <a:t>‹N°›</a:t>
            </a:fld>
            <a:endParaRPr lang="fr-BE" sz="1000" kern="1200" noProof="0" dirty="0">
              <a:solidFill>
                <a:srgbClr val="E51B2E"/>
              </a:solidFill>
              <a:latin typeface="Arial" pitchFamily="34" charset="0"/>
              <a:ea typeface="+mn-ea"/>
              <a:cs typeface="Arial" pitchFamily="34" charset="0"/>
            </a:endParaRPr>
          </a:p>
        </p:txBody>
      </p:sp>
      <p:cxnSp>
        <p:nvCxnSpPr>
          <p:cNvPr id="24" name="Connecteur droit 8"/>
          <p:cNvCxnSpPr/>
          <p:nvPr userDrawn="1"/>
        </p:nvCxnSpPr>
        <p:spPr>
          <a:xfrm>
            <a:off x="0" y="6358062"/>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a:endParaRPr lang="fr-FR"/>
          </a:p>
        </p:txBody>
      </p:sp>
    </p:spTree>
    <p:extLst>
      <p:ext uri="{BB962C8B-B14F-4D97-AF65-F5344CB8AC3E}">
        <p14:creationId xmlns:p14="http://schemas.microsoft.com/office/powerpoint/2010/main" xmlns="" val="1515109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5_Title and Content">
    <p:spTree>
      <p:nvGrpSpPr>
        <p:cNvPr id="1" name=""/>
        <p:cNvGrpSpPr/>
        <p:nvPr/>
      </p:nvGrpSpPr>
      <p:grpSpPr>
        <a:xfrm>
          <a:off x="0" y="0"/>
          <a:ext cx="0" cy="0"/>
          <a:chOff x="0" y="0"/>
          <a:chExt cx="0" cy="0"/>
        </a:xfrm>
      </p:grpSpPr>
      <p:cxnSp>
        <p:nvCxnSpPr>
          <p:cNvPr id="13" name="Connecteur droit 9"/>
          <p:cNvCxnSpPr/>
          <p:nvPr userDrawn="1"/>
        </p:nvCxnSpPr>
        <p:spPr>
          <a:xfrm>
            <a:off x="130634" y="895468"/>
            <a:ext cx="8763000" cy="0"/>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18" name="Text Placeholder 28"/>
          <p:cNvSpPr>
            <a:spLocks noGrp="1"/>
          </p:cNvSpPr>
          <p:nvPr>
            <p:ph type="body" sz="quarter" idx="23"/>
          </p:nvPr>
        </p:nvSpPr>
        <p:spPr>
          <a:xfrm>
            <a:off x="164012" y="176177"/>
            <a:ext cx="8791302" cy="710519"/>
          </a:xfrm>
        </p:spPr>
        <p:txBody>
          <a:bodyPr anchor="ctr" anchorCtr="0">
            <a:normAutofit/>
          </a:bodyPr>
          <a:lstStyle>
            <a:lvl1pPr marL="0" indent="0" algn="r" rtl="1">
              <a:buNone/>
              <a:defRPr lang="en-US" sz="1800" b="0" kern="1200" dirty="0" smtClean="0">
                <a:solidFill>
                  <a:srgbClr val="FF0000"/>
                </a:solidFill>
                <a:latin typeface="Arial" pitchFamily="34" charset="0"/>
                <a:ea typeface="+mj-ea"/>
                <a:cs typeface="Arial" pitchFamily="34" charset="0"/>
              </a:defRPr>
            </a:lvl1pPr>
            <a:lvl2pPr>
              <a:buNone/>
              <a:defRPr/>
            </a:lvl2pPr>
          </a:lstStyle>
          <a:p>
            <a:pPr marL="0" marR="0" lvl="0" indent="0" algn="r" defTabSz="914206" rtl="1" eaLnBrk="1" fontAlgn="auto" latinLnBrk="0" hangingPunct="1">
              <a:lnSpc>
                <a:spcPct val="100000"/>
              </a:lnSpc>
              <a:spcBef>
                <a:spcPct val="0"/>
              </a:spcBef>
              <a:spcAft>
                <a:spcPts val="0"/>
              </a:spcAft>
              <a:buClrTx/>
              <a:buSzTx/>
              <a:buFontTx/>
              <a:buNone/>
              <a:tabLst/>
              <a:defRPr/>
            </a:pPr>
            <a:r>
              <a:rPr lang="en-US" dirty="0" smtClean="0"/>
              <a:t>Click to edit Master text styles</a:t>
            </a:r>
          </a:p>
        </p:txBody>
      </p:sp>
      <p:sp>
        <p:nvSpPr>
          <p:cNvPr id="20" name="ZoneTexte 9"/>
          <p:cNvSpPr txBox="1"/>
          <p:nvPr userDrawn="1"/>
        </p:nvSpPr>
        <p:spPr>
          <a:xfrm>
            <a:off x="6215074" y="6400871"/>
            <a:ext cx="2520280" cy="406353"/>
          </a:xfrm>
          <a:prstGeom prst="rect">
            <a:avLst/>
          </a:prstGeom>
          <a:noFill/>
        </p:spPr>
        <p:txBody>
          <a:bodyPr wrap="square" lIns="91420" tIns="45711" rIns="91420" bIns="45711" rtlCol="0">
            <a:spAutoFit/>
          </a:bodyPr>
          <a:lstStyle/>
          <a:p>
            <a:pPr marL="0" marR="0" lvl="0" indent="0" algn="r" defTabSz="914206" rtl="0" eaLnBrk="1" fontAlgn="auto" latinLnBrk="0" hangingPunct="1">
              <a:lnSpc>
                <a:spcPct val="100000"/>
              </a:lnSpc>
              <a:spcBef>
                <a:spcPts val="0"/>
              </a:spcBef>
              <a:spcAft>
                <a:spcPts val="0"/>
              </a:spcAft>
              <a:buClrTx/>
              <a:buSzTx/>
              <a:buFontTx/>
              <a:buNone/>
              <a:tabLst/>
              <a:defRPr/>
            </a:pP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الجمهورية التونسية</a:t>
            </a:r>
            <a:b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b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وزارة التنمية والاستثمار والتعاون الدولي</a:t>
            </a:r>
            <a:endParaRPr kumimoji="0" lang="fr-BE" sz="1000" b="0" i="0" u="none" strike="noStrike" kern="1200" cap="none" spc="0" normalizeH="0" baseline="0" noProof="0" dirty="0">
              <a:ln>
                <a:noFill/>
              </a:ln>
              <a:solidFill>
                <a:prstClr val="black">
                  <a:tint val="75000"/>
                </a:prstClr>
              </a:solidFill>
              <a:effectLst/>
              <a:uLnTx/>
              <a:uFillTx/>
              <a:latin typeface="+mn-lt"/>
              <a:ea typeface="+mn-ea"/>
              <a:cs typeface="+mn-cs"/>
            </a:endParaRPr>
          </a:p>
        </p:txBody>
      </p:sp>
      <p:pic>
        <p:nvPicPr>
          <p:cNvPr id="21"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730048" y="6357254"/>
            <a:ext cx="363968" cy="48734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2" name="Espace réservé du pied de page 4"/>
          <p:cNvSpPr>
            <a:spLocks noGrp="1"/>
          </p:cNvSpPr>
          <p:nvPr>
            <p:ph type="ftr" sz="quarter" idx="11"/>
          </p:nvPr>
        </p:nvSpPr>
        <p:spPr>
          <a:xfrm>
            <a:off x="3124201" y="6418365"/>
            <a:ext cx="2895600" cy="365125"/>
          </a:xfrm>
          <a:prstGeom prst="rect">
            <a:avLst/>
          </a:prstGeom>
        </p:spPr>
        <p:txBody>
          <a:bodyPr/>
          <a:lstStyle>
            <a:lvl1pPr marL="0" marR="0" indent="0" algn="ctr" defTabSz="914206" rtl="0" eaLnBrk="1" fontAlgn="auto" latinLnBrk="0" hangingPunct="1">
              <a:lnSpc>
                <a:spcPct val="100000"/>
              </a:lnSpc>
              <a:spcBef>
                <a:spcPts val="0"/>
              </a:spcBef>
              <a:spcAft>
                <a:spcPts val="0"/>
              </a:spcAft>
              <a:buClrTx/>
              <a:buSzTx/>
              <a:buFontTx/>
              <a:buNone/>
              <a:tabLst/>
              <a:defRPr sz="1000">
                <a:solidFill>
                  <a:srgbClr val="FF7575"/>
                </a:solidFill>
              </a:defRPr>
            </a:lvl1pPr>
          </a:lstStyle>
          <a:p>
            <a:r>
              <a:rPr lang="ar-TN" dirty="0" smtClean="0"/>
              <a:t>24 أفريل 2015</a:t>
            </a:r>
            <a:endParaRPr lang="fr-BE" dirty="0"/>
          </a:p>
        </p:txBody>
      </p:sp>
      <p:sp>
        <p:nvSpPr>
          <p:cNvPr id="23" name="Espace réservé du numéro de diapositive 5"/>
          <p:cNvSpPr txBox="1">
            <a:spLocks/>
          </p:cNvSpPr>
          <p:nvPr userDrawn="1"/>
        </p:nvSpPr>
        <p:spPr>
          <a:xfrm>
            <a:off x="428596" y="6418365"/>
            <a:ext cx="625504" cy="365125"/>
          </a:xfrm>
          <a:prstGeom prst="rect">
            <a:avLst/>
          </a:prstGeom>
        </p:spPr>
        <p:txBody>
          <a:bodyPr vert="horz" lIns="91420" tIns="45711" rIns="91420" bIns="45711" rtlCol="0" anchor="ctr"/>
          <a:lstStyle>
            <a:lvl1pPr algn="l">
              <a:defRPr/>
            </a:lvl1pPr>
          </a:lstStyle>
          <a:p>
            <a:pPr marL="0" marR="0" lvl="0" indent="0" algn="ctr" defTabSz="914206" rtl="0" eaLnBrk="1" fontAlgn="auto" latinLnBrk="0" hangingPunct="1">
              <a:lnSpc>
                <a:spcPct val="100000"/>
              </a:lnSpc>
              <a:spcBef>
                <a:spcPts val="0"/>
              </a:spcBef>
              <a:spcAft>
                <a:spcPts val="0"/>
              </a:spcAft>
              <a:buClrTx/>
              <a:buSzTx/>
              <a:buFontTx/>
              <a:buNone/>
              <a:tabLst/>
              <a:defRPr/>
            </a:pPr>
            <a:fld id="{CF4668DC-857F-487D-BFFA-8C0CA5037977}" type="slidenum">
              <a:rPr lang="fr-BE" sz="1000" kern="1200" noProof="0" smtClean="0">
                <a:solidFill>
                  <a:srgbClr val="E51B2E"/>
                </a:solidFill>
                <a:latin typeface="Arial" pitchFamily="34" charset="0"/>
                <a:ea typeface="+mn-ea"/>
                <a:cs typeface="Arial" pitchFamily="34" charset="0"/>
              </a:rPr>
              <a:pPr marL="0" marR="0" lvl="0" indent="0" algn="ctr" defTabSz="914206" rtl="0" eaLnBrk="1" fontAlgn="auto" latinLnBrk="0" hangingPunct="1">
                <a:lnSpc>
                  <a:spcPct val="100000"/>
                </a:lnSpc>
                <a:spcBef>
                  <a:spcPts val="0"/>
                </a:spcBef>
                <a:spcAft>
                  <a:spcPts val="0"/>
                </a:spcAft>
                <a:buClrTx/>
                <a:buSzTx/>
                <a:buFontTx/>
                <a:buNone/>
                <a:tabLst/>
                <a:defRPr/>
              </a:pPr>
              <a:t>‹N°›</a:t>
            </a:fld>
            <a:endParaRPr lang="fr-BE" sz="1000" kern="1200" noProof="0" dirty="0">
              <a:solidFill>
                <a:srgbClr val="E51B2E"/>
              </a:solidFill>
              <a:latin typeface="Arial" pitchFamily="34" charset="0"/>
              <a:ea typeface="+mn-ea"/>
              <a:cs typeface="Arial" pitchFamily="34" charset="0"/>
            </a:endParaRPr>
          </a:p>
        </p:txBody>
      </p:sp>
      <p:cxnSp>
        <p:nvCxnSpPr>
          <p:cNvPr id="24" name="Connecteur droit 8"/>
          <p:cNvCxnSpPr/>
          <p:nvPr userDrawn="1"/>
        </p:nvCxnSpPr>
        <p:spPr>
          <a:xfrm>
            <a:off x="0" y="6358062"/>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a:endParaRPr lang="fr-FR"/>
          </a:p>
        </p:txBody>
      </p:sp>
    </p:spTree>
    <p:extLst>
      <p:ext uri="{BB962C8B-B14F-4D97-AF65-F5344CB8AC3E}">
        <p14:creationId xmlns:p14="http://schemas.microsoft.com/office/powerpoint/2010/main" xmlns="" val="12794246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6_Title and Content">
    <p:spTree>
      <p:nvGrpSpPr>
        <p:cNvPr id="1" name=""/>
        <p:cNvGrpSpPr/>
        <p:nvPr/>
      </p:nvGrpSpPr>
      <p:grpSpPr>
        <a:xfrm>
          <a:off x="0" y="0"/>
          <a:ext cx="0" cy="0"/>
          <a:chOff x="0" y="0"/>
          <a:chExt cx="0" cy="0"/>
        </a:xfrm>
      </p:grpSpPr>
      <p:cxnSp>
        <p:nvCxnSpPr>
          <p:cNvPr id="13" name="Connecteur droit 9"/>
          <p:cNvCxnSpPr/>
          <p:nvPr userDrawn="1"/>
        </p:nvCxnSpPr>
        <p:spPr>
          <a:xfrm>
            <a:off x="130634" y="895468"/>
            <a:ext cx="8763000" cy="0"/>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18" name="Text Placeholder 28"/>
          <p:cNvSpPr>
            <a:spLocks noGrp="1"/>
          </p:cNvSpPr>
          <p:nvPr>
            <p:ph type="body" sz="quarter" idx="23"/>
          </p:nvPr>
        </p:nvSpPr>
        <p:spPr>
          <a:xfrm>
            <a:off x="164012" y="176177"/>
            <a:ext cx="8791302" cy="710519"/>
          </a:xfrm>
        </p:spPr>
        <p:txBody>
          <a:bodyPr anchor="ctr" anchorCtr="0">
            <a:normAutofit/>
          </a:bodyPr>
          <a:lstStyle>
            <a:lvl1pPr marL="0" indent="0" algn="r" rtl="1">
              <a:buNone/>
              <a:defRPr lang="en-US" sz="1800" b="0" kern="1200" dirty="0" smtClean="0">
                <a:solidFill>
                  <a:srgbClr val="FF0000"/>
                </a:solidFill>
                <a:latin typeface="Arial" pitchFamily="34" charset="0"/>
                <a:ea typeface="+mj-ea"/>
                <a:cs typeface="Arial" pitchFamily="34" charset="0"/>
              </a:defRPr>
            </a:lvl1pPr>
            <a:lvl2pPr>
              <a:buNone/>
              <a:defRPr/>
            </a:lvl2pPr>
          </a:lstStyle>
          <a:p>
            <a:pPr marL="0" marR="0" lvl="0" indent="0" algn="r" defTabSz="914206" rtl="1" eaLnBrk="1" fontAlgn="auto" latinLnBrk="0" hangingPunct="1">
              <a:lnSpc>
                <a:spcPct val="100000"/>
              </a:lnSpc>
              <a:spcBef>
                <a:spcPct val="0"/>
              </a:spcBef>
              <a:spcAft>
                <a:spcPts val="0"/>
              </a:spcAft>
              <a:buClrTx/>
              <a:buSzTx/>
              <a:buFontTx/>
              <a:buNone/>
              <a:tabLst/>
              <a:defRPr/>
            </a:pPr>
            <a:r>
              <a:rPr lang="en-US" dirty="0" smtClean="0"/>
              <a:t>Click to edit Master text styles</a:t>
            </a:r>
          </a:p>
        </p:txBody>
      </p:sp>
      <p:sp>
        <p:nvSpPr>
          <p:cNvPr id="20" name="ZoneTexte 9"/>
          <p:cNvSpPr txBox="1"/>
          <p:nvPr userDrawn="1"/>
        </p:nvSpPr>
        <p:spPr>
          <a:xfrm>
            <a:off x="6215074" y="6400871"/>
            <a:ext cx="2520280" cy="406353"/>
          </a:xfrm>
          <a:prstGeom prst="rect">
            <a:avLst/>
          </a:prstGeom>
          <a:noFill/>
        </p:spPr>
        <p:txBody>
          <a:bodyPr wrap="square" lIns="91420" tIns="45711" rIns="91420" bIns="45711" rtlCol="0">
            <a:spAutoFit/>
          </a:bodyPr>
          <a:lstStyle/>
          <a:p>
            <a:pPr marL="0" marR="0" lvl="0" indent="0" algn="r" defTabSz="914206" rtl="0" eaLnBrk="1" fontAlgn="auto" latinLnBrk="0" hangingPunct="1">
              <a:lnSpc>
                <a:spcPct val="100000"/>
              </a:lnSpc>
              <a:spcBef>
                <a:spcPts val="0"/>
              </a:spcBef>
              <a:spcAft>
                <a:spcPts val="0"/>
              </a:spcAft>
              <a:buClrTx/>
              <a:buSzTx/>
              <a:buFontTx/>
              <a:buNone/>
              <a:tabLst/>
              <a:defRPr/>
            </a:pP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الجمهورية التونسية</a:t>
            </a:r>
            <a:b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b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وزارة التنمية والاستثمار والتعاون الدولي</a:t>
            </a:r>
            <a:endParaRPr kumimoji="0" lang="fr-BE" sz="1000" b="0" i="0" u="none" strike="noStrike" kern="1200" cap="none" spc="0" normalizeH="0" baseline="0" noProof="0" dirty="0">
              <a:ln>
                <a:noFill/>
              </a:ln>
              <a:solidFill>
                <a:prstClr val="black">
                  <a:tint val="75000"/>
                </a:prstClr>
              </a:solidFill>
              <a:effectLst/>
              <a:uLnTx/>
              <a:uFillTx/>
              <a:latin typeface="+mn-lt"/>
              <a:ea typeface="+mn-ea"/>
              <a:cs typeface="+mn-cs"/>
            </a:endParaRPr>
          </a:p>
        </p:txBody>
      </p:sp>
      <p:pic>
        <p:nvPicPr>
          <p:cNvPr id="21"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730048" y="6357254"/>
            <a:ext cx="363968" cy="48734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2" name="Espace réservé du pied de page 4"/>
          <p:cNvSpPr>
            <a:spLocks noGrp="1"/>
          </p:cNvSpPr>
          <p:nvPr>
            <p:ph type="ftr" sz="quarter" idx="11"/>
          </p:nvPr>
        </p:nvSpPr>
        <p:spPr>
          <a:xfrm>
            <a:off x="3124201" y="6418365"/>
            <a:ext cx="2895600" cy="365125"/>
          </a:xfrm>
          <a:prstGeom prst="rect">
            <a:avLst/>
          </a:prstGeom>
        </p:spPr>
        <p:txBody>
          <a:bodyPr/>
          <a:lstStyle>
            <a:lvl1pPr marL="0" marR="0" indent="0" algn="ctr" defTabSz="914206" rtl="0" eaLnBrk="1" fontAlgn="auto" latinLnBrk="0" hangingPunct="1">
              <a:lnSpc>
                <a:spcPct val="100000"/>
              </a:lnSpc>
              <a:spcBef>
                <a:spcPts val="0"/>
              </a:spcBef>
              <a:spcAft>
                <a:spcPts val="0"/>
              </a:spcAft>
              <a:buClrTx/>
              <a:buSzTx/>
              <a:buFontTx/>
              <a:buNone/>
              <a:tabLst/>
              <a:defRPr sz="1000">
                <a:solidFill>
                  <a:srgbClr val="FF7575"/>
                </a:solidFill>
              </a:defRPr>
            </a:lvl1pPr>
          </a:lstStyle>
          <a:p>
            <a:r>
              <a:rPr lang="ar-TN" dirty="0" smtClean="0"/>
              <a:t>24 أفريل 2015</a:t>
            </a:r>
            <a:endParaRPr lang="fr-BE" dirty="0"/>
          </a:p>
        </p:txBody>
      </p:sp>
      <p:sp>
        <p:nvSpPr>
          <p:cNvPr id="23" name="Espace réservé du numéro de diapositive 5"/>
          <p:cNvSpPr txBox="1">
            <a:spLocks/>
          </p:cNvSpPr>
          <p:nvPr userDrawn="1"/>
        </p:nvSpPr>
        <p:spPr>
          <a:xfrm>
            <a:off x="428596" y="6418365"/>
            <a:ext cx="625504" cy="365125"/>
          </a:xfrm>
          <a:prstGeom prst="rect">
            <a:avLst/>
          </a:prstGeom>
        </p:spPr>
        <p:txBody>
          <a:bodyPr vert="horz" lIns="91420" tIns="45711" rIns="91420" bIns="45711" rtlCol="0" anchor="ctr"/>
          <a:lstStyle>
            <a:lvl1pPr algn="l">
              <a:defRPr/>
            </a:lvl1pPr>
          </a:lstStyle>
          <a:p>
            <a:pPr marL="0" marR="0" lvl="0" indent="0" algn="ctr" defTabSz="914206" rtl="0" eaLnBrk="1" fontAlgn="auto" latinLnBrk="0" hangingPunct="1">
              <a:lnSpc>
                <a:spcPct val="100000"/>
              </a:lnSpc>
              <a:spcBef>
                <a:spcPts val="0"/>
              </a:spcBef>
              <a:spcAft>
                <a:spcPts val="0"/>
              </a:spcAft>
              <a:buClrTx/>
              <a:buSzTx/>
              <a:buFontTx/>
              <a:buNone/>
              <a:tabLst/>
              <a:defRPr/>
            </a:pPr>
            <a:fld id="{CF4668DC-857F-487D-BFFA-8C0CA5037977}" type="slidenum">
              <a:rPr lang="fr-BE" sz="1000" kern="1200" noProof="0" smtClean="0">
                <a:solidFill>
                  <a:srgbClr val="E51B2E"/>
                </a:solidFill>
                <a:latin typeface="Arial" pitchFamily="34" charset="0"/>
                <a:ea typeface="+mn-ea"/>
                <a:cs typeface="Arial" pitchFamily="34" charset="0"/>
              </a:rPr>
              <a:pPr marL="0" marR="0" lvl="0" indent="0" algn="ctr" defTabSz="914206" rtl="0" eaLnBrk="1" fontAlgn="auto" latinLnBrk="0" hangingPunct="1">
                <a:lnSpc>
                  <a:spcPct val="100000"/>
                </a:lnSpc>
                <a:spcBef>
                  <a:spcPts val="0"/>
                </a:spcBef>
                <a:spcAft>
                  <a:spcPts val="0"/>
                </a:spcAft>
                <a:buClrTx/>
                <a:buSzTx/>
                <a:buFontTx/>
                <a:buNone/>
                <a:tabLst/>
                <a:defRPr/>
              </a:pPr>
              <a:t>‹N°›</a:t>
            </a:fld>
            <a:endParaRPr lang="fr-BE" sz="1000" kern="1200" noProof="0" dirty="0">
              <a:solidFill>
                <a:srgbClr val="E51B2E"/>
              </a:solidFill>
              <a:latin typeface="Arial" pitchFamily="34" charset="0"/>
              <a:ea typeface="+mn-ea"/>
              <a:cs typeface="Arial" pitchFamily="34" charset="0"/>
            </a:endParaRPr>
          </a:p>
        </p:txBody>
      </p:sp>
      <p:cxnSp>
        <p:nvCxnSpPr>
          <p:cNvPr id="24" name="Connecteur droit 8"/>
          <p:cNvCxnSpPr/>
          <p:nvPr userDrawn="1"/>
        </p:nvCxnSpPr>
        <p:spPr>
          <a:xfrm>
            <a:off x="0" y="6358062"/>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a:endParaRPr lang="fr-FR"/>
          </a:p>
        </p:txBody>
      </p:sp>
    </p:spTree>
    <p:extLst>
      <p:ext uri="{BB962C8B-B14F-4D97-AF65-F5344CB8AC3E}">
        <p14:creationId xmlns:p14="http://schemas.microsoft.com/office/powerpoint/2010/main" xmlns="" val="16706613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 y="6366398"/>
            <a:ext cx="512466" cy="325804"/>
          </a:xfrm>
          <a:prstGeom prst="rect">
            <a:avLst/>
          </a:prstGeom>
        </p:spPr>
        <p:txBody>
          <a:bodyPr/>
          <a:lstStyle>
            <a:lvl1pPr>
              <a:defRPr>
                <a:solidFill>
                  <a:srgbClr val="FF0000"/>
                </a:solidFill>
              </a:defRPr>
            </a:lvl1pPr>
          </a:lstStyle>
          <a:p>
            <a:fld id="{D4ACFD55-7BD4-4AA3-8F96-2C76D927290B}" type="slidenum">
              <a:rPr lang="en-US" smtClean="0"/>
              <a:pPr/>
              <a:t>‹N°›</a:t>
            </a:fld>
            <a:endParaRPr lang="en-US"/>
          </a:p>
        </p:txBody>
      </p:sp>
      <p:pic>
        <p:nvPicPr>
          <p:cNvPr id="10"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627347" y="6300322"/>
            <a:ext cx="363968" cy="48734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4" name="Rectangle 13"/>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6" name="Connecteur droit 8"/>
          <p:cNvCxnSpPr/>
          <p:nvPr userDrawn="1"/>
        </p:nvCxnSpPr>
        <p:spPr>
          <a:xfrm>
            <a:off x="0" y="6227436"/>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Connecteur droit 9"/>
          <p:cNvCxnSpPr/>
          <p:nvPr userDrawn="1"/>
        </p:nvCxnSpPr>
        <p:spPr>
          <a:xfrm>
            <a:off x="0" y="904352"/>
            <a:ext cx="9144000" cy="10048"/>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15" name="Rectangle 14"/>
          <p:cNvSpPr/>
          <p:nvPr userDrawn="1"/>
        </p:nvSpPr>
        <p:spPr>
          <a:xfrm>
            <a:off x="4064558" y="6205966"/>
            <a:ext cx="4572000" cy="623248"/>
          </a:xfrm>
          <a:prstGeom prst="rect">
            <a:avLst/>
          </a:prstGeom>
        </p:spPr>
        <p:txBody>
          <a:bodyPr>
            <a:spAutoFit/>
          </a:bodyPr>
          <a:lstStyle/>
          <a:p>
            <a:pPr algn="r" rtl="1">
              <a:lnSpc>
                <a:spcPct val="150000"/>
              </a:lnSpc>
            </a:pPr>
            <a:r>
              <a:rPr lang="ar-TN" sz="1200" b="1" dirty="0" smtClean="0">
                <a:solidFill>
                  <a:schemeClr val="tx1"/>
                </a:solidFill>
                <a:latin typeface="Simplified Arabic" panose="02020603050405020304" pitchFamily="18" charset="-78"/>
                <a:cs typeface="Simplified Arabic" panose="02020603050405020304" pitchFamily="18" charset="-78"/>
              </a:rPr>
              <a:t>الجمهورية التونسية</a:t>
            </a:r>
          </a:p>
          <a:p>
            <a:pPr algn="r" rtl="1">
              <a:lnSpc>
                <a:spcPct val="150000"/>
              </a:lnSpc>
            </a:pPr>
            <a:r>
              <a:rPr lang="ar-TN" sz="1200" b="1" dirty="0" smtClean="0">
                <a:solidFill>
                  <a:schemeClr val="tx1"/>
                </a:solidFill>
                <a:latin typeface="Simplified Arabic" panose="02020603050405020304" pitchFamily="18" charset="-78"/>
                <a:cs typeface="Simplified Arabic" panose="02020603050405020304" pitchFamily="18" charset="-78"/>
              </a:rPr>
              <a:t>وزارة التنمية والاستثمار</a:t>
            </a:r>
            <a:r>
              <a:rPr lang="ar-TN" sz="1200" b="1" baseline="0" dirty="0" smtClean="0">
                <a:solidFill>
                  <a:schemeClr val="tx1"/>
                </a:solidFill>
                <a:latin typeface="Simplified Arabic" panose="02020603050405020304" pitchFamily="18" charset="-78"/>
                <a:cs typeface="Simplified Arabic" panose="02020603050405020304" pitchFamily="18" charset="-78"/>
              </a:rPr>
              <a:t> والتعاون الدولي</a:t>
            </a:r>
          </a:p>
        </p:txBody>
      </p:sp>
    </p:spTree>
    <p:extLst>
      <p:ext uri="{BB962C8B-B14F-4D97-AF65-F5344CB8AC3E}">
        <p14:creationId xmlns:p14="http://schemas.microsoft.com/office/powerpoint/2010/main" xmlns="" val="40397207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1371601" y="2747970"/>
            <a:ext cx="6400800" cy="1752600"/>
          </a:xfrm>
        </p:spPr>
        <p:txBody>
          <a:bodyPr vert="horz" lIns="91420" tIns="45711" rIns="91420" bIns="45711" rtlCol="0">
            <a:normAutofit/>
          </a:bodyPr>
          <a:lstStyle>
            <a:lvl1pPr marL="0" indent="0" algn="ctr" defTabSz="914206" rtl="1" eaLnBrk="1" latinLnBrk="0" hangingPunct="1">
              <a:spcBef>
                <a:spcPct val="20000"/>
              </a:spcBef>
              <a:buFont typeface="Arial" pitchFamily="34" charset="0"/>
              <a:buNone/>
              <a:defRPr lang="fr-BE" sz="3200" b="1" kern="1200" dirty="0">
                <a:solidFill>
                  <a:srgbClr val="FF0000"/>
                </a:solidFill>
                <a:latin typeface="Arial" pitchFamily="34" charset="0"/>
                <a:ea typeface="+mn-ea"/>
                <a:cs typeface="Arial" pitchFamily="34" charset="0"/>
              </a:defRPr>
            </a:lvl1pPr>
            <a:lvl2pPr marL="457104" indent="0" algn="ctr">
              <a:buNone/>
              <a:defRPr>
                <a:solidFill>
                  <a:schemeClr val="tx1">
                    <a:tint val="75000"/>
                  </a:schemeClr>
                </a:solidFill>
              </a:defRPr>
            </a:lvl2pPr>
            <a:lvl3pPr marL="914206" indent="0" algn="ctr">
              <a:buNone/>
              <a:defRPr>
                <a:solidFill>
                  <a:schemeClr val="tx1">
                    <a:tint val="75000"/>
                  </a:schemeClr>
                </a:solidFill>
              </a:defRPr>
            </a:lvl3pPr>
            <a:lvl4pPr marL="1371310" indent="0" algn="ctr">
              <a:buNone/>
              <a:defRPr>
                <a:solidFill>
                  <a:schemeClr val="tx1">
                    <a:tint val="75000"/>
                  </a:schemeClr>
                </a:solidFill>
              </a:defRPr>
            </a:lvl4pPr>
            <a:lvl5pPr marL="1828412" indent="0" algn="ctr">
              <a:buNone/>
              <a:defRPr>
                <a:solidFill>
                  <a:schemeClr val="tx1">
                    <a:tint val="75000"/>
                  </a:schemeClr>
                </a:solidFill>
              </a:defRPr>
            </a:lvl5pPr>
            <a:lvl6pPr marL="2285516" indent="0" algn="ctr">
              <a:buNone/>
              <a:defRPr>
                <a:solidFill>
                  <a:schemeClr val="tx1">
                    <a:tint val="75000"/>
                  </a:schemeClr>
                </a:solidFill>
              </a:defRPr>
            </a:lvl6pPr>
            <a:lvl7pPr marL="2742618" indent="0" algn="ctr">
              <a:buNone/>
              <a:defRPr>
                <a:solidFill>
                  <a:schemeClr val="tx1">
                    <a:tint val="75000"/>
                  </a:schemeClr>
                </a:solidFill>
              </a:defRPr>
            </a:lvl7pPr>
            <a:lvl8pPr marL="3199722" indent="0" algn="ctr">
              <a:buNone/>
              <a:defRPr>
                <a:solidFill>
                  <a:schemeClr val="tx1">
                    <a:tint val="75000"/>
                  </a:schemeClr>
                </a:solidFill>
              </a:defRPr>
            </a:lvl8pPr>
            <a:lvl9pPr marL="3656825" indent="0" algn="ctr">
              <a:buNone/>
              <a:defRPr>
                <a:solidFill>
                  <a:schemeClr val="tx1">
                    <a:tint val="75000"/>
                  </a:schemeClr>
                </a:solidFill>
              </a:defRPr>
            </a:lvl9pPr>
          </a:lstStyle>
          <a:p>
            <a:r>
              <a:rPr lang="fr-FR" dirty="0" smtClean="0"/>
              <a:t>Cliquez pour modifier le style des sous-titres du masque</a:t>
            </a:r>
            <a:endParaRPr lang="fr-BE" dirty="0"/>
          </a:p>
        </p:txBody>
      </p:sp>
      <p:pic>
        <p:nvPicPr>
          <p:cNvPr id="1026" name="Picture 2"/>
          <p:cNvPicPr>
            <a:picLocks noChangeAspect="1" noChangeArrowheads="1"/>
          </p:cNvPicPr>
          <p:nvPr userDrawn="1"/>
        </p:nvPicPr>
        <p:blipFill rotWithShape="1">
          <a:blip r:embed="rId2">
            <a:extLst>
              <a:ext uri="{28A0092B-C50C-407E-A947-70E740481C1C}">
                <a14:useLocalDpi xmlns:a14="http://schemas.microsoft.com/office/drawing/2010/main" xmlns="" val="0"/>
              </a:ext>
            </a:extLst>
          </a:blip>
          <a:srcRect l="10898" t="19022" r="79630" b="55902"/>
          <a:stretch/>
        </p:blipFill>
        <p:spPr bwMode="auto">
          <a:xfrm>
            <a:off x="8028384" y="11503"/>
            <a:ext cx="972000" cy="14466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7" name="Rectangle 6"/>
          <p:cNvSpPr/>
          <p:nvPr userDrawn="1"/>
        </p:nvSpPr>
        <p:spPr>
          <a:xfrm>
            <a:off x="32" y="1714488"/>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rtl="0" fontAlgn="base">
              <a:spcBef>
                <a:spcPct val="0"/>
              </a:spcBef>
              <a:spcAft>
                <a:spcPct val="0"/>
              </a:spcAft>
            </a:pPr>
            <a:endParaRPr lang="fr-FR" kern="1200">
              <a:solidFill>
                <a:schemeClr val="lt1"/>
              </a:solidFill>
              <a:latin typeface="+mn-lt"/>
              <a:ea typeface="+mn-ea"/>
              <a:cs typeface="+mn-cs"/>
            </a:endParaRPr>
          </a:p>
        </p:txBody>
      </p:sp>
      <p:sp>
        <p:nvSpPr>
          <p:cNvPr id="11" name="Espace réservé de la date 3"/>
          <p:cNvSpPr>
            <a:spLocks noGrp="1"/>
          </p:cNvSpPr>
          <p:nvPr>
            <p:ph type="dt" sz="half" idx="10"/>
          </p:nvPr>
        </p:nvSpPr>
        <p:spPr>
          <a:xfrm>
            <a:off x="3503184" y="5483211"/>
            <a:ext cx="2133600" cy="406353"/>
          </a:xfrm>
          <a:prstGeom prst="rect">
            <a:avLst/>
          </a:prstGeom>
          <a:noFill/>
        </p:spPr>
        <p:txBody>
          <a:bodyPr wrap="square" rtlCol="0">
            <a:spAutoFit/>
          </a:bodyPr>
          <a:lstStyle>
            <a:lvl1pPr marL="0" algn="ctr" defTabSz="914206" rtl="1" eaLnBrk="1" latinLnBrk="0" hangingPunct="1">
              <a:defRPr lang="fr-BE" sz="2000" b="1" kern="1200" dirty="0" smtClean="0">
                <a:solidFill>
                  <a:srgbClr val="000000"/>
                </a:solidFill>
                <a:latin typeface="Arial" pitchFamily="34" charset="0"/>
                <a:ea typeface="+mn-ea"/>
                <a:cs typeface="Arial" pitchFamily="34" charset="0"/>
              </a:defRPr>
            </a:lvl1pPr>
          </a:lstStyle>
          <a:p>
            <a:endParaRPr lang="en-US" dirty="0"/>
          </a:p>
        </p:txBody>
      </p:sp>
      <p:sp>
        <p:nvSpPr>
          <p:cNvPr id="13" name="Rectangle 12"/>
          <p:cNvSpPr/>
          <p:nvPr userDrawn="1"/>
        </p:nvSpPr>
        <p:spPr>
          <a:xfrm>
            <a:off x="3500430" y="428606"/>
            <a:ext cx="4572000" cy="657576"/>
          </a:xfrm>
          <a:prstGeom prst="rect">
            <a:avLst/>
          </a:prstGeom>
        </p:spPr>
        <p:txBody>
          <a:bodyPr wrap="square" lIns="91420" tIns="45711" rIns="91420" bIns="45711">
            <a:spAutoFit/>
          </a:bodyPr>
          <a:lstStyle/>
          <a:p>
            <a:pPr algn="r">
              <a:lnSpc>
                <a:spcPct val="100000"/>
              </a:lnSpc>
              <a:spcBef>
                <a:spcPts val="600"/>
              </a:spcBef>
              <a:spcAft>
                <a:spcPts val="600"/>
              </a:spcAft>
            </a:pPr>
            <a:r>
              <a:rPr lang="ar-TN" sz="1800" b="1" kern="1200" dirty="0" smtClean="0">
                <a:solidFill>
                  <a:srgbClr val="000000"/>
                </a:solidFill>
                <a:latin typeface="Arial" pitchFamily="34" charset="0"/>
                <a:ea typeface="+mn-ea"/>
                <a:cs typeface="+mj-cs"/>
              </a:rPr>
              <a:t>الجمهورية التونسية</a:t>
            </a:r>
            <a:br>
              <a:rPr lang="ar-TN" sz="1800" b="1" kern="1200" dirty="0" smtClean="0">
                <a:solidFill>
                  <a:srgbClr val="000000"/>
                </a:solidFill>
                <a:latin typeface="Arial" pitchFamily="34" charset="0"/>
                <a:ea typeface="+mn-ea"/>
                <a:cs typeface="+mj-cs"/>
              </a:rPr>
            </a:br>
            <a:r>
              <a:rPr lang="ar-TN" sz="1800" b="1" kern="1200" dirty="0" smtClean="0">
                <a:solidFill>
                  <a:srgbClr val="000000"/>
                </a:solidFill>
                <a:latin typeface="Arial" pitchFamily="34" charset="0"/>
                <a:ea typeface="+mn-ea"/>
                <a:cs typeface="+mj-cs"/>
              </a:rPr>
              <a:t>وزارة التنمية والاستثمار والتعاون الدولي</a:t>
            </a:r>
            <a:endParaRPr lang="fr-FR" sz="1800" b="1" kern="1200" dirty="0">
              <a:solidFill>
                <a:srgbClr val="000000"/>
              </a:solidFill>
              <a:latin typeface="Arial" pitchFamily="34" charset="0"/>
              <a:ea typeface="+mn-ea"/>
              <a:cs typeface="+mj-cs"/>
            </a:endParaRPr>
          </a:p>
        </p:txBody>
      </p:sp>
    </p:spTree>
    <p:extLst>
      <p:ext uri="{BB962C8B-B14F-4D97-AF65-F5344CB8AC3E}">
        <p14:creationId xmlns:p14="http://schemas.microsoft.com/office/powerpoint/2010/main" xmlns="" val="3170679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1_Title and Content">
    <p:spTree>
      <p:nvGrpSpPr>
        <p:cNvPr id="1" name=""/>
        <p:cNvGrpSpPr/>
        <p:nvPr/>
      </p:nvGrpSpPr>
      <p:grpSpPr>
        <a:xfrm>
          <a:off x="0" y="0"/>
          <a:ext cx="0" cy="0"/>
          <a:chOff x="0" y="0"/>
          <a:chExt cx="0" cy="0"/>
        </a:xfrm>
      </p:grpSpPr>
      <p:cxnSp>
        <p:nvCxnSpPr>
          <p:cNvPr id="13" name="Connecteur droit 9"/>
          <p:cNvCxnSpPr/>
          <p:nvPr userDrawn="1"/>
        </p:nvCxnSpPr>
        <p:spPr>
          <a:xfrm>
            <a:off x="130632" y="895468"/>
            <a:ext cx="8763000" cy="0"/>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18" name="Text Placeholder 28"/>
          <p:cNvSpPr>
            <a:spLocks noGrp="1"/>
          </p:cNvSpPr>
          <p:nvPr>
            <p:ph type="body" sz="quarter" idx="23"/>
          </p:nvPr>
        </p:nvSpPr>
        <p:spPr>
          <a:xfrm>
            <a:off x="164012" y="176177"/>
            <a:ext cx="8791302" cy="710519"/>
          </a:xfrm>
        </p:spPr>
        <p:txBody>
          <a:bodyPr anchor="ctr" anchorCtr="0">
            <a:normAutofit/>
          </a:bodyPr>
          <a:lstStyle>
            <a:lvl1pPr marL="0" indent="0" algn="r" rtl="1">
              <a:buNone/>
              <a:defRPr lang="en-US" sz="1800" b="1" kern="1200" dirty="0" smtClean="0">
                <a:solidFill>
                  <a:srgbClr val="FF0000"/>
                </a:solidFill>
                <a:latin typeface="Arial" pitchFamily="34" charset="0"/>
                <a:ea typeface="+mj-ea"/>
                <a:cs typeface="Arial" pitchFamily="34" charset="0"/>
              </a:defRPr>
            </a:lvl1pPr>
            <a:lvl2pPr>
              <a:buNone/>
              <a:defRPr/>
            </a:lvl2pPr>
          </a:lstStyle>
          <a:p>
            <a:pPr marL="0" marR="0" lvl="0" indent="0" algn="r" defTabSz="914400" rtl="1" eaLnBrk="1" fontAlgn="auto" latinLnBrk="0" hangingPunct="1">
              <a:lnSpc>
                <a:spcPct val="100000"/>
              </a:lnSpc>
              <a:spcBef>
                <a:spcPct val="0"/>
              </a:spcBef>
              <a:spcAft>
                <a:spcPts val="0"/>
              </a:spcAft>
              <a:buClrTx/>
              <a:buSzTx/>
              <a:buFontTx/>
              <a:buNone/>
              <a:tabLst/>
              <a:defRPr/>
            </a:pPr>
            <a:r>
              <a:rPr lang="en-US" dirty="0" smtClean="0"/>
              <a:t>Click to edit Master text styles</a:t>
            </a:r>
          </a:p>
        </p:txBody>
      </p:sp>
      <p:sp>
        <p:nvSpPr>
          <p:cNvPr id="20" name="ZoneTexte 9"/>
          <p:cNvSpPr txBox="1"/>
          <p:nvPr userDrawn="1"/>
        </p:nvSpPr>
        <p:spPr>
          <a:xfrm>
            <a:off x="6215074" y="6400870"/>
            <a:ext cx="2520280"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الجمهورية التونسية</a:t>
            </a:r>
            <a:b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b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وزارة التنمية والاستثمار والتعاون الدولي</a:t>
            </a:r>
            <a:endParaRPr kumimoji="0" lang="fr-BE" sz="1000" b="0" i="0" u="none" strike="noStrike" kern="1200" cap="none" spc="0" normalizeH="0" baseline="0" noProof="0" dirty="0">
              <a:ln>
                <a:noFill/>
              </a:ln>
              <a:solidFill>
                <a:prstClr val="black">
                  <a:tint val="75000"/>
                </a:prstClr>
              </a:solidFill>
              <a:effectLst/>
              <a:uLnTx/>
              <a:uFillTx/>
              <a:latin typeface="+mn-lt"/>
              <a:ea typeface="+mn-ea"/>
              <a:cs typeface="+mn-cs"/>
            </a:endParaRPr>
          </a:p>
        </p:txBody>
      </p:sp>
      <p:pic>
        <p:nvPicPr>
          <p:cNvPr id="21"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730046" y="6357254"/>
            <a:ext cx="363968" cy="48734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2" name="Espace réservé du pied de page 4"/>
          <p:cNvSpPr>
            <a:spLocks noGrp="1"/>
          </p:cNvSpPr>
          <p:nvPr>
            <p:ph type="ftr" sz="quarter" idx="11"/>
          </p:nvPr>
        </p:nvSpPr>
        <p:spPr>
          <a:xfrm>
            <a:off x="3124200" y="6418363"/>
            <a:ext cx="2895600" cy="365125"/>
          </a:xfrm>
        </p:spPr>
        <p:txBody>
          <a:bodyPr/>
          <a:lstStyle>
            <a:lvl1pPr marL="0" marR="0" indent="0" algn="ctr" defTabSz="914400" rtl="0" eaLnBrk="1" fontAlgn="auto" latinLnBrk="0" hangingPunct="1">
              <a:lnSpc>
                <a:spcPct val="100000"/>
              </a:lnSpc>
              <a:spcBef>
                <a:spcPts val="0"/>
              </a:spcBef>
              <a:spcAft>
                <a:spcPts val="0"/>
              </a:spcAft>
              <a:buClrTx/>
              <a:buSzTx/>
              <a:buFontTx/>
              <a:buNone/>
              <a:tabLst/>
              <a:defRPr sz="1000">
                <a:solidFill>
                  <a:srgbClr val="FF7575"/>
                </a:solidFill>
              </a:defRPr>
            </a:lvl1pPr>
          </a:lstStyle>
          <a:p>
            <a:r>
              <a:rPr lang="ar-TN" dirty="0" smtClean="0"/>
              <a:t>24 أفريل 2015</a:t>
            </a:r>
            <a:endParaRPr lang="fr-BE" dirty="0"/>
          </a:p>
        </p:txBody>
      </p:sp>
      <p:sp>
        <p:nvSpPr>
          <p:cNvPr id="23" name="Espace réservé du numéro de diapositive 5"/>
          <p:cNvSpPr txBox="1">
            <a:spLocks/>
          </p:cNvSpPr>
          <p:nvPr userDrawn="1"/>
        </p:nvSpPr>
        <p:spPr>
          <a:xfrm>
            <a:off x="428596" y="6418363"/>
            <a:ext cx="625504" cy="365125"/>
          </a:xfrm>
          <a:prstGeom prst="rect">
            <a:avLst/>
          </a:prstGeom>
        </p:spPr>
        <p:txBody>
          <a:bodyPr vert="horz" lIns="91440" tIns="45720" rIns="91440" bIns="45720" rtlCol="0" anchor="ctr"/>
          <a:lstStyle>
            <a:lvl1pPr algn="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F4668DC-857F-487D-BFFA-8C0CA5037977}" type="slidenum">
              <a:rPr lang="fr-BE" sz="1000" kern="1200" noProof="0" smtClean="0">
                <a:solidFill>
                  <a:srgbClr val="E51B2E"/>
                </a:solidFill>
                <a:latin typeface="Arial" pitchFamily="34" charset="0"/>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lang="fr-BE" sz="1000" kern="1200" noProof="0" dirty="0">
              <a:solidFill>
                <a:srgbClr val="E51B2E"/>
              </a:solidFill>
              <a:latin typeface="Arial" pitchFamily="34" charset="0"/>
              <a:ea typeface="+mn-ea"/>
              <a:cs typeface="Arial" pitchFamily="34" charset="0"/>
            </a:endParaRPr>
          </a:p>
        </p:txBody>
      </p:sp>
      <p:cxnSp>
        <p:nvCxnSpPr>
          <p:cNvPr id="24" name="Connecteur droit 8"/>
          <p:cNvCxnSpPr/>
          <p:nvPr userDrawn="1"/>
        </p:nvCxnSpPr>
        <p:spPr>
          <a:xfrm>
            <a:off x="0" y="6358062"/>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Text Placeholder 28"/>
          <p:cNvSpPr>
            <a:spLocks noGrp="1"/>
          </p:cNvSpPr>
          <p:nvPr>
            <p:ph type="body" sz="quarter" idx="24"/>
          </p:nvPr>
        </p:nvSpPr>
        <p:spPr>
          <a:xfrm>
            <a:off x="164011" y="892507"/>
            <a:ext cx="8742921" cy="710519"/>
          </a:xfrm>
        </p:spPr>
        <p:txBody>
          <a:bodyPr anchor="ctr" anchorCtr="0">
            <a:normAutofit/>
          </a:bodyPr>
          <a:lstStyle>
            <a:lvl1pPr marL="0" indent="0" algn="r" rtl="1">
              <a:buNone/>
              <a:defRPr sz="1600" b="1">
                <a:latin typeface="Arial" pitchFamily="34" charset="0"/>
                <a:cs typeface="Arial" pitchFamily="34" charset="0"/>
              </a:defRPr>
            </a:lvl1pPr>
            <a:lvl2pPr>
              <a:buNone/>
              <a:defRPr/>
            </a:lvl2pPr>
          </a:lstStyle>
          <a:p>
            <a:pPr lvl="0"/>
            <a:r>
              <a:rPr lang="en-US" dirty="0" smtClean="0"/>
              <a:t>Click to edit Master text styles</a:t>
            </a:r>
          </a:p>
        </p:txBody>
      </p:sp>
    </p:spTree>
    <p:extLst>
      <p:ext uri="{BB962C8B-B14F-4D97-AF65-F5344CB8AC3E}">
        <p14:creationId xmlns:p14="http://schemas.microsoft.com/office/powerpoint/2010/main" xmlns="" val="6588566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457200" y="6356350"/>
            <a:ext cx="2133600" cy="365125"/>
          </a:xfrm>
          <a:prstGeom prst="rect">
            <a:avLst/>
          </a:prstGeom>
        </p:spPr>
        <p:txBody>
          <a:bodyPr/>
          <a:lstStyle/>
          <a:p>
            <a:endParaRPr lang="en-US"/>
          </a:p>
        </p:txBody>
      </p:sp>
      <p:sp>
        <p:nvSpPr>
          <p:cNvPr id="3" name="Espace réservé du pied de page 2"/>
          <p:cNvSpPr>
            <a:spLocks noGrp="1"/>
          </p:cNvSpPr>
          <p:nvPr>
            <p:ph type="ftr" sz="quarter" idx="11"/>
          </p:nvPr>
        </p:nvSpPr>
        <p:spPr>
          <a:xfrm>
            <a:off x="2667000" y="6356350"/>
            <a:ext cx="3352800" cy="365125"/>
          </a:xfrm>
          <a:prstGeom prst="rect">
            <a:avLst/>
          </a:prstGeom>
        </p:spPr>
        <p:txBody>
          <a:bodyPr/>
          <a:lstStyle/>
          <a:p>
            <a:endParaRPr kumimoji="0" lang="en-US"/>
          </a:p>
        </p:txBody>
      </p:sp>
      <p:sp>
        <p:nvSpPr>
          <p:cNvPr id="4" name="Espace réservé du numéro de diapositive 3"/>
          <p:cNvSpPr>
            <a:spLocks noGrp="1"/>
          </p:cNvSpPr>
          <p:nvPr>
            <p:ph type="sldNum" sz="quarter" idx="12"/>
          </p:nvPr>
        </p:nvSpPr>
        <p:spPr>
          <a:xfrm>
            <a:off x="7924800" y="6356350"/>
            <a:ext cx="762000" cy="365125"/>
          </a:xfrm>
          <a:prstGeom prst="rect">
            <a:avLst/>
          </a:prstGeom>
        </p:spPr>
        <p:txBody>
          <a:bodyPr/>
          <a:lstStyle/>
          <a:p>
            <a:fld id="{042AED99-7FB4-404E-8A97-64753DCE42EC}" type="slidenum">
              <a:rPr kumimoji="0" lang="en-US" smtClean="0"/>
              <a:pPr/>
              <a:t>‹N°›</a:t>
            </a:fld>
            <a:endParaRPr kumimoji="0" lang="en-US" dirty="0"/>
          </a:p>
        </p:txBody>
      </p:sp>
      <p:cxnSp>
        <p:nvCxnSpPr>
          <p:cNvPr id="5" name="Connecteur droit 4"/>
          <p:cNvCxnSpPr/>
          <p:nvPr userDrawn="1"/>
        </p:nvCxnSpPr>
        <p:spPr>
          <a:xfrm>
            <a:off x="0" y="1723664"/>
            <a:ext cx="9144000"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 name="Connecteur droit 5"/>
          <p:cNvCxnSpPr/>
          <p:nvPr userDrawn="1"/>
        </p:nvCxnSpPr>
        <p:spPr>
          <a:xfrm>
            <a:off x="0" y="5108040"/>
            <a:ext cx="9144000"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256896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cxnSp>
        <p:nvCxnSpPr>
          <p:cNvPr id="13" name="Connecteur droit 9"/>
          <p:cNvCxnSpPr/>
          <p:nvPr userDrawn="1"/>
        </p:nvCxnSpPr>
        <p:spPr>
          <a:xfrm flipV="1">
            <a:off x="0" y="885825"/>
            <a:ext cx="9144000" cy="9525"/>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pic>
        <p:nvPicPr>
          <p:cNvPr id="21"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630816" y="6160839"/>
            <a:ext cx="513184" cy="68713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cxnSp>
        <p:nvCxnSpPr>
          <p:cNvPr id="24" name="Connecteur droit 8"/>
          <p:cNvCxnSpPr/>
          <p:nvPr userDrawn="1"/>
        </p:nvCxnSpPr>
        <p:spPr>
          <a:xfrm>
            <a:off x="0" y="6160839"/>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a:endParaRPr lang="fr-FR"/>
          </a:p>
        </p:txBody>
      </p:sp>
      <p:sp>
        <p:nvSpPr>
          <p:cNvPr id="16" name="Espace réservé du numéro de diapositive 5"/>
          <p:cNvSpPr txBox="1">
            <a:spLocks/>
          </p:cNvSpPr>
          <p:nvPr userDrawn="1"/>
        </p:nvSpPr>
        <p:spPr>
          <a:xfrm>
            <a:off x="0" y="6160839"/>
            <a:ext cx="625504" cy="697161"/>
          </a:xfrm>
          <a:prstGeom prst="rect">
            <a:avLst/>
          </a:prstGeom>
        </p:spPr>
        <p:txBody>
          <a:bodyPr vert="horz" lIns="91420" tIns="45711" rIns="91420" bIns="45711" rtlCol="0" anchor="ctr"/>
          <a:lstStyle>
            <a:lvl1pPr algn="l">
              <a:defRPr/>
            </a:lvl1pPr>
          </a:lstStyle>
          <a:p>
            <a:pPr marL="0" marR="0" lvl="0" indent="0" algn="ctr" defTabSz="914206" rtl="0" eaLnBrk="1" fontAlgn="auto" latinLnBrk="0" hangingPunct="1">
              <a:lnSpc>
                <a:spcPct val="100000"/>
              </a:lnSpc>
              <a:spcBef>
                <a:spcPts val="0"/>
              </a:spcBef>
              <a:spcAft>
                <a:spcPts val="0"/>
              </a:spcAft>
              <a:buClrTx/>
              <a:buSzTx/>
              <a:buFontTx/>
              <a:buNone/>
              <a:tabLst/>
              <a:defRPr/>
            </a:pPr>
            <a:fld id="{E9478299-53AF-4918-BD71-F6C4D7E382A0}" type="slidenum">
              <a:rPr lang="fr-BE" sz="1200" b="1" kern="1200" noProof="0" smtClean="0">
                <a:solidFill>
                  <a:srgbClr val="E51B2E"/>
                </a:solidFill>
                <a:latin typeface="Times New Roman" pitchFamily="18" charset="0"/>
                <a:ea typeface="+mn-ea"/>
                <a:cs typeface="Times New Roman" pitchFamily="18" charset="0"/>
              </a:rPr>
              <a:pPr marL="0" marR="0" lvl="0" indent="0" algn="ctr" defTabSz="914206" rtl="0" eaLnBrk="1" fontAlgn="auto" latinLnBrk="0" hangingPunct="1">
                <a:lnSpc>
                  <a:spcPct val="100000"/>
                </a:lnSpc>
                <a:spcBef>
                  <a:spcPts val="0"/>
                </a:spcBef>
                <a:spcAft>
                  <a:spcPts val="0"/>
                </a:spcAft>
                <a:buClrTx/>
                <a:buSzTx/>
                <a:buFontTx/>
                <a:buNone/>
                <a:tabLst/>
                <a:defRPr/>
              </a:pPr>
              <a:t>‹N°›</a:t>
            </a:fld>
            <a:endParaRPr lang="fr-BE" sz="1000" b="1" kern="1200" noProof="0" dirty="0">
              <a:solidFill>
                <a:srgbClr val="E51B2E"/>
              </a:solidFill>
              <a:latin typeface="Times New Roman" pitchFamily="18" charset="0"/>
              <a:ea typeface="+mn-ea"/>
              <a:cs typeface="Times New Roman" pitchFamily="18" charset="0"/>
            </a:endParaRPr>
          </a:p>
        </p:txBody>
      </p:sp>
      <p:sp>
        <p:nvSpPr>
          <p:cNvPr id="8" name="ZoneTexte 7"/>
          <p:cNvSpPr txBox="1"/>
          <p:nvPr userDrawn="1"/>
        </p:nvSpPr>
        <p:spPr>
          <a:xfrm>
            <a:off x="6481483" y="6210000"/>
            <a:ext cx="2149334" cy="576000"/>
          </a:xfrm>
          <a:prstGeom prst="rect">
            <a:avLst/>
          </a:prstGeom>
          <a:no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ctr" rtl="1"/>
            <a:r>
              <a:rPr lang="ar-TN" sz="1200" b="1" dirty="0" smtClean="0">
                <a:solidFill>
                  <a:schemeClr val="tx1"/>
                </a:solidFill>
                <a:latin typeface="Simplified Arabic" pitchFamily="18" charset="-78"/>
                <a:cs typeface="Simplified Arabic" pitchFamily="18" charset="-78"/>
              </a:rPr>
              <a:t>وزارة</a:t>
            </a:r>
            <a:r>
              <a:rPr lang="ar-TN" sz="1200" b="1" baseline="0" dirty="0" smtClean="0">
                <a:solidFill>
                  <a:schemeClr val="tx1"/>
                </a:solidFill>
                <a:latin typeface="Simplified Arabic" pitchFamily="18" charset="-78"/>
                <a:cs typeface="Simplified Arabic" pitchFamily="18" charset="-78"/>
              </a:rPr>
              <a:t> التنمية والاستثمار</a:t>
            </a:r>
            <a:r>
              <a:rPr lang="fr-FR" sz="1200" b="1" baseline="0" dirty="0" smtClean="0">
                <a:solidFill>
                  <a:schemeClr val="tx1"/>
                </a:solidFill>
                <a:latin typeface="Simplified Arabic" pitchFamily="18" charset="-78"/>
                <a:cs typeface="Simplified Arabic" pitchFamily="18" charset="-78"/>
              </a:rPr>
              <a:t> </a:t>
            </a:r>
            <a:r>
              <a:rPr lang="ar-TN" sz="1200" b="1" baseline="0" dirty="0" smtClean="0">
                <a:solidFill>
                  <a:schemeClr val="tx1"/>
                </a:solidFill>
                <a:latin typeface="Simplified Arabic" pitchFamily="18" charset="-78"/>
                <a:cs typeface="Simplified Arabic" pitchFamily="18" charset="-78"/>
              </a:rPr>
              <a:t>والتعاون الدولي</a:t>
            </a:r>
            <a:endParaRPr lang="en-US" sz="1200" b="1" dirty="0" err="1" smtClean="0">
              <a:solidFill>
                <a:schemeClr val="tx1"/>
              </a:solidFill>
              <a:latin typeface="Simplified Arabic" pitchFamily="18" charset="-78"/>
              <a:cs typeface="Simplified Arabic" pitchFamily="18" charset="-78"/>
            </a:endParaRPr>
          </a:p>
        </p:txBody>
      </p:sp>
    </p:spTree>
    <p:extLst>
      <p:ext uri="{BB962C8B-B14F-4D97-AF65-F5344CB8AC3E}">
        <p14:creationId xmlns:p14="http://schemas.microsoft.com/office/powerpoint/2010/main" xmlns="" val="4180213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2_Title and Content">
    <p:spTree>
      <p:nvGrpSpPr>
        <p:cNvPr id="1" name=""/>
        <p:cNvGrpSpPr/>
        <p:nvPr/>
      </p:nvGrpSpPr>
      <p:grpSpPr>
        <a:xfrm>
          <a:off x="0" y="0"/>
          <a:ext cx="0" cy="0"/>
          <a:chOff x="0" y="0"/>
          <a:chExt cx="0" cy="0"/>
        </a:xfrm>
      </p:grpSpPr>
      <p:cxnSp>
        <p:nvCxnSpPr>
          <p:cNvPr id="13" name="Connecteur droit 9"/>
          <p:cNvCxnSpPr/>
          <p:nvPr userDrawn="1"/>
        </p:nvCxnSpPr>
        <p:spPr>
          <a:xfrm>
            <a:off x="130634" y="895468"/>
            <a:ext cx="8763000" cy="0"/>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18" name="Text Placeholder 28"/>
          <p:cNvSpPr>
            <a:spLocks noGrp="1"/>
          </p:cNvSpPr>
          <p:nvPr>
            <p:ph type="body" sz="quarter" idx="23"/>
          </p:nvPr>
        </p:nvSpPr>
        <p:spPr>
          <a:xfrm>
            <a:off x="164012" y="176177"/>
            <a:ext cx="8791302" cy="710519"/>
          </a:xfrm>
        </p:spPr>
        <p:txBody>
          <a:bodyPr anchor="ctr" anchorCtr="0">
            <a:normAutofit/>
          </a:bodyPr>
          <a:lstStyle>
            <a:lvl1pPr marL="0" indent="0" algn="r" rtl="1">
              <a:buNone/>
              <a:defRPr lang="en-US" sz="1800" b="0" kern="1200" dirty="0" smtClean="0">
                <a:solidFill>
                  <a:srgbClr val="FF0000"/>
                </a:solidFill>
                <a:latin typeface="Arial" pitchFamily="34" charset="0"/>
                <a:ea typeface="+mj-ea"/>
                <a:cs typeface="Arial" pitchFamily="34" charset="0"/>
              </a:defRPr>
            </a:lvl1pPr>
            <a:lvl2pPr>
              <a:buNone/>
              <a:defRPr/>
            </a:lvl2pPr>
          </a:lstStyle>
          <a:p>
            <a:pPr marL="0" marR="0" lvl="0" indent="0" algn="r" defTabSz="914206" rtl="1" eaLnBrk="1" fontAlgn="auto" latinLnBrk="0" hangingPunct="1">
              <a:lnSpc>
                <a:spcPct val="100000"/>
              </a:lnSpc>
              <a:spcBef>
                <a:spcPct val="0"/>
              </a:spcBef>
              <a:spcAft>
                <a:spcPts val="0"/>
              </a:spcAft>
              <a:buClrTx/>
              <a:buSzTx/>
              <a:buFontTx/>
              <a:buNone/>
              <a:tabLst/>
              <a:defRPr/>
            </a:pPr>
            <a:r>
              <a:rPr lang="en-US" dirty="0" smtClean="0"/>
              <a:t>Click to edit Master text styles</a:t>
            </a:r>
          </a:p>
        </p:txBody>
      </p:sp>
      <p:sp>
        <p:nvSpPr>
          <p:cNvPr id="20" name="ZoneTexte 9"/>
          <p:cNvSpPr txBox="1"/>
          <p:nvPr userDrawn="1"/>
        </p:nvSpPr>
        <p:spPr>
          <a:xfrm>
            <a:off x="6215074" y="6400871"/>
            <a:ext cx="2520280" cy="406353"/>
          </a:xfrm>
          <a:prstGeom prst="rect">
            <a:avLst/>
          </a:prstGeom>
          <a:noFill/>
        </p:spPr>
        <p:txBody>
          <a:bodyPr wrap="square" lIns="91420" tIns="45711" rIns="91420" bIns="45711" rtlCol="0">
            <a:spAutoFit/>
          </a:bodyPr>
          <a:lstStyle/>
          <a:p>
            <a:pPr marL="0" marR="0" lvl="0" indent="0" algn="r" defTabSz="914206" rtl="0" eaLnBrk="1" fontAlgn="auto" latinLnBrk="0" hangingPunct="1">
              <a:lnSpc>
                <a:spcPct val="100000"/>
              </a:lnSpc>
              <a:spcBef>
                <a:spcPts val="0"/>
              </a:spcBef>
              <a:spcAft>
                <a:spcPts val="0"/>
              </a:spcAft>
              <a:buClrTx/>
              <a:buSzTx/>
              <a:buFontTx/>
              <a:buNone/>
              <a:tabLst/>
              <a:defRPr/>
            </a:pP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الجمهورية التونسية</a:t>
            </a:r>
            <a:b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b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وزارة التنمية والاستثمار والتعاون الدولي</a:t>
            </a:r>
            <a:endParaRPr kumimoji="0" lang="fr-BE" sz="1000" b="0" i="0" u="none" strike="noStrike" kern="1200" cap="none" spc="0" normalizeH="0" baseline="0" noProof="0" dirty="0">
              <a:ln>
                <a:noFill/>
              </a:ln>
              <a:solidFill>
                <a:prstClr val="black">
                  <a:tint val="75000"/>
                </a:prstClr>
              </a:solidFill>
              <a:effectLst/>
              <a:uLnTx/>
              <a:uFillTx/>
              <a:latin typeface="+mn-lt"/>
              <a:ea typeface="+mn-ea"/>
              <a:cs typeface="+mn-cs"/>
            </a:endParaRPr>
          </a:p>
        </p:txBody>
      </p:sp>
      <p:pic>
        <p:nvPicPr>
          <p:cNvPr id="21"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730048" y="6357254"/>
            <a:ext cx="363968" cy="48734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2" name="Espace réservé du pied de page 4"/>
          <p:cNvSpPr>
            <a:spLocks noGrp="1"/>
          </p:cNvSpPr>
          <p:nvPr>
            <p:ph type="ftr" sz="quarter" idx="11"/>
          </p:nvPr>
        </p:nvSpPr>
        <p:spPr>
          <a:xfrm>
            <a:off x="3124201" y="6418365"/>
            <a:ext cx="2895600" cy="365125"/>
          </a:xfrm>
          <a:prstGeom prst="rect">
            <a:avLst/>
          </a:prstGeom>
        </p:spPr>
        <p:txBody>
          <a:bodyPr/>
          <a:lstStyle>
            <a:lvl1pPr marL="0" marR="0" indent="0" algn="ctr" defTabSz="914206" rtl="0" eaLnBrk="1" fontAlgn="auto" latinLnBrk="0" hangingPunct="1">
              <a:lnSpc>
                <a:spcPct val="100000"/>
              </a:lnSpc>
              <a:spcBef>
                <a:spcPts val="0"/>
              </a:spcBef>
              <a:spcAft>
                <a:spcPts val="0"/>
              </a:spcAft>
              <a:buClrTx/>
              <a:buSzTx/>
              <a:buFontTx/>
              <a:buNone/>
              <a:tabLst/>
              <a:defRPr sz="1000">
                <a:solidFill>
                  <a:srgbClr val="FF7575"/>
                </a:solidFill>
              </a:defRPr>
            </a:lvl1pPr>
          </a:lstStyle>
          <a:p>
            <a:r>
              <a:rPr lang="ar-TN" dirty="0" smtClean="0"/>
              <a:t>24 أفريل 2015</a:t>
            </a:r>
            <a:endParaRPr lang="fr-BE" dirty="0"/>
          </a:p>
        </p:txBody>
      </p:sp>
      <p:sp>
        <p:nvSpPr>
          <p:cNvPr id="23" name="Espace réservé du numéro de diapositive 5"/>
          <p:cNvSpPr txBox="1">
            <a:spLocks/>
          </p:cNvSpPr>
          <p:nvPr userDrawn="1"/>
        </p:nvSpPr>
        <p:spPr>
          <a:xfrm>
            <a:off x="428596" y="6418365"/>
            <a:ext cx="625504" cy="365125"/>
          </a:xfrm>
          <a:prstGeom prst="rect">
            <a:avLst/>
          </a:prstGeom>
        </p:spPr>
        <p:txBody>
          <a:bodyPr vert="horz" lIns="91420" tIns="45711" rIns="91420" bIns="45711" rtlCol="0" anchor="ctr"/>
          <a:lstStyle>
            <a:lvl1pPr algn="l">
              <a:defRPr/>
            </a:lvl1pPr>
          </a:lstStyle>
          <a:p>
            <a:pPr marL="0" marR="0" lvl="0" indent="0" algn="ctr" defTabSz="914206" rtl="0" eaLnBrk="1" fontAlgn="auto" latinLnBrk="0" hangingPunct="1">
              <a:lnSpc>
                <a:spcPct val="100000"/>
              </a:lnSpc>
              <a:spcBef>
                <a:spcPts val="0"/>
              </a:spcBef>
              <a:spcAft>
                <a:spcPts val="0"/>
              </a:spcAft>
              <a:buClrTx/>
              <a:buSzTx/>
              <a:buFontTx/>
              <a:buNone/>
              <a:tabLst/>
              <a:defRPr/>
            </a:pPr>
            <a:fld id="{CF4668DC-857F-487D-BFFA-8C0CA5037977}" type="slidenum">
              <a:rPr lang="fr-BE" sz="1000" kern="1200" noProof="0" smtClean="0">
                <a:solidFill>
                  <a:srgbClr val="E51B2E"/>
                </a:solidFill>
                <a:latin typeface="Arial" pitchFamily="34" charset="0"/>
                <a:ea typeface="+mn-ea"/>
                <a:cs typeface="Arial" pitchFamily="34" charset="0"/>
              </a:rPr>
              <a:pPr marL="0" marR="0" lvl="0" indent="0" algn="ctr" defTabSz="914206" rtl="0" eaLnBrk="1" fontAlgn="auto" latinLnBrk="0" hangingPunct="1">
                <a:lnSpc>
                  <a:spcPct val="100000"/>
                </a:lnSpc>
                <a:spcBef>
                  <a:spcPts val="0"/>
                </a:spcBef>
                <a:spcAft>
                  <a:spcPts val="0"/>
                </a:spcAft>
                <a:buClrTx/>
                <a:buSzTx/>
                <a:buFontTx/>
                <a:buNone/>
                <a:tabLst/>
                <a:defRPr/>
              </a:pPr>
              <a:t>‹N°›</a:t>
            </a:fld>
            <a:endParaRPr lang="fr-BE" sz="1000" kern="1200" noProof="0" dirty="0">
              <a:solidFill>
                <a:srgbClr val="E51B2E"/>
              </a:solidFill>
              <a:latin typeface="Arial" pitchFamily="34" charset="0"/>
              <a:ea typeface="+mn-ea"/>
              <a:cs typeface="Arial" pitchFamily="34" charset="0"/>
            </a:endParaRPr>
          </a:p>
        </p:txBody>
      </p:sp>
      <p:cxnSp>
        <p:nvCxnSpPr>
          <p:cNvPr id="24" name="Connecteur droit 8"/>
          <p:cNvCxnSpPr/>
          <p:nvPr userDrawn="1"/>
        </p:nvCxnSpPr>
        <p:spPr>
          <a:xfrm>
            <a:off x="0" y="6358062"/>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4_Title and Content">
    <p:spTree>
      <p:nvGrpSpPr>
        <p:cNvPr id="1" name=""/>
        <p:cNvGrpSpPr/>
        <p:nvPr/>
      </p:nvGrpSpPr>
      <p:grpSpPr>
        <a:xfrm>
          <a:off x="0" y="0"/>
          <a:ext cx="0" cy="0"/>
          <a:chOff x="0" y="0"/>
          <a:chExt cx="0" cy="0"/>
        </a:xfrm>
      </p:grpSpPr>
      <p:cxnSp>
        <p:nvCxnSpPr>
          <p:cNvPr id="13" name="Connecteur droit 9"/>
          <p:cNvCxnSpPr/>
          <p:nvPr userDrawn="1"/>
        </p:nvCxnSpPr>
        <p:spPr>
          <a:xfrm>
            <a:off x="130634" y="895468"/>
            <a:ext cx="8763000" cy="0"/>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18" name="Text Placeholder 28"/>
          <p:cNvSpPr>
            <a:spLocks noGrp="1"/>
          </p:cNvSpPr>
          <p:nvPr>
            <p:ph type="body" sz="quarter" idx="23"/>
          </p:nvPr>
        </p:nvSpPr>
        <p:spPr>
          <a:xfrm>
            <a:off x="164012" y="176177"/>
            <a:ext cx="8791302" cy="710519"/>
          </a:xfrm>
        </p:spPr>
        <p:txBody>
          <a:bodyPr anchor="ctr" anchorCtr="0">
            <a:normAutofit/>
          </a:bodyPr>
          <a:lstStyle>
            <a:lvl1pPr marL="0" indent="0" algn="r" rtl="1">
              <a:buNone/>
              <a:defRPr lang="en-US" sz="1800" b="0" kern="1200" dirty="0" smtClean="0">
                <a:solidFill>
                  <a:srgbClr val="FF0000"/>
                </a:solidFill>
                <a:latin typeface="Arial" pitchFamily="34" charset="0"/>
                <a:ea typeface="+mj-ea"/>
                <a:cs typeface="Arial" pitchFamily="34" charset="0"/>
              </a:defRPr>
            </a:lvl1pPr>
            <a:lvl2pPr>
              <a:buNone/>
              <a:defRPr/>
            </a:lvl2pPr>
          </a:lstStyle>
          <a:p>
            <a:pPr marL="0" marR="0" lvl="0" indent="0" algn="r" defTabSz="914206" rtl="1" eaLnBrk="1" fontAlgn="auto" latinLnBrk="0" hangingPunct="1">
              <a:lnSpc>
                <a:spcPct val="100000"/>
              </a:lnSpc>
              <a:spcBef>
                <a:spcPct val="0"/>
              </a:spcBef>
              <a:spcAft>
                <a:spcPts val="0"/>
              </a:spcAft>
              <a:buClrTx/>
              <a:buSzTx/>
              <a:buFontTx/>
              <a:buNone/>
              <a:tabLst/>
              <a:defRPr/>
            </a:pPr>
            <a:r>
              <a:rPr lang="en-US" dirty="0" smtClean="0"/>
              <a:t>Click to edit Master text styles</a:t>
            </a:r>
          </a:p>
        </p:txBody>
      </p:sp>
      <p:sp>
        <p:nvSpPr>
          <p:cNvPr id="20" name="ZoneTexte 9"/>
          <p:cNvSpPr txBox="1"/>
          <p:nvPr userDrawn="1"/>
        </p:nvSpPr>
        <p:spPr>
          <a:xfrm>
            <a:off x="6215074" y="6400871"/>
            <a:ext cx="2520280" cy="406353"/>
          </a:xfrm>
          <a:prstGeom prst="rect">
            <a:avLst/>
          </a:prstGeom>
          <a:noFill/>
        </p:spPr>
        <p:txBody>
          <a:bodyPr wrap="square" lIns="91420" tIns="45711" rIns="91420" bIns="45711" rtlCol="0">
            <a:spAutoFit/>
          </a:bodyPr>
          <a:lstStyle/>
          <a:p>
            <a:pPr marL="0" marR="0" lvl="0" indent="0" algn="r" defTabSz="914206" rtl="0" eaLnBrk="1" fontAlgn="auto" latinLnBrk="0" hangingPunct="1">
              <a:lnSpc>
                <a:spcPct val="100000"/>
              </a:lnSpc>
              <a:spcBef>
                <a:spcPts val="0"/>
              </a:spcBef>
              <a:spcAft>
                <a:spcPts val="0"/>
              </a:spcAft>
              <a:buClrTx/>
              <a:buSzTx/>
              <a:buFontTx/>
              <a:buNone/>
              <a:tabLst/>
              <a:defRPr/>
            </a:pP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الجمهورية التونسية</a:t>
            </a:r>
            <a:b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b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وزارة التنمية والاستثمار والتعاون الدولي</a:t>
            </a:r>
            <a:endParaRPr kumimoji="0" lang="fr-BE" sz="1000" b="0" i="0" u="none" strike="noStrike" kern="1200" cap="none" spc="0" normalizeH="0" baseline="0" noProof="0" dirty="0">
              <a:ln>
                <a:noFill/>
              </a:ln>
              <a:solidFill>
                <a:prstClr val="black">
                  <a:tint val="75000"/>
                </a:prstClr>
              </a:solidFill>
              <a:effectLst/>
              <a:uLnTx/>
              <a:uFillTx/>
              <a:latin typeface="+mn-lt"/>
              <a:ea typeface="+mn-ea"/>
              <a:cs typeface="+mn-cs"/>
            </a:endParaRPr>
          </a:p>
        </p:txBody>
      </p:sp>
      <p:pic>
        <p:nvPicPr>
          <p:cNvPr id="21"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730048" y="6357254"/>
            <a:ext cx="363968" cy="48734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2" name="Espace réservé du pied de page 4"/>
          <p:cNvSpPr>
            <a:spLocks noGrp="1"/>
          </p:cNvSpPr>
          <p:nvPr>
            <p:ph type="ftr" sz="quarter" idx="11"/>
          </p:nvPr>
        </p:nvSpPr>
        <p:spPr>
          <a:xfrm>
            <a:off x="3124201" y="6418365"/>
            <a:ext cx="2895600" cy="365125"/>
          </a:xfrm>
          <a:prstGeom prst="rect">
            <a:avLst/>
          </a:prstGeom>
        </p:spPr>
        <p:txBody>
          <a:bodyPr/>
          <a:lstStyle>
            <a:lvl1pPr marL="0" marR="0" indent="0" algn="ctr" defTabSz="914206" rtl="0" eaLnBrk="1" fontAlgn="auto" latinLnBrk="0" hangingPunct="1">
              <a:lnSpc>
                <a:spcPct val="100000"/>
              </a:lnSpc>
              <a:spcBef>
                <a:spcPts val="0"/>
              </a:spcBef>
              <a:spcAft>
                <a:spcPts val="0"/>
              </a:spcAft>
              <a:buClrTx/>
              <a:buSzTx/>
              <a:buFontTx/>
              <a:buNone/>
              <a:tabLst/>
              <a:defRPr sz="1000">
                <a:solidFill>
                  <a:srgbClr val="FF7575"/>
                </a:solidFill>
              </a:defRPr>
            </a:lvl1pPr>
          </a:lstStyle>
          <a:p>
            <a:r>
              <a:rPr lang="ar-TN" dirty="0" smtClean="0"/>
              <a:t>24 أفريل 2015</a:t>
            </a:r>
            <a:endParaRPr lang="fr-BE" dirty="0"/>
          </a:p>
        </p:txBody>
      </p:sp>
      <p:sp>
        <p:nvSpPr>
          <p:cNvPr id="23" name="Espace réservé du numéro de diapositive 5"/>
          <p:cNvSpPr txBox="1">
            <a:spLocks/>
          </p:cNvSpPr>
          <p:nvPr userDrawn="1"/>
        </p:nvSpPr>
        <p:spPr>
          <a:xfrm>
            <a:off x="428596" y="6418365"/>
            <a:ext cx="625504" cy="365125"/>
          </a:xfrm>
          <a:prstGeom prst="rect">
            <a:avLst/>
          </a:prstGeom>
        </p:spPr>
        <p:txBody>
          <a:bodyPr vert="horz" lIns="91420" tIns="45711" rIns="91420" bIns="45711" rtlCol="0" anchor="ctr"/>
          <a:lstStyle>
            <a:lvl1pPr algn="l">
              <a:defRPr/>
            </a:lvl1pPr>
          </a:lstStyle>
          <a:p>
            <a:pPr marL="0" marR="0" lvl="0" indent="0" algn="ctr" defTabSz="914206" rtl="0" eaLnBrk="1" fontAlgn="auto" latinLnBrk="0" hangingPunct="1">
              <a:lnSpc>
                <a:spcPct val="100000"/>
              </a:lnSpc>
              <a:spcBef>
                <a:spcPts val="0"/>
              </a:spcBef>
              <a:spcAft>
                <a:spcPts val="0"/>
              </a:spcAft>
              <a:buClrTx/>
              <a:buSzTx/>
              <a:buFontTx/>
              <a:buNone/>
              <a:tabLst/>
              <a:defRPr/>
            </a:pPr>
            <a:fld id="{CF4668DC-857F-487D-BFFA-8C0CA5037977}" type="slidenum">
              <a:rPr lang="fr-BE" sz="1000" kern="1200" noProof="0" smtClean="0">
                <a:solidFill>
                  <a:srgbClr val="E51B2E"/>
                </a:solidFill>
                <a:latin typeface="Arial" pitchFamily="34" charset="0"/>
                <a:ea typeface="+mn-ea"/>
                <a:cs typeface="Arial" pitchFamily="34" charset="0"/>
              </a:rPr>
              <a:pPr marL="0" marR="0" lvl="0" indent="0" algn="ctr" defTabSz="914206" rtl="0" eaLnBrk="1" fontAlgn="auto" latinLnBrk="0" hangingPunct="1">
                <a:lnSpc>
                  <a:spcPct val="100000"/>
                </a:lnSpc>
                <a:spcBef>
                  <a:spcPts val="0"/>
                </a:spcBef>
                <a:spcAft>
                  <a:spcPts val="0"/>
                </a:spcAft>
                <a:buClrTx/>
                <a:buSzTx/>
                <a:buFontTx/>
                <a:buNone/>
                <a:tabLst/>
                <a:defRPr/>
              </a:pPr>
              <a:t>‹N°›</a:t>
            </a:fld>
            <a:endParaRPr lang="fr-BE" sz="1000" kern="1200" noProof="0" dirty="0">
              <a:solidFill>
                <a:srgbClr val="E51B2E"/>
              </a:solidFill>
              <a:latin typeface="Arial" pitchFamily="34" charset="0"/>
              <a:ea typeface="+mn-ea"/>
              <a:cs typeface="Arial" pitchFamily="34" charset="0"/>
            </a:endParaRPr>
          </a:p>
        </p:txBody>
      </p:sp>
      <p:cxnSp>
        <p:nvCxnSpPr>
          <p:cNvPr id="24" name="Connecteur droit 8"/>
          <p:cNvCxnSpPr/>
          <p:nvPr userDrawn="1"/>
        </p:nvCxnSpPr>
        <p:spPr>
          <a:xfrm>
            <a:off x="0" y="6358062"/>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a:endParaRPr 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5_Title and Content">
    <p:spTree>
      <p:nvGrpSpPr>
        <p:cNvPr id="1" name=""/>
        <p:cNvGrpSpPr/>
        <p:nvPr/>
      </p:nvGrpSpPr>
      <p:grpSpPr>
        <a:xfrm>
          <a:off x="0" y="0"/>
          <a:ext cx="0" cy="0"/>
          <a:chOff x="0" y="0"/>
          <a:chExt cx="0" cy="0"/>
        </a:xfrm>
      </p:grpSpPr>
      <p:cxnSp>
        <p:nvCxnSpPr>
          <p:cNvPr id="13" name="Connecteur droit 9"/>
          <p:cNvCxnSpPr/>
          <p:nvPr userDrawn="1"/>
        </p:nvCxnSpPr>
        <p:spPr>
          <a:xfrm>
            <a:off x="130634" y="895468"/>
            <a:ext cx="8763000" cy="0"/>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18" name="Text Placeholder 28"/>
          <p:cNvSpPr>
            <a:spLocks noGrp="1"/>
          </p:cNvSpPr>
          <p:nvPr>
            <p:ph type="body" sz="quarter" idx="23"/>
          </p:nvPr>
        </p:nvSpPr>
        <p:spPr>
          <a:xfrm>
            <a:off x="164012" y="176177"/>
            <a:ext cx="8791302" cy="710519"/>
          </a:xfrm>
        </p:spPr>
        <p:txBody>
          <a:bodyPr anchor="ctr" anchorCtr="0">
            <a:normAutofit/>
          </a:bodyPr>
          <a:lstStyle>
            <a:lvl1pPr marL="0" indent="0" algn="r" rtl="1">
              <a:buNone/>
              <a:defRPr lang="en-US" sz="1800" b="0" kern="1200" dirty="0" smtClean="0">
                <a:solidFill>
                  <a:srgbClr val="FF0000"/>
                </a:solidFill>
                <a:latin typeface="Arial" pitchFamily="34" charset="0"/>
                <a:ea typeface="+mj-ea"/>
                <a:cs typeface="Arial" pitchFamily="34" charset="0"/>
              </a:defRPr>
            </a:lvl1pPr>
            <a:lvl2pPr>
              <a:buNone/>
              <a:defRPr/>
            </a:lvl2pPr>
          </a:lstStyle>
          <a:p>
            <a:pPr marL="0" marR="0" lvl="0" indent="0" algn="r" defTabSz="914206" rtl="1" eaLnBrk="1" fontAlgn="auto" latinLnBrk="0" hangingPunct="1">
              <a:lnSpc>
                <a:spcPct val="100000"/>
              </a:lnSpc>
              <a:spcBef>
                <a:spcPct val="0"/>
              </a:spcBef>
              <a:spcAft>
                <a:spcPts val="0"/>
              </a:spcAft>
              <a:buClrTx/>
              <a:buSzTx/>
              <a:buFontTx/>
              <a:buNone/>
              <a:tabLst/>
              <a:defRPr/>
            </a:pPr>
            <a:r>
              <a:rPr lang="en-US" dirty="0" smtClean="0"/>
              <a:t>Click to edit Master text styles</a:t>
            </a:r>
          </a:p>
        </p:txBody>
      </p:sp>
      <p:sp>
        <p:nvSpPr>
          <p:cNvPr id="20" name="ZoneTexte 9"/>
          <p:cNvSpPr txBox="1"/>
          <p:nvPr userDrawn="1"/>
        </p:nvSpPr>
        <p:spPr>
          <a:xfrm>
            <a:off x="6215074" y="6400871"/>
            <a:ext cx="2520280" cy="406353"/>
          </a:xfrm>
          <a:prstGeom prst="rect">
            <a:avLst/>
          </a:prstGeom>
          <a:noFill/>
        </p:spPr>
        <p:txBody>
          <a:bodyPr wrap="square" lIns="91420" tIns="45711" rIns="91420" bIns="45711" rtlCol="0">
            <a:spAutoFit/>
          </a:bodyPr>
          <a:lstStyle/>
          <a:p>
            <a:pPr marL="0" marR="0" lvl="0" indent="0" algn="r" defTabSz="914206" rtl="0" eaLnBrk="1" fontAlgn="auto" latinLnBrk="0" hangingPunct="1">
              <a:lnSpc>
                <a:spcPct val="100000"/>
              </a:lnSpc>
              <a:spcBef>
                <a:spcPts val="0"/>
              </a:spcBef>
              <a:spcAft>
                <a:spcPts val="0"/>
              </a:spcAft>
              <a:buClrTx/>
              <a:buSzTx/>
              <a:buFontTx/>
              <a:buNone/>
              <a:tabLst/>
              <a:defRPr/>
            </a:pP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الجمهورية التونسية</a:t>
            </a:r>
            <a:b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b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وزارة التنمية والاستثمار والتعاون الدولي</a:t>
            </a:r>
            <a:endParaRPr kumimoji="0" lang="fr-BE" sz="1000" b="0" i="0" u="none" strike="noStrike" kern="1200" cap="none" spc="0" normalizeH="0" baseline="0" noProof="0" dirty="0">
              <a:ln>
                <a:noFill/>
              </a:ln>
              <a:solidFill>
                <a:prstClr val="black">
                  <a:tint val="75000"/>
                </a:prstClr>
              </a:solidFill>
              <a:effectLst/>
              <a:uLnTx/>
              <a:uFillTx/>
              <a:latin typeface="+mn-lt"/>
              <a:ea typeface="+mn-ea"/>
              <a:cs typeface="+mn-cs"/>
            </a:endParaRPr>
          </a:p>
        </p:txBody>
      </p:sp>
      <p:pic>
        <p:nvPicPr>
          <p:cNvPr id="21"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730048" y="6357254"/>
            <a:ext cx="363968" cy="48734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2" name="Espace réservé du pied de page 4"/>
          <p:cNvSpPr>
            <a:spLocks noGrp="1"/>
          </p:cNvSpPr>
          <p:nvPr>
            <p:ph type="ftr" sz="quarter" idx="11"/>
          </p:nvPr>
        </p:nvSpPr>
        <p:spPr>
          <a:xfrm>
            <a:off x="3124201" y="6418365"/>
            <a:ext cx="2895600" cy="365125"/>
          </a:xfrm>
          <a:prstGeom prst="rect">
            <a:avLst/>
          </a:prstGeom>
        </p:spPr>
        <p:txBody>
          <a:bodyPr/>
          <a:lstStyle>
            <a:lvl1pPr marL="0" marR="0" indent="0" algn="ctr" defTabSz="914206" rtl="0" eaLnBrk="1" fontAlgn="auto" latinLnBrk="0" hangingPunct="1">
              <a:lnSpc>
                <a:spcPct val="100000"/>
              </a:lnSpc>
              <a:spcBef>
                <a:spcPts val="0"/>
              </a:spcBef>
              <a:spcAft>
                <a:spcPts val="0"/>
              </a:spcAft>
              <a:buClrTx/>
              <a:buSzTx/>
              <a:buFontTx/>
              <a:buNone/>
              <a:tabLst/>
              <a:defRPr sz="1000">
                <a:solidFill>
                  <a:srgbClr val="FF7575"/>
                </a:solidFill>
              </a:defRPr>
            </a:lvl1pPr>
          </a:lstStyle>
          <a:p>
            <a:r>
              <a:rPr lang="ar-TN" dirty="0" smtClean="0"/>
              <a:t>24 أفريل 2015</a:t>
            </a:r>
            <a:endParaRPr lang="fr-BE" dirty="0"/>
          </a:p>
        </p:txBody>
      </p:sp>
      <p:sp>
        <p:nvSpPr>
          <p:cNvPr id="23" name="Espace réservé du numéro de diapositive 5"/>
          <p:cNvSpPr txBox="1">
            <a:spLocks/>
          </p:cNvSpPr>
          <p:nvPr userDrawn="1"/>
        </p:nvSpPr>
        <p:spPr>
          <a:xfrm>
            <a:off x="428596" y="6418365"/>
            <a:ext cx="625504" cy="365125"/>
          </a:xfrm>
          <a:prstGeom prst="rect">
            <a:avLst/>
          </a:prstGeom>
        </p:spPr>
        <p:txBody>
          <a:bodyPr vert="horz" lIns="91420" tIns="45711" rIns="91420" bIns="45711" rtlCol="0" anchor="ctr"/>
          <a:lstStyle>
            <a:lvl1pPr algn="l">
              <a:defRPr/>
            </a:lvl1pPr>
          </a:lstStyle>
          <a:p>
            <a:pPr marL="0" marR="0" lvl="0" indent="0" algn="ctr" defTabSz="914206" rtl="0" eaLnBrk="1" fontAlgn="auto" latinLnBrk="0" hangingPunct="1">
              <a:lnSpc>
                <a:spcPct val="100000"/>
              </a:lnSpc>
              <a:spcBef>
                <a:spcPts val="0"/>
              </a:spcBef>
              <a:spcAft>
                <a:spcPts val="0"/>
              </a:spcAft>
              <a:buClrTx/>
              <a:buSzTx/>
              <a:buFontTx/>
              <a:buNone/>
              <a:tabLst/>
              <a:defRPr/>
            </a:pPr>
            <a:fld id="{CF4668DC-857F-487D-BFFA-8C0CA5037977}" type="slidenum">
              <a:rPr lang="fr-BE" sz="1000" kern="1200" noProof="0" smtClean="0">
                <a:solidFill>
                  <a:srgbClr val="E51B2E"/>
                </a:solidFill>
                <a:latin typeface="Arial" pitchFamily="34" charset="0"/>
                <a:ea typeface="+mn-ea"/>
                <a:cs typeface="Arial" pitchFamily="34" charset="0"/>
              </a:rPr>
              <a:pPr marL="0" marR="0" lvl="0" indent="0" algn="ctr" defTabSz="914206" rtl="0" eaLnBrk="1" fontAlgn="auto" latinLnBrk="0" hangingPunct="1">
                <a:lnSpc>
                  <a:spcPct val="100000"/>
                </a:lnSpc>
                <a:spcBef>
                  <a:spcPts val="0"/>
                </a:spcBef>
                <a:spcAft>
                  <a:spcPts val="0"/>
                </a:spcAft>
                <a:buClrTx/>
                <a:buSzTx/>
                <a:buFontTx/>
                <a:buNone/>
                <a:tabLst/>
                <a:defRPr/>
              </a:pPr>
              <a:t>‹N°›</a:t>
            </a:fld>
            <a:endParaRPr lang="fr-BE" sz="1000" kern="1200" noProof="0" dirty="0">
              <a:solidFill>
                <a:srgbClr val="E51B2E"/>
              </a:solidFill>
              <a:latin typeface="Arial" pitchFamily="34" charset="0"/>
              <a:ea typeface="+mn-ea"/>
              <a:cs typeface="Arial" pitchFamily="34" charset="0"/>
            </a:endParaRPr>
          </a:p>
        </p:txBody>
      </p:sp>
      <p:cxnSp>
        <p:nvCxnSpPr>
          <p:cNvPr id="24" name="Connecteur droit 8"/>
          <p:cNvCxnSpPr/>
          <p:nvPr userDrawn="1"/>
        </p:nvCxnSpPr>
        <p:spPr>
          <a:xfrm>
            <a:off x="0" y="6358062"/>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6_Title and Content">
    <p:spTree>
      <p:nvGrpSpPr>
        <p:cNvPr id="1" name=""/>
        <p:cNvGrpSpPr/>
        <p:nvPr/>
      </p:nvGrpSpPr>
      <p:grpSpPr>
        <a:xfrm>
          <a:off x="0" y="0"/>
          <a:ext cx="0" cy="0"/>
          <a:chOff x="0" y="0"/>
          <a:chExt cx="0" cy="0"/>
        </a:xfrm>
      </p:grpSpPr>
      <p:cxnSp>
        <p:nvCxnSpPr>
          <p:cNvPr id="13" name="Connecteur droit 9"/>
          <p:cNvCxnSpPr/>
          <p:nvPr userDrawn="1"/>
        </p:nvCxnSpPr>
        <p:spPr>
          <a:xfrm>
            <a:off x="130634" y="895468"/>
            <a:ext cx="8763000" cy="0"/>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18" name="Text Placeholder 28"/>
          <p:cNvSpPr>
            <a:spLocks noGrp="1"/>
          </p:cNvSpPr>
          <p:nvPr>
            <p:ph type="body" sz="quarter" idx="23"/>
          </p:nvPr>
        </p:nvSpPr>
        <p:spPr>
          <a:xfrm>
            <a:off x="164012" y="176177"/>
            <a:ext cx="8791302" cy="710519"/>
          </a:xfrm>
        </p:spPr>
        <p:txBody>
          <a:bodyPr anchor="ctr" anchorCtr="0">
            <a:normAutofit/>
          </a:bodyPr>
          <a:lstStyle>
            <a:lvl1pPr marL="0" indent="0" algn="r" rtl="1">
              <a:buNone/>
              <a:defRPr lang="en-US" sz="1800" b="0" kern="1200" dirty="0" smtClean="0">
                <a:solidFill>
                  <a:srgbClr val="FF0000"/>
                </a:solidFill>
                <a:latin typeface="Arial" pitchFamily="34" charset="0"/>
                <a:ea typeface="+mj-ea"/>
                <a:cs typeface="Arial" pitchFamily="34" charset="0"/>
              </a:defRPr>
            </a:lvl1pPr>
            <a:lvl2pPr>
              <a:buNone/>
              <a:defRPr/>
            </a:lvl2pPr>
          </a:lstStyle>
          <a:p>
            <a:pPr marL="0" marR="0" lvl="0" indent="0" algn="r" defTabSz="914206" rtl="1" eaLnBrk="1" fontAlgn="auto" latinLnBrk="0" hangingPunct="1">
              <a:lnSpc>
                <a:spcPct val="100000"/>
              </a:lnSpc>
              <a:spcBef>
                <a:spcPct val="0"/>
              </a:spcBef>
              <a:spcAft>
                <a:spcPts val="0"/>
              </a:spcAft>
              <a:buClrTx/>
              <a:buSzTx/>
              <a:buFontTx/>
              <a:buNone/>
              <a:tabLst/>
              <a:defRPr/>
            </a:pPr>
            <a:r>
              <a:rPr lang="en-US" dirty="0" smtClean="0"/>
              <a:t>Click to edit Master text styles</a:t>
            </a:r>
          </a:p>
        </p:txBody>
      </p:sp>
      <p:sp>
        <p:nvSpPr>
          <p:cNvPr id="20" name="ZoneTexte 9"/>
          <p:cNvSpPr txBox="1"/>
          <p:nvPr userDrawn="1"/>
        </p:nvSpPr>
        <p:spPr>
          <a:xfrm>
            <a:off x="6215074" y="6400871"/>
            <a:ext cx="2520280" cy="406353"/>
          </a:xfrm>
          <a:prstGeom prst="rect">
            <a:avLst/>
          </a:prstGeom>
          <a:noFill/>
        </p:spPr>
        <p:txBody>
          <a:bodyPr wrap="square" lIns="91420" tIns="45711" rIns="91420" bIns="45711" rtlCol="0">
            <a:spAutoFit/>
          </a:bodyPr>
          <a:lstStyle/>
          <a:p>
            <a:pPr marL="0" marR="0" lvl="0" indent="0" algn="r" defTabSz="914206" rtl="0" eaLnBrk="1" fontAlgn="auto" latinLnBrk="0" hangingPunct="1">
              <a:lnSpc>
                <a:spcPct val="100000"/>
              </a:lnSpc>
              <a:spcBef>
                <a:spcPts val="0"/>
              </a:spcBef>
              <a:spcAft>
                <a:spcPts val="0"/>
              </a:spcAft>
              <a:buClrTx/>
              <a:buSzTx/>
              <a:buFontTx/>
              <a:buNone/>
              <a:tabLst/>
              <a:defRPr/>
            </a:pP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الجمهورية التونسية</a:t>
            </a:r>
            <a:b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br>
            <a:r>
              <a:rPr kumimoji="0" lang="ar-TN" sz="1000" b="1" i="0" u="none" strike="noStrike" kern="1200" cap="none" spc="0" normalizeH="0" baseline="0" noProof="0" dirty="0" smtClean="0">
                <a:ln>
                  <a:noFill/>
                </a:ln>
                <a:solidFill>
                  <a:prstClr val="black">
                    <a:tint val="75000"/>
                  </a:prstClr>
                </a:solidFill>
                <a:effectLst/>
                <a:uLnTx/>
                <a:uFillTx/>
                <a:latin typeface="+mn-lt"/>
                <a:ea typeface="+mn-ea"/>
                <a:cs typeface="+mn-cs"/>
              </a:rPr>
              <a:t>وزارة التنمية والاستثمار والتعاون الدولي</a:t>
            </a:r>
            <a:endParaRPr kumimoji="0" lang="fr-BE" sz="1000" b="0" i="0" u="none" strike="noStrike" kern="1200" cap="none" spc="0" normalizeH="0" baseline="0" noProof="0" dirty="0">
              <a:ln>
                <a:noFill/>
              </a:ln>
              <a:solidFill>
                <a:prstClr val="black">
                  <a:tint val="75000"/>
                </a:prstClr>
              </a:solidFill>
              <a:effectLst/>
              <a:uLnTx/>
              <a:uFillTx/>
              <a:latin typeface="+mn-lt"/>
              <a:ea typeface="+mn-ea"/>
              <a:cs typeface="+mn-cs"/>
            </a:endParaRPr>
          </a:p>
        </p:txBody>
      </p:sp>
      <p:pic>
        <p:nvPicPr>
          <p:cNvPr id="21"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730048" y="6357254"/>
            <a:ext cx="363968" cy="48734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2" name="Espace réservé du pied de page 4"/>
          <p:cNvSpPr>
            <a:spLocks noGrp="1"/>
          </p:cNvSpPr>
          <p:nvPr>
            <p:ph type="ftr" sz="quarter" idx="11"/>
          </p:nvPr>
        </p:nvSpPr>
        <p:spPr>
          <a:xfrm>
            <a:off x="3124201" y="6418365"/>
            <a:ext cx="2895600" cy="365125"/>
          </a:xfrm>
          <a:prstGeom prst="rect">
            <a:avLst/>
          </a:prstGeom>
        </p:spPr>
        <p:txBody>
          <a:bodyPr/>
          <a:lstStyle>
            <a:lvl1pPr marL="0" marR="0" indent="0" algn="ctr" defTabSz="914206" rtl="0" eaLnBrk="1" fontAlgn="auto" latinLnBrk="0" hangingPunct="1">
              <a:lnSpc>
                <a:spcPct val="100000"/>
              </a:lnSpc>
              <a:spcBef>
                <a:spcPts val="0"/>
              </a:spcBef>
              <a:spcAft>
                <a:spcPts val="0"/>
              </a:spcAft>
              <a:buClrTx/>
              <a:buSzTx/>
              <a:buFontTx/>
              <a:buNone/>
              <a:tabLst/>
              <a:defRPr sz="1000">
                <a:solidFill>
                  <a:srgbClr val="FF7575"/>
                </a:solidFill>
              </a:defRPr>
            </a:lvl1pPr>
          </a:lstStyle>
          <a:p>
            <a:r>
              <a:rPr lang="ar-TN" dirty="0" smtClean="0"/>
              <a:t>24 أفريل 2015</a:t>
            </a:r>
            <a:endParaRPr lang="fr-BE" dirty="0"/>
          </a:p>
        </p:txBody>
      </p:sp>
      <p:sp>
        <p:nvSpPr>
          <p:cNvPr id="23" name="Espace réservé du numéro de diapositive 5"/>
          <p:cNvSpPr txBox="1">
            <a:spLocks/>
          </p:cNvSpPr>
          <p:nvPr userDrawn="1"/>
        </p:nvSpPr>
        <p:spPr>
          <a:xfrm>
            <a:off x="428596" y="6418365"/>
            <a:ext cx="625504" cy="365125"/>
          </a:xfrm>
          <a:prstGeom prst="rect">
            <a:avLst/>
          </a:prstGeom>
        </p:spPr>
        <p:txBody>
          <a:bodyPr vert="horz" lIns="91420" tIns="45711" rIns="91420" bIns="45711" rtlCol="0" anchor="ctr"/>
          <a:lstStyle>
            <a:lvl1pPr algn="l">
              <a:defRPr/>
            </a:lvl1pPr>
          </a:lstStyle>
          <a:p>
            <a:pPr marL="0" marR="0" lvl="0" indent="0" algn="ctr" defTabSz="914206" rtl="0" eaLnBrk="1" fontAlgn="auto" latinLnBrk="0" hangingPunct="1">
              <a:lnSpc>
                <a:spcPct val="100000"/>
              </a:lnSpc>
              <a:spcBef>
                <a:spcPts val="0"/>
              </a:spcBef>
              <a:spcAft>
                <a:spcPts val="0"/>
              </a:spcAft>
              <a:buClrTx/>
              <a:buSzTx/>
              <a:buFontTx/>
              <a:buNone/>
              <a:tabLst/>
              <a:defRPr/>
            </a:pPr>
            <a:fld id="{CF4668DC-857F-487D-BFFA-8C0CA5037977}" type="slidenum">
              <a:rPr lang="fr-BE" sz="1000" kern="1200" noProof="0" smtClean="0">
                <a:solidFill>
                  <a:srgbClr val="E51B2E"/>
                </a:solidFill>
                <a:latin typeface="Arial" pitchFamily="34" charset="0"/>
                <a:ea typeface="+mn-ea"/>
                <a:cs typeface="Arial" pitchFamily="34" charset="0"/>
              </a:rPr>
              <a:pPr marL="0" marR="0" lvl="0" indent="0" algn="ctr" defTabSz="914206" rtl="0" eaLnBrk="1" fontAlgn="auto" latinLnBrk="0" hangingPunct="1">
                <a:lnSpc>
                  <a:spcPct val="100000"/>
                </a:lnSpc>
                <a:spcBef>
                  <a:spcPts val="0"/>
                </a:spcBef>
                <a:spcAft>
                  <a:spcPts val="0"/>
                </a:spcAft>
                <a:buClrTx/>
                <a:buSzTx/>
                <a:buFontTx/>
                <a:buNone/>
                <a:tabLst/>
                <a:defRPr/>
              </a:pPr>
              <a:t>‹N°›</a:t>
            </a:fld>
            <a:endParaRPr lang="fr-BE" sz="1000" kern="1200" noProof="0" dirty="0">
              <a:solidFill>
                <a:srgbClr val="E51B2E"/>
              </a:solidFill>
              <a:latin typeface="Arial" pitchFamily="34" charset="0"/>
              <a:ea typeface="+mn-ea"/>
              <a:cs typeface="Arial" pitchFamily="34" charset="0"/>
            </a:endParaRPr>
          </a:p>
        </p:txBody>
      </p:sp>
      <p:cxnSp>
        <p:nvCxnSpPr>
          <p:cNvPr id="24" name="Connecteur droit 8"/>
          <p:cNvCxnSpPr/>
          <p:nvPr userDrawn="1"/>
        </p:nvCxnSpPr>
        <p:spPr>
          <a:xfrm>
            <a:off x="0" y="6358062"/>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 y="6366398"/>
            <a:ext cx="512466" cy="325804"/>
          </a:xfrm>
          <a:prstGeom prst="rect">
            <a:avLst/>
          </a:prstGeom>
        </p:spPr>
        <p:txBody>
          <a:bodyPr/>
          <a:lstStyle>
            <a:lvl1pPr>
              <a:defRPr>
                <a:solidFill>
                  <a:srgbClr val="FF0000"/>
                </a:solidFill>
              </a:defRPr>
            </a:lvl1pPr>
          </a:lstStyle>
          <a:p>
            <a:fld id="{D4ACFD55-7BD4-4AA3-8F96-2C76D927290B}" type="slidenum">
              <a:rPr lang="en-US" smtClean="0"/>
              <a:pPr/>
              <a:t>‹N°›</a:t>
            </a:fld>
            <a:endParaRPr lang="en-US"/>
          </a:p>
        </p:txBody>
      </p:sp>
      <p:pic>
        <p:nvPicPr>
          <p:cNvPr id="10" name="Picture 2"/>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10898" t="19022" r="79630" b="55902"/>
          <a:stretch/>
        </p:blipFill>
        <p:spPr bwMode="auto">
          <a:xfrm>
            <a:off x="8627347" y="6300322"/>
            <a:ext cx="363968" cy="48734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4" name="Rectangle 13"/>
          <p:cNvSpPr/>
          <p:nvPr userDrawn="1"/>
        </p:nvSpPr>
        <p:spPr>
          <a:xfrm>
            <a:off x="0" y="6524"/>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6" name="Connecteur droit 8"/>
          <p:cNvCxnSpPr/>
          <p:nvPr userDrawn="1"/>
        </p:nvCxnSpPr>
        <p:spPr>
          <a:xfrm>
            <a:off x="0" y="6227436"/>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Connecteur droit 9"/>
          <p:cNvCxnSpPr/>
          <p:nvPr userDrawn="1"/>
        </p:nvCxnSpPr>
        <p:spPr>
          <a:xfrm>
            <a:off x="0" y="904352"/>
            <a:ext cx="9144000" cy="10048"/>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15" name="Rectangle 14"/>
          <p:cNvSpPr/>
          <p:nvPr userDrawn="1"/>
        </p:nvSpPr>
        <p:spPr>
          <a:xfrm>
            <a:off x="4064558" y="6205966"/>
            <a:ext cx="4572000" cy="623248"/>
          </a:xfrm>
          <a:prstGeom prst="rect">
            <a:avLst/>
          </a:prstGeom>
        </p:spPr>
        <p:txBody>
          <a:bodyPr>
            <a:spAutoFit/>
          </a:bodyPr>
          <a:lstStyle/>
          <a:p>
            <a:pPr algn="r" rtl="1">
              <a:lnSpc>
                <a:spcPct val="150000"/>
              </a:lnSpc>
            </a:pPr>
            <a:r>
              <a:rPr lang="ar-TN" sz="1200" b="1" dirty="0" smtClean="0">
                <a:solidFill>
                  <a:schemeClr val="tx1"/>
                </a:solidFill>
                <a:latin typeface="Simplified Arabic" panose="02020603050405020304" pitchFamily="18" charset="-78"/>
                <a:cs typeface="Simplified Arabic" panose="02020603050405020304" pitchFamily="18" charset="-78"/>
              </a:rPr>
              <a:t>الجمهورية التونسية</a:t>
            </a:r>
          </a:p>
          <a:p>
            <a:pPr algn="r" rtl="1">
              <a:lnSpc>
                <a:spcPct val="150000"/>
              </a:lnSpc>
            </a:pPr>
            <a:r>
              <a:rPr lang="ar-TN" sz="1200" b="1" dirty="0" smtClean="0">
                <a:solidFill>
                  <a:schemeClr val="tx1"/>
                </a:solidFill>
                <a:latin typeface="Simplified Arabic" panose="02020603050405020304" pitchFamily="18" charset="-78"/>
                <a:cs typeface="Simplified Arabic" panose="02020603050405020304" pitchFamily="18" charset="-78"/>
              </a:rPr>
              <a:t>وزارة التنمية والاستثمار</a:t>
            </a:r>
            <a:r>
              <a:rPr lang="ar-TN" sz="1200" b="1" baseline="0" dirty="0" smtClean="0">
                <a:solidFill>
                  <a:schemeClr val="tx1"/>
                </a:solidFill>
                <a:latin typeface="Simplified Arabic" panose="02020603050405020304" pitchFamily="18" charset="-78"/>
                <a:cs typeface="Simplified Arabic" panose="02020603050405020304" pitchFamily="18" charset="-78"/>
              </a:rPr>
              <a:t> والتعاون الدولي</a:t>
            </a:r>
          </a:p>
        </p:txBody>
      </p:sp>
    </p:spTree>
    <p:extLst>
      <p:ext uri="{BB962C8B-B14F-4D97-AF65-F5344CB8AC3E}">
        <p14:creationId xmlns:p14="http://schemas.microsoft.com/office/powerpoint/2010/main" xmlns="" val="29636948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1371601" y="2747970"/>
            <a:ext cx="6400800" cy="1752600"/>
          </a:xfrm>
        </p:spPr>
        <p:txBody>
          <a:bodyPr vert="horz" lIns="91420" tIns="45711" rIns="91420" bIns="45711" rtlCol="0">
            <a:normAutofit/>
          </a:bodyPr>
          <a:lstStyle>
            <a:lvl1pPr marL="0" indent="0" algn="ctr" defTabSz="914206" rtl="1" eaLnBrk="1" latinLnBrk="0" hangingPunct="1">
              <a:spcBef>
                <a:spcPct val="20000"/>
              </a:spcBef>
              <a:buFont typeface="Arial" pitchFamily="34" charset="0"/>
              <a:buNone/>
              <a:defRPr lang="fr-BE" sz="3200" b="1" kern="1200" dirty="0">
                <a:solidFill>
                  <a:srgbClr val="FF0000"/>
                </a:solidFill>
                <a:latin typeface="Arial" pitchFamily="34" charset="0"/>
                <a:ea typeface="+mn-ea"/>
                <a:cs typeface="Arial" pitchFamily="34" charset="0"/>
              </a:defRPr>
            </a:lvl1pPr>
            <a:lvl2pPr marL="457104" indent="0" algn="ctr">
              <a:buNone/>
              <a:defRPr>
                <a:solidFill>
                  <a:schemeClr val="tx1">
                    <a:tint val="75000"/>
                  </a:schemeClr>
                </a:solidFill>
              </a:defRPr>
            </a:lvl2pPr>
            <a:lvl3pPr marL="914206" indent="0" algn="ctr">
              <a:buNone/>
              <a:defRPr>
                <a:solidFill>
                  <a:schemeClr val="tx1">
                    <a:tint val="75000"/>
                  </a:schemeClr>
                </a:solidFill>
              </a:defRPr>
            </a:lvl3pPr>
            <a:lvl4pPr marL="1371310" indent="0" algn="ctr">
              <a:buNone/>
              <a:defRPr>
                <a:solidFill>
                  <a:schemeClr val="tx1">
                    <a:tint val="75000"/>
                  </a:schemeClr>
                </a:solidFill>
              </a:defRPr>
            </a:lvl4pPr>
            <a:lvl5pPr marL="1828412" indent="0" algn="ctr">
              <a:buNone/>
              <a:defRPr>
                <a:solidFill>
                  <a:schemeClr val="tx1">
                    <a:tint val="75000"/>
                  </a:schemeClr>
                </a:solidFill>
              </a:defRPr>
            </a:lvl5pPr>
            <a:lvl6pPr marL="2285516" indent="0" algn="ctr">
              <a:buNone/>
              <a:defRPr>
                <a:solidFill>
                  <a:schemeClr val="tx1">
                    <a:tint val="75000"/>
                  </a:schemeClr>
                </a:solidFill>
              </a:defRPr>
            </a:lvl6pPr>
            <a:lvl7pPr marL="2742618" indent="0" algn="ctr">
              <a:buNone/>
              <a:defRPr>
                <a:solidFill>
                  <a:schemeClr val="tx1">
                    <a:tint val="75000"/>
                  </a:schemeClr>
                </a:solidFill>
              </a:defRPr>
            </a:lvl7pPr>
            <a:lvl8pPr marL="3199722" indent="0" algn="ctr">
              <a:buNone/>
              <a:defRPr>
                <a:solidFill>
                  <a:schemeClr val="tx1">
                    <a:tint val="75000"/>
                  </a:schemeClr>
                </a:solidFill>
              </a:defRPr>
            </a:lvl8pPr>
            <a:lvl9pPr marL="3656825" indent="0" algn="ctr">
              <a:buNone/>
              <a:defRPr>
                <a:solidFill>
                  <a:schemeClr val="tx1">
                    <a:tint val="75000"/>
                  </a:schemeClr>
                </a:solidFill>
              </a:defRPr>
            </a:lvl9pPr>
          </a:lstStyle>
          <a:p>
            <a:r>
              <a:rPr lang="fr-FR" dirty="0" smtClean="0"/>
              <a:t>Cliquez pour modifier le style des sous-titres du masque</a:t>
            </a:r>
            <a:endParaRPr lang="fr-BE" dirty="0"/>
          </a:p>
        </p:txBody>
      </p:sp>
      <p:pic>
        <p:nvPicPr>
          <p:cNvPr id="1026" name="Picture 2"/>
          <p:cNvPicPr>
            <a:picLocks noChangeAspect="1" noChangeArrowheads="1"/>
          </p:cNvPicPr>
          <p:nvPr userDrawn="1"/>
        </p:nvPicPr>
        <p:blipFill rotWithShape="1">
          <a:blip r:embed="rId2">
            <a:extLst>
              <a:ext uri="{28A0092B-C50C-407E-A947-70E740481C1C}">
                <a14:useLocalDpi xmlns:a14="http://schemas.microsoft.com/office/drawing/2010/main" xmlns="" val="0"/>
              </a:ext>
            </a:extLst>
          </a:blip>
          <a:srcRect l="10898" t="19022" r="79630" b="55902"/>
          <a:stretch/>
        </p:blipFill>
        <p:spPr bwMode="auto">
          <a:xfrm>
            <a:off x="8028384" y="11503"/>
            <a:ext cx="972000" cy="14466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7" name="Rectangle 6"/>
          <p:cNvSpPr/>
          <p:nvPr userDrawn="1"/>
        </p:nvSpPr>
        <p:spPr>
          <a:xfrm>
            <a:off x="32" y="1714488"/>
            <a:ext cx="9144000" cy="10800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rtl="0" fontAlgn="base">
              <a:spcBef>
                <a:spcPct val="0"/>
              </a:spcBef>
              <a:spcAft>
                <a:spcPct val="0"/>
              </a:spcAft>
            </a:pPr>
            <a:endParaRPr lang="fr-FR" kern="1200">
              <a:solidFill>
                <a:schemeClr val="lt1"/>
              </a:solidFill>
              <a:latin typeface="+mn-lt"/>
              <a:ea typeface="+mn-ea"/>
              <a:cs typeface="+mn-cs"/>
            </a:endParaRPr>
          </a:p>
        </p:txBody>
      </p:sp>
      <p:sp>
        <p:nvSpPr>
          <p:cNvPr id="11" name="Espace réservé de la date 3"/>
          <p:cNvSpPr>
            <a:spLocks noGrp="1"/>
          </p:cNvSpPr>
          <p:nvPr>
            <p:ph type="dt" sz="half" idx="10"/>
          </p:nvPr>
        </p:nvSpPr>
        <p:spPr>
          <a:xfrm>
            <a:off x="3503184" y="5483211"/>
            <a:ext cx="2133600" cy="406353"/>
          </a:xfrm>
          <a:prstGeom prst="rect">
            <a:avLst/>
          </a:prstGeom>
          <a:noFill/>
        </p:spPr>
        <p:txBody>
          <a:bodyPr wrap="square" rtlCol="0">
            <a:spAutoFit/>
          </a:bodyPr>
          <a:lstStyle>
            <a:lvl1pPr marL="0" algn="ctr" defTabSz="914206" rtl="1" eaLnBrk="1" latinLnBrk="0" hangingPunct="1">
              <a:defRPr lang="fr-BE" sz="2000" b="1" kern="1200" dirty="0" smtClean="0">
                <a:solidFill>
                  <a:srgbClr val="000000"/>
                </a:solidFill>
                <a:latin typeface="Arial" pitchFamily="34" charset="0"/>
                <a:ea typeface="+mn-ea"/>
                <a:cs typeface="Arial" pitchFamily="34" charset="0"/>
              </a:defRPr>
            </a:lvl1pPr>
          </a:lstStyle>
          <a:p>
            <a:endParaRPr lang="en-US" dirty="0"/>
          </a:p>
        </p:txBody>
      </p:sp>
      <p:sp>
        <p:nvSpPr>
          <p:cNvPr id="13" name="Rectangle 12"/>
          <p:cNvSpPr/>
          <p:nvPr userDrawn="1"/>
        </p:nvSpPr>
        <p:spPr>
          <a:xfrm>
            <a:off x="3500430" y="428606"/>
            <a:ext cx="4572000" cy="657576"/>
          </a:xfrm>
          <a:prstGeom prst="rect">
            <a:avLst/>
          </a:prstGeom>
        </p:spPr>
        <p:txBody>
          <a:bodyPr wrap="square" lIns="91420" tIns="45711" rIns="91420" bIns="45711">
            <a:spAutoFit/>
          </a:bodyPr>
          <a:lstStyle/>
          <a:p>
            <a:pPr algn="r">
              <a:lnSpc>
                <a:spcPct val="100000"/>
              </a:lnSpc>
              <a:spcBef>
                <a:spcPts val="600"/>
              </a:spcBef>
              <a:spcAft>
                <a:spcPts val="600"/>
              </a:spcAft>
            </a:pPr>
            <a:r>
              <a:rPr lang="ar-TN" sz="1800" b="1" kern="1200" dirty="0" smtClean="0">
                <a:solidFill>
                  <a:srgbClr val="000000"/>
                </a:solidFill>
                <a:latin typeface="Arial" pitchFamily="34" charset="0"/>
                <a:ea typeface="+mn-ea"/>
                <a:cs typeface="+mj-cs"/>
              </a:rPr>
              <a:t>الجمهورية التونسية</a:t>
            </a:r>
            <a:br>
              <a:rPr lang="ar-TN" sz="1800" b="1" kern="1200" dirty="0" smtClean="0">
                <a:solidFill>
                  <a:srgbClr val="000000"/>
                </a:solidFill>
                <a:latin typeface="Arial" pitchFamily="34" charset="0"/>
                <a:ea typeface="+mn-ea"/>
                <a:cs typeface="+mj-cs"/>
              </a:rPr>
            </a:br>
            <a:r>
              <a:rPr lang="ar-TN" sz="1800" b="1" kern="1200" dirty="0" smtClean="0">
                <a:solidFill>
                  <a:srgbClr val="000000"/>
                </a:solidFill>
                <a:latin typeface="Arial" pitchFamily="34" charset="0"/>
                <a:ea typeface="+mn-ea"/>
                <a:cs typeface="+mj-cs"/>
              </a:rPr>
              <a:t>وزارة التنمية والاستثمار والتعاون الدولي</a:t>
            </a:r>
            <a:endParaRPr lang="fr-FR" sz="1800" b="1" kern="1200" dirty="0">
              <a:solidFill>
                <a:srgbClr val="000000"/>
              </a:solidFill>
              <a:latin typeface="Arial" pitchFamily="34" charset="0"/>
              <a:ea typeface="+mn-ea"/>
              <a:cs typeface="+mj-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oleObject" Target="../embeddings/oleObject2.bin"/><Relationship Id="rId5" Type="http://schemas.openxmlformats.org/officeDocument/2006/relationships/slideLayout" Target="../slideLayouts/slideLayout15.xml"/><Relationship Id="rId10" Type="http://schemas.openxmlformats.org/officeDocument/2006/relationships/tags" Target="../tags/tag2.xml"/><Relationship Id="rId4" Type="http://schemas.openxmlformats.org/officeDocument/2006/relationships/slideLayout" Target="../slideLayouts/slideLayout14.xml"/><Relationship Id="rId9"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vmlDrawing" Target="../drawings/vmlDrawing3.v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oleObject" Target="../embeddings/oleObject3.bin"/><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xmlns="" val="3000796354"/>
              </p:ext>
            </p:extLst>
          </p:nvPr>
        </p:nvGraphicFramePr>
        <p:xfrm>
          <a:off x="0" y="0"/>
          <a:ext cx="161984" cy="161974"/>
        </p:xfrm>
        <a:graphic>
          <a:graphicData uri="http://schemas.openxmlformats.org/presentationml/2006/ole">
            <p:oleObj spid="_x0000_s111885" name="think-cell Slide" r:id="rId14" imgW="360" imgH="360" progId="">
              <p:embed/>
            </p:oleObj>
          </a:graphicData>
        </a:graphic>
      </p:graphicFrame>
      <p:sp>
        <p:nvSpPr>
          <p:cNvPr id="1033" name="doc id"/>
          <p:cNvSpPr>
            <a:spLocks noChangeArrowheads="1"/>
          </p:cNvSpPr>
          <p:nvPr/>
        </p:nvSpPr>
        <p:spPr bwMode="auto">
          <a:xfrm>
            <a:off x="8246612"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235"/>
            <a:endParaRPr lang="fr-FR" sz="800" baseline="0" noProof="0" dirty="0">
              <a:solidFill>
                <a:schemeClr val="tx2"/>
              </a:solidFill>
              <a:latin typeface="+mn-lt"/>
              <a:ea typeface="+mn-ea"/>
            </a:endParaRPr>
          </a:p>
        </p:txBody>
      </p:sp>
      <p:sp>
        <p:nvSpPr>
          <p:cNvPr id="1036" name="Rectangle 286"/>
          <p:cNvSpPr>
            <a:spLocks noGrp="1" noChangeArrowheads="1"/>
          </p:cNvSpPr>
          <p:nvPr>
            <p:ph type="body" idx="1"/>
          </p:nvPr>
        </p:nvSpPr>
        <p:spPr bwMode="gray">
          <a:xfrm>
            <a:off x="1482158" y="1990669"/>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fr-FR" noProof="0" smtClean="0"/>
              <a:t>Text</a:t>
            </a:r>
            <a:endParaRPr lang="fr-FR" noProof="0" dirty="0" smtClean="0"/>
          </a:p>
        </p:txBody>
      </p:sp>
      <p:sp>
        <p:nvSpPr>
          <p:cNvPr id="19" name="Title Placeholder 2"/>
          <p:cNvSpPr>
            <a:spLocks noGrp="1" noChangeArrowheads="1"/>
          </p:cNvSpPr>
          <p:nvPr>
            <p:ph type="title"/>
          </p:nvPr>
        </p:nvSpPr>
        <p:spPr bwMode="gray">
          <a:xfrm>
            <a:off x="121492" y="234863"/>
            <a:ext cx="8794113" cy="2983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fr-FR" noProof="0" smtClean="0"/>
              <a:t>Modifiez le style du titre</a:t>
            </a:r>
          </a:p>
        </p:txBody>
      </p:sp>
      <p:sp>
        <p:nvSpPr>
          <p:cNvPr id="10" name="McK 1. On-page tracker" hidden="1"/>
          <p:cNvSpPr>
            <a:spLocks noChangeArrowheads="1"/>
          </p:cNvSpPr>
          <p:nvPr/>
        </p:nvSpPr>
        <p:spPr bwMode="auto">
          <a:xfrm>
            <a:off x="121488" y="27536"/>
            <a:ext cx="876714"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fr-FR" sz="1400" baseline="0" noProof="0" dirty="0" smtClean="0">
                <a:solidFill>
                  <a:srgbClr val="808080"/>
                </a:solidFill>
                <a:latin typeface="+mn-lt"/>
                <a:ea typeface="+mj-ea"/>
              </a:rPr>
              <a:t>TRACKER</a:t>
            </a:r>
            <a:endParaRPr lang="fr-FR" sz="1400" baseline="0" noProof="0" dirty="0">
              <a:solidFill>
                <a:srgbClr val="808080"/>
              </a:solidFill>
              <a:latin typeface="+mn-lt"/>
              <a:ea typeface="+mj-ea"/>
            </a:endParaRPr>
          </a:p>
        </p:txBody>
      </p:sp>
      <p:sp>
        <p:nvSpPr>
          <p:cNvPr id="11" name="McK 3. Unit of measure" hidden="1"/>
          <p:cNvSpPr txBox="1">
            <a:spLocks noChangeArrowheads="1"/>
          </p:cNvSpPr>
          <p:nvPr/>
        </p:nvSpPr>
        <p:spPr bwMode="auto">
          <a:xfrm>
            <a:off x="121491" y="542619"/>
            <a:ext cx="8794113"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600" baseline="0" noProof="0" dirty="0" smtClean="0">
                <a:solidFill>
                  <a:srgbClr val="808080"/>
                </a:solidFill>
                <a:latin typeface="+mn-lt"/>
              </a:rPr>
              <a:t>Unit of </a:t>
            </a:r>
            <a:r>
              <a:rPr lang="fr-FR" sz="1600" baseline="0" noProof="0" dirty="0" err="1" smtClean="0">
                <a:solidFill>
                  <a:srgbClr val="808080"/>
                </a:solidFill>
                <a:latin typeface="+mn-lt"/>
              </a:rPr>
              <a:t>measure</a:t>
            </a:r>
            <a:endParaRPr lang="fr-FR" sz="1600" baseline="0" noProof="0" dirty="0" smtClean="0">
              <a:solidFill>
                <a:srgbClr val="808080"/>
              </a:solidFill>
              <a:latin typeface="+mn-lt"/>
            </a:endParaRPr>
          </a:p>
        </p:txBody>
      </p:sp>
      <p:grpSp>
        <p:nvGrpSpPr>
          <p:cNvPr id="3" name="McK Slide Elements" hidden="1"/>
          <p:cNvGrpSpPr>
            <a:grpSpLocks/>
          </p:cNvGrpSpPr>
          <p:nvPr/>
        </p:nvGrpSpPr>
        <p:grpSpPr bwMode="gray">
          <a:xfrm>
            <a:off x="121489" y="6203623"/>
            <a:ext cx="8722840" cy="518318"/>
            <a:chOff x="75" y="3830"/>
            <a:chExt cx="5385" cy="320"/>
          </a:xfrm>
        </p:grpSpPr>
        <p:sp>
          <p:nvSpPr>
            <p:cNvPr id="13" name="McK 4. Footnote"/>
            <p:cNvSpPr txBox="1">
              <a:spLocks noChangeArrowheads="1"/>
            </p:cNvSpPr>
            <p:nvPr/>
          </p:nvSpPr>
          <p:spPr bwMode="gray">
            <a:xfrm>
              <a:off x="75" y="3830"/>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000" baseline="0" noProof="0" dirty="0" smtClean="0">
                  <a:latin typeface="+mn-lt"/>
                </a:rPr>
                <a:t>1 </a:t>
              </a:r>
              <a:r>
                <a:rPr lang="fr-FR" sz="1000" baseline="0" noProof="0" dirty="0" err="1" smtClean="0">
                  <a:latin typeface="+mn-lt"/>
                </a:rPr>
                <a:t>Footnote</a:t>
              </a:r>
              <a:endParaRPr lang="fr-FR" sz="1000" baseline="0" noProof="0" dirty="0" smtClean="0">
                <a:latin typeface="+mn-lt"/>
              </a:endParaRPr>
            </a:p>
          </p:txBody>
        </p:sp>
        <p:sp>
          <p:nvSpPr>
            <p:cNvPr id="14" name="McK 5. Source"/>
            <p:cNvSpPr>
              <a:spLocks noChangeArrowheads="1"/>
            </p:cNvSpPr>
            <p:nvPr/>
          </p:nvSpPr>
          <p:spPr bwMode="gray">
            <a:xfrm>
              <a:off x="75" y="4054"/>
              <a:ext cx="4323"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p>
              <a:pPr marL="621778" indent="-621778" defTabSz="913235">
                <a:tabLst>
                  <a:tab pos="625015" algn="l"/>
                </a:tabLst>
              </a:pPr>
              <a:r>
                <a:rPr lang="fr-FR" sz="1000" baseline="0" noProof="0" dirty="0" smtClean="0">
                  <a:solidFill>
                    <a:schemeClr val="bg1"/>
                  </a:solidFill>
                  <a:latin typeface="+mn-lt"/>
                </a:rPr>
                <a:t>SOURCE: Source</a:t>
              </a:r>
              <a:endParaRPr lang="fr-FR" sz="1000" baseline="0" noProof="0" dirty="0">
                <a:solidFill>
                  <a:schemeClr val="bg1"/>
                </a:solidFill>
                <a:latin typeface="+mn-lt"/>
              </a:endParaRPr>
            </a:p>
          </p:txBody>
        </p:sp>
      </p:grpSp>
      <p:grpSp>
        <p:nvGrpSpPr>
          <p:cNvPr id="4" name="ACET" hidden="1"/>
          <p:cNvGrpSpPr>
            <a:grpSpLocks/>
          </p:cNvGrpSpPr>
          <p:nvPr/>
        </p:nvGrpSpPr>
        <p:grpSpPr bwMode="auto">
          <a:xfrm>
            <a:off x="1482158" y="1083610"/>
            <a:ext cx="4350892" cy="584728"/>
            <a:chOff x="915" y="669"/>
            <a:chExt cx="2686" cy="361"/>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fr-FR" b="1" baseline="0" noProof="0" smtClean="0">
                  <a:latin typeface="+mn-lt"/>
                  <a:ea typeface="+mn-ea"/>
                </a:rPr>
                <a:t>Title</a:t>
              </a:r>
            </a:p>
            <a:p>
              <a:r>
                <a:rPr lang="fr-FR" baseline="0" noProof="0" smtClean="0">
                  <a:solidFill>
                    <a:srgbClr val="808080"/>
                  </a:solidFill>
                  <a:latin typeface="+mn-lt"/>
                  <a:ea typeface="+mn-ea"/>
                </a:rPr>
                <a:t>Unit of measure</a:t>
              </a:r>
              <a:endParaRPr lang="fr-FR" baseline="0" noProof="0" dirty="0">
                <a:solidFill>
                  <a:srgbClr val="808080"/>
                </a:solidFill>
                <a:latin typeface="+mn-lt"/>
                <a:ea typeface="+mn-ea"/>
              </a:endParaRPr>
            </a:p>
          </p:txBody>
        </p:sp>
      </p:grpSp>
      <p:sp>
        <p:nvSpPr>
          <p:cNvPr id="18" name="Slide Number"/>
          <p:cNvSpPr txBox="1">
            <a:spLocks/>
          </p:cNvSpPr>
          <p:nvPr/>
        </p:nvSpPr>
        <p:spPr bwMode="gray">
          <a:xfrm>
            <a:off x="8719605" y="6566446"/>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fld id="{42C328C1-A84F-4A39-A664-DBA00541A8C6}" type="slidenum">
              <a:rPr lang="fr-FR" smtClean="0">
                <a:solidFill>
                  <a:schemeClr val="bg1"/>
                </a:solidFill>
              </a:rPr>
              <a:pPr lvl="0"/>
              <a:t>‹N°›</a:t>
            </a:fld>
            <a:endParaRPr lang="fr-FR" dirty="0">
              <a:solidFill>
                <a:schemeClr val="bg1"/>
              </a:solidFill>
            </a:endParaRPr>
          </a:p>
        </p:txBody>
      </p:sp>
      <p:sp>
        <p:nvSpPr>
          <p:cNvPr id="20" name="Slide Number"/>
          <p:cNvSpPr txBox="1">
            <a:spLocks/>
          </p:cNvSpPr>
          <p:nvPr/>
        </p:nvSpPr>
        <p:spPr bwMode="gray">
          <a:xfrm>
            <a:off x="8719605" y="6566446"/>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fld id="{42C328C1-A84F-4A39-A664-DBA00541A8C6}" type="slidenum">
              <a:rPr lang="fr-FR" smtClean="0">
                <a:solidFill>
                  <a:schemeClr val="bg1"/>
                </a:solidFill>
              </a:rPr>
              <a:pPr lvl="0"/>
              <a:t>‹N°›</a:t>
            </a:fld>
            <a:endParaRPr lang="fr-FR" dirty="0">
              <a:solidFill>
                <a:schemeClr val="bg1"/>
              </a:solidFill>
            </a:endParaRPr>
          </a:p>
        </p:txBody>
      </p:sp>
    </p:spTree>
    <p:extLst>
      <p:ext uri="{BB962C8B-B14F-4D97-AF65-F5344CB8AC3E}">
        <p14:creationId xmlns:p14="http://schemas.microsoft.com/office/powerpoint/2010/main" xmlns="" val="2493395728"/>
      </p:ext>
    </p:extLst>
  </p:cSld>
  <p:clrMap bg1="lt1" tx1="dk1" bg2="lt2" tx2="dk2" accent1="accent1" accent2="accent2" accent3="accent3" accent4="accent4" accent5="accent5" accent6="accent6" hlink="hlink" folHlink="folHlink"/>
  <p:sldLayoutIdLst>
    <p:sldLayoutId id="2147484372" r:id="rId1"/>
    <p:sldLayoutId id="2147484409" r:id="rId2"/>
    <p:sldLayoutId id="2147484425" r:id="rId3"/>
    <p:sldLayoutId id="2147484430" r:id="rId4"/>
    <p:sldLayoutId id="2147484431" r:id="rId5"/>
    <p:sldLayoutId id="2147484432" r:id="rId6"/>
    <p:sldLayoutId id="2147484433" r:id="rId7"/>
    <p:sldLayoutId id="2147484434" r:id="rId8"/>
    <p:sldLayoutId id="2147484435" r:id="rId9"/>
    <p:sldLayoutId id="2147484436" r:id="rId10"/>
  </p:sldLayoutIdLst>
  <p:timing>
    <p:tnLst>
      <p:par>
        <p:cTn id="1" dur="indefinite" restart="never" nodeType="tmRoot"/>
      </p:par>
    </p:tnLst>
  </p:timing>
  <p:hf hdr="0" ftr="0" dt="0"/>
  <p:txStyles>
    <p:titleStyle>
      <a:lvl1pPr algn="l" defTabSz="913235" rtl="0" eaLnBrk="1" fontAlgn="base" hangingPunct="1">
        <a:spcBef>
          <a:spcPct val="0"/>
        </a:spcBef>
        <a:spcAft>
          <a:spcPct val="0"/>
        </a:spcAft>
        <a:tabLst>
          <a:tab pos="275266" algn="l"/>
        </a:tabLst>
        <a:defRPr sz="1900" b="1" baseline="0">
          <a:solidFill>
            <a:schemeClr val="accent1"/>
          </a:solidFill>
          <a:latin typeface="+mj-lt"/>
          <a:ea typeface="+mj-ea"/>
          <a:cs typeface="+mj-cs"/>
        </a:defRPr>
      </a:lvl1pPr>
      <a:lvl2pPr algn="l" defTabSz="913235" rtl="0" eaLnBrk="1" fontAlgn="base" hangingPunct="1">
        <a:spcBef>
          <a:spcPct val="0"/>
        </a:spcBef>
        <a:spcAft>
          <a:spcPct val="0"/>
        </a:spcAft>
        <a:defRPr sz="1900" b="1">
          <a:solidFill>
            <a:schemeClr val="tx2"/>
          </a:solidFill>
          <a:latin typeface="Arial" charset="0"/>
        </a:defRPr>
      </a:lvl2pPr>
      <a:lvl3pPr algn="l" defTabSz="913235" rtl="0" eaLnBrk="1" fontAlgn="base" hangingPunct="1">
        <a:spcBef>
          <a:spcPct val="0"/>
        </a:spcBef>
        <a:spcAft>
          <a:spcPct val="0"/>
        </a:spcAft>
        <a:defRPr sz="1900" b="1">
          <a:solidFill>
            <a:schemeClr val="tx2"/>
          </a:solidFill>
          <a:latin typeface="Arial" charset="0"/>
        </a:defRPr>
      </a:lvl3pPr>
      <a:lvl4pPr algn="l" defTabSz="913235" rtl="0" eaLnBrk="1" fontAlgn="base" hangingPunct="1">
        <a:spcBef>
          <a:spcPct val="0"/>
        </a:spcBef>
        <a:spcAft>
          <a:spcPct val="0"/>
        </a:spcAft>
        <a:defRPr sz="1900" b="1">
          <a:solidFill>
            <a:schemeClr val="tx2"/>
          </a:solidFill>
          <a:latin typeface="Arial" charset="0"/>
        </a:defRPr>
      </a:lvl4pPr>
      <a:lvl5pPr algn="l" defTabSz="913235" rtl="0" eaLnBrk="1" fontAlgn="base" hangingPunct="1">
        <a:spcBef>
          <a:spcPct val="0"/>
        </a:spcBef>
        <a:spcAft>
          <a:spcPct val="0"/>
        </a:spcAft>
        <a:defRPr sz="1900" b="1">
          <a:solidFill>
            <a:schemeClr val="tx2"/>
          </a:solidFill>
          <a:latin typeface="Arial" charset="0"/>
        </a:defRPr>
      </a:lvl5pPr>
      <a:lvl6pPr marL="466331" algn="l" defTabSz="913235" rtl="0" eaLnBrk="1" fontAlgn="base" hangingPunct="1">
        <a:spcBef>
          <a:spcPct val="0"/>
        </a:spcBef>
        <a:spcAft>
          <a:spcPct val="0"/>
        </a:spcAft>
        <a:defRPr sz="1900" b="1">
          <a:solidFill>
            <a:schemeClr val="tx2"/>
          </a:solidFill>
          <a:latin typeface="Arial" charset="0"/>
        </a:defRPr>
      </a:lvl6pPr>
      <a:lvl7pPr marL="932665" algn="l" defTabSz="913235" rtl="0" eaLnBrk="1" fontAlgn="base" hangingPunct="1">
        <a:spcBef>
          <a:spcPct val="0"/>
        </a:spcBef>
        <a:spcAft>
          <a:spcPct val="0"/>
        </a:spcAft>
        <a:defRPr sz="1900" b="1">
          <a:solidFill>
            <a:schemeClr val="tx2"/>
          </a:solidFill>
          <a:latin typeface="Arial" charset="0"/>
        </a:defRPr>
      </a:lvl7pPr>
      <a:lvl8pPr marL="1398999" algn="l" defTabSz="913235" rtl="0" eaLnBrk="1" fontAlgn="base" hangingPunct="1">
        <a:spcBef>
          <a:spcPct val="0"/>
        </a:spcBef>
        <a:spcAft>
          <a:spcPct val="0"/>
        </a:spcAft>
        <a:defRPr sz="1900" b="1">
          <a:solidFill>
            <a:schemeClr val="tx2"/>
          </a:solidFill>
          <a:latin typeface="Arial" charset="0"/>
        </a:defRPr>
      </a:lvl8pPr>
      <a:lvl9pPr marL="1865332" algn="l" defTabSz="913235" rtl="0" eaLnBrk="1" fontAlgn="base" hangingPunct="1">
        <a:spcBef>
          <a:spcPct val="0"/>
        </a:spcBef>
        <a:spcAft>
          <a:spcPct val="0"/>
        </a:spcAft>
        <a:defRPr sz="1900" b="1">
          <a:solidFill>
            <a:schemeClr val="tx2"/>
          </a:solidFill>
          <a:latin typeface="Arial" charset="0"/>
        </a:defRPr>
      </a:lvl9pPr>
    </p:titleStyle>
    <p:bodyStyle>
      <a:lvl1pPr marL="0" indent="0" algn="l" defTabSz="91323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665" rtl="0" eaLnBrk="1" latinLnBrk="0" hangingPunct="1">
        <a:defRPr sz="1800" kern="1200">
          <a:solidFill>
            <a:schemeClr val="tx1"/>
          </a:solidFill>
          <a:latin typeface="+mn-lt"/>
          <a:ea typeface="+mn-ea"/>
          <a:cs typeface="+mn-cs"/>
        </a:defRPr>
      </a:lvl1pPr>
      <a:lvl2pPr marL="466331" algn="l" defTabSz="932665" rtl="0" eaLnBrk="1" latinLnBrk="0" hangingPunct="1">
        <a:defRPr sz="1800" kern="1200">
          <a:solidFill>
            <a:schemeClr val="tx1"/>
          </a:solidFill>
          <a:latin typeface="+mn-lt"/>
          <a:ea typeface="+mn-ea"/>
          <a:cs typeface="+mn-cs"/>
        </a:defRPr>
      </a:lvl2pPr>
      <a:lvl3pPr marL="932665" algn="l" defTabSz="932665" rtl="0" eaLnBrk="1" latinLnBrk="0" hangingPunct="1">
        <a:defRPr sz="1800" kern="1200">
          <a:solidFill>
            <a:schemeClr val="tx1"/>
          </a:solidFill>
          <a:latin typeface="+mn-lt"/>
          <a:ea typeface="+mn-ea"/>
          <a:cs typeface="+mn-cs"/>
        </a:defRPr>
      </a:lvl3pPr>
      <a:lvl4pPr marL="1398999" algn="l" defTabSz="932665" rtl="0" eaLnBrk="1" latinLnBrk="0" hangingPunct="1">
        <a:defRPr sz="1800" kern="1200">
          <a:solidFill>
            <a:schemeClr val="tx1"/>
          </a:solidFill>
          <a:latin typeface="+mn-lt"/>
          <a:ea typeface="+mn-ea"/>
          <a:cs typeface="+mn-cs"/>
        </a:defRPr>
      </a:lvl4pPr>
      <a:lvl5pPr marL="1865332" algn="l" defTabSz="932665" rtl="0" eaLnBrk="1" latinLnBrk="0" hangingPunct="1">
        <a:defRPr sz="1800" kern="1200">
          <a:solidFill>
            <a:schemeClr val="tx1"/>
          </a:solidFill>
          <a:latin typeface="+mn-lt"/>
          <a:ea typeface="+mn-ea"/>
          <a:cs typeface="+mn-cs"/>
        </a:defRPr>
      </a:lvl5pPr>
      <a:lvl6pPr marL="2331665" algn="l" defTabSz="932665" rtl="0" eaLnBrk="1" latinLnBrk="0" hangingPunct="1">
        <a:defRPr sz="1800" kern="1200">
          <a:solidFill>
            <a:schemeClr val="tx1"/>
          </a:solidFill>
          <a:latin typeface="+mn-lt"/>
          <a:ea typeface="+mn-ea"/>
          <a:cs typeface="+mn-cs"/>
        </a:defRPr>
      </a:lvl6pPr>
      <a:lvl7pPr marL="2797996" algn="l" defTabSz="932665" rtl="0" eaLnBrk="1" latinLnBrk="0" hangingPunct="1">
        <a:defRPr sz="1800" kern="1200">
          <a:solidFill>
            <a:schemeClr val="tx1"/>
          </a:solidFill>
          <a:latin typeface="+mn-lt"/>
          <a:ea typeface="+mn-ea"/>
          <a:cs typeface="+mn-cs"/>
        </a:defRPr>
      </a:lvl7pPr>
      <a:lvl8pPr marL="3264329" algn="l" defTabSz="932665" rtl="0" eaLnBrk="1" latinLnBrk="0" hangingPunct="1">
        <a:defRPr sz="1800" kern="1200">
          <a:solidFill>
            <a:schemeClr val="tx1"/>
          </a:solidFill>
          <a:latin typeface="+mn-lt"/>
          <a:ea typeface="+mn-ea"/>
          <a:cs typeface="+mn-cs"/>
        </a:defRPr>
      </a:lvl8pPr>
      <a:lvl9pPr marL="3730663" algn="l" defTabSz="9326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0" y="0"/>
          <a:ext cx="161984" cy="161974"/>
        </p:xfrm>
        <a:graphic>
          <a:graphicData uri="http://schemas.openxmlformats.org/presentationml/2006/ole">
            <p:oleObj spid="_x0000_s109916" name="think-cell Slide" r:id="rId11" imgW="360" imgH="360" progId="">
              <p:embed/>
            </p:oleObj>
          </a:graphicData>
        </a:graphic>
      </p:graphicFrame>
      <p:sp>
        <p:nvSpPr>
          <p:cNvPr id="1033" name="doc id"/>
          <p:cNvSpPr>
            <a:spLocks noChangeArrowheads="1"/>
          </p:cNvSpPr>
          <p:nvPr/>
        </p:nvSpPr>
        <p:spPr bwMode="auto">
          <a:xfrm>
            <a:off x="8246612"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235"/>
            <a:endParaRPr lang="fr-FR" sz="800" baseline="0" noProof="0" dirty="0">
              <a:solidFill>
                <a:schemeClr val="tx2"/>
              </a:solidFill>
              <a:latin typeface="+mn-lt"/>
              <a:ea typeface="+mn-ea"/>
            </a:endParaRPr>
          </a:p>
        </p:txBody>
      </p:sp>
      <p:sp>
        <p:nvSpPr>
          <p:cNvPr id="1036" name="Rectangle 286"/>
          <p:cNvSpPr>
            <a:spLocks noGrp="1" noChangeArrowheads="1"/>
          </p:cNvSpPr>
          <p:nvPr>
            <p:ph type="body" idx="1"/>
          </p:nvPr>
        </p:nvSpPr>
        <p:spPr bwMode="gray">
          <a:xfrm>
            <a:off x="1482158" y="1990669"/>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fr-FR" noProof="0" smtClean="0"/>
              <a:t>Text</a:t>
            </a:r>
            <a:endParaRPr lang="fr-FR" noProof="0" dirty="0" smtClean="0"/>
          </a:p>
        </p:txBody>
      </p:sp>
      <p:sp>
        <p:nvSpPr>
          <p:cNvPr id="19" name="Title Placeholder 2"/>
          <p:cNvSpPr>
            <a:spLocks noGrp="1" noChangeArrowheads="1"/>
          </p:cNvSpPr>
          <p:nvPr>
            <p:ph type="title"/>
          </p:nvPr>
        </p:nvSpPr>
        <p:spPr bwMode="gray">
          <a:xfrm>
            <a:off x="121492" y="234863"/>
            <a:ext cx="8794113" cy="2983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fr-FR" noProof="0" smtClean="0"/>
              <a:t>Modifiez le style du titre</a:t>
            </a:r>
          </a:p>
        </p:txBody>
      </p:sp>
      <p:sp>
        <p:nvSpPr>
          <p:cNvPr id="10" name="McK 1. On-page tracker" hidden="1"/>
          <p:cNvSpPr>
            <a:spLocks noChangeArrowheads="1"/>
          </p:cNvSpPr>
          <p:nvPr/>
        </p:nvSpPr>
        <p:spPr bwMode="auto">
          <a:xfrm>
            <a:off x="121488" y="27536"/>
            <a:ext cx="876714"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fr-FR" sz="1400" baseline="0" noProof="0" dirty="0" smtClean="0">
                <a:solidFill>
                  <a:srgbClr val="808080"/>
                </a:solidFill>
                <a:latin typeface="+mn-lt"/>
                <a:ea typeface="+mj-ea"/>
              </a:rPr>
              <a:t>TRACKER</a:t>
            </a:r>
            <a:endParaRPr lang="fr-FR" sz="1400" baseline="0" noProof="0" dirty="0">
              <a:solidFill>
                <a:srgbClr val="808080"/>
              </a:solidFill>
              <a:latin typeface="+mn-lt"/>
              <a:ea typeface="+mj-ea"/>
            </a:endParaRPr>
          </a:p>
        </p:txBody>
      </p:sp>
      <p:sp>
        <p:nvSpPr>
          <p:cNvPr id="11" name="McK 3. Unit of measure" hidden="1"/>
          <p:cNvSpPr txBox="1">
            <a:spLocks noChangeArrowheads="1"/>
          </p:cNvSpPr>
          <p:nvPr/>
        </p:nvSpPr>
        <p:spPr bwMode="auto">
          <a:xfrm>
            <a:off x="121491" y="542619"/>
            <a:ext cx="8794113"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600" baseline="0" noProof="0" dirty="0" smtClean="0">
                <a:solidFill>
                  <a:srgbClr val="808080"/>
                </a:solidFill>
                <a:latin typeface="+mn-lt"/>
              </a:rPr>
              <a:t>Unit of </a:t>
            </a:r>
            <a:r>
              <a:rPr lang="fr-FR" sz="1600" baseline="0" noProof="0" dirty="0" err="1" smtClean="0">
                <a:solidFill>
                  <a:srgbClr val="808080"/>
                </a:solidFill>
                <a:latin typeface="+mn-lt"/>
              </a:rPr>
              <a:t>measure</a:t>
            </a:r>
            <a:endParaRPr lang="fr-FR" sz="1600" baseline="0" noProof="0" dirty="0" smtClean="0">
              <a:solidFill>
                <a:srgbClr val="808080"/>
              </a:solidFill>
              <a:latin typeface="+mn-lt"/>
            </a:endParaRPr>
          </a:p>
        </p:txBody>
      </p:sp>
      <p:grpSp>
        <p:nvGrpSpPr>
          <p:cNvPr id="3" name="McK Slide Elements" hidden="1"/>
          <p:cNvGrpSpPr>
            <a:grpSpLocks/>
          </p:cNvGrpSpPr>
          <p:nvPr/>
        </p:nvGrpSpPr>
        <p:grpSpPr bwMode="gray">
          <a:xfrm>
            <a:off x="121489" y="6203623"/>
            <a:ext cx="8722840" cy="518318"/>
            <a:chOff x="75" y="3830"/>
            <a:chExt cx="5385" cy="320"/>
          </a:xfrm>
        </p:grpSpPr>
        <p:sp>
          <p:nvSpPr>
            <p:cNvPr id="13" name="McK 4. Footnote"/>
            <p:cNvSpPr txBox="1">
              <a:spLocks noChangeArrowheads="1"/>
            </p:cNvSpPr>
            <p:nvPr/>
          </p:nvSpPr>
          <p:spPr bwMode="gray">
            <a:xfrm>
              <a:off x="75" y="3830"/>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000" baseline="0" noProof="0" dirty="0" smtClean="0">
                  <a:latin typeface="+mn-lt"/>
                </a:rPr>
                <a:t>1 </a:t>
              </a:r>
              <a:r>
                <a:rPr lang="fr-FR" sz="1000" baseline="0" noProof="0" dirty="0" err="1" smtClean="0">
                  <a:latin typeface="+mn-lt"/>
                </a:rPr>
                <a:t>Footnote</a:t>
              </a:r>
              <a:endParaRPr lang="fr-FR" sz="1000" baseline="0" noProof="0" dirty="0" smtClean="0">
                <a:latin typeface="+mn-lt"/>
              </a:endParaRPr>
            </a:p>
          </p:txBody>
        </p:sp>
        <p:sp>
          <p:nvSpPr>
            <p:cNvPr id="14" name="McK 5. Source"/>
            <p:cNvSpPr>
              <a:spLocks noChangeArrowheads="1"/>
            </p:cNvSpPr>
            <p:nvPr/>
          </p:nvSpPr>
          <p:spPr bwMode="gray">
            <a:xfrm>
              <a:off x="75" y="4054"/>
              <a:ext cx="4323"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p>
              <a:pPr marL="621778" indent="-621778" defTabSz="913235">
                <a:tabLst>
                  <a:tab pos="625015" algn="l"/>
                </a:tabLst>
              </a:pPr>
              <a:r>
                <a:rPr lang="fr-FR" sz="1000" baseline="0" noProof="0" dirty="0" smtClean="0">
                  <a:solidFill>
                    <a:schemeClr val="bg1"/>
                  </a:solidFill>
                  <a:latin typeface="+mn-lt"/>
                </a:rPr>
                <a:t>SOURCE: Source</a:t>
              </a:r>
              <a:endParaRPr lang="fr-FR" sz="1000" baseline="0" noProof="0" dirty="0">
                <a:solidFill>
                  <a:schemeClr val="bg1"/>
                </a:solidFill>
                <a:latin typeface="+mn-lt"/>
              </a:endParaRPr>
            </a:p>
          </p:txBody>
        </p:sp>
      </p:grpSp>
      <p:grpSp>
        <p:nvGrpSpPr>
          <p:cNvPr id="4" name="ACET" hidden="1"/>
          <p:cNvGrpSpPr>
            <a:grpSpLocks/>
          </p:cNvGrpSpPr>
          <p:nvPr/>
        </p:nvGrpSpPr>
        <p:grpSpPr bwMode="auto">
          <a:xfrm>
            <a:off x="1482158" y="1083610"/>
            <a:ext cx="4350892" cy="584728"/>
            <a:chOff x="915" y="669"/>
            <a:chExt cx="2686" cy="361"/>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fr-FR" b="1" baseline="0" noProof="0" smtClean="0">
                  <a:latin typeface="+mn-lt"/>
                  <a:ea typeface="+mn-ea"/>
                </a:rPr>
                <a:t>Title</a:t>
              </a:r>
            </a:p>
            <a:p>
              <a:r>
                <a:rPr lang="fr-FR" baseline="0" noProof="0" smtClean="0">
                  <a:solidFill>
                    <a:srgbClr val="808080"/>
                  </a:solidFill>
                  <a:latin typeface="+mn-lt"/>
                  <a:ea typeface="+mn-ea"/>
                </a:rPr>
                <a:t>Unit of measure</a:t>
              </a:r>
              <a:endParaRPr lang="fr-FR" baseline="0" noProof="0" dirty="0">
                <a:solidFill>
                  <a:srgbClr val="808080"/>
                </a:solidFill>
                <a:latin typeface="+mn-lt"/>
                <a:ea typeface="+mn-ea"/>
              </a:endParaRPr>
            </a:p>
          </p:txBody>
        </p:sp>
      </p:grpSp>
      <p:sp>
        <p:nvSpPr>
          <p:cNvPr id="18" name="Slide Number"/>
          <p:cNvSpPr txBox="1">
            <a:spLocks/>
          </p:cNvSpPr>
          <p:nvPr/>
        </p:nvSpPr>
        <p:spPr bwMode="gray">
          <a:xfrm>
            <a:off x="8719605" y="6566446"/>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fld id="{42C328C1-A84F-4A39-A664-DBA00541A8C6}" type="slidenum">
              <a:rPr lang="fr-FR" smtClean="0">
                <a:solidFill>
                  <a:schemeClr val="bg1"/>
                </a:solidFill>
              </a:rPr>
              <a:pPr lvl="0"/>
              <a:t>‹N°›</a:t>
            </a:fld>
            <a:endParaRPr lang="fr-FR" dirty="0">
              <a:solidFill>
                <a:schemeClr val="bg1"/>
              </a:solidFill>
            </a:endParaRPr>
          </a:p>
        </p:txBody>
      </p:sp>
      <p:sp>
        <p:nvSpPr>
          <p:cNvPr id="20" name="Slide Number"/>
          <p:cNvSpPr txBox="1">
            <a:spLocks/>
          </p:cNvSpPr>
          <p:nvPr/>
        </p:nvSpPr>
        <p:spPr bwMode="gray">
          <a:xfrm>
            <a:off x="8719605" y="6566446"/>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fld id="{42C328C1-A84F-4A39-A664-DBA00541A8C6}" type="slidenum">
              <a:rPr lang="fr-FR" smtClean="0">
                <a:solidFill>
                  <a:schemeClr val="bg1"/>
                </a:solidFill>
              </a:rPr>
              <a:pPr lvl="0"/>
              <a:t>‹N°›</a:t>
            </a:fld>
            <a:endParaRPr lang="fr-FR" dirty="0">
              <a:solidFill>
                <a:schemeClr val="bg1"/>
              </a:solidFill>
            </a:endParaRPr>
          </a:p>
        </p:txBody>
      </p:sp>
    </p:spTree>
    <p:extLst>
      <p:ext uri="{BB962C8B-B14F-4D97-AF65-F5344CB8AC3E}">
        <p14:creationId xmlns:p14="http://schemas.microsoft.com/office/powerpoint/2010/main" xmlns="" val="1283026093"/>
      </p:ext>
    </p:extLst>
  </p:cSld>
  <p:clrMap bg1="lt1" tx1="dk1" bg2="lt2" tx2="dk2" accent1="accent1" accent2="accent2" accent3="accent3" accent4="accent4" accent5="accent5" accent6="accent6" hlink="hlink" folHlink="folHlink"/>
  <p:sldLayoutIdLst>
    <p:sldLayoutId id="2147484438" r:id="rId1"/>
    <p:sldLayoutId id="2147484439" r:id="rId2"/>
    <p:sldLayoutId id="2147484441" r:id="rId3"/>
    <p:sldLayoutId id="2147484442" r:id="rId4"/>
    <p:sldLayoutId id="2147484443" r:id="rId5"/>
    <p:sldLayoutId id="2147484444" r:id="rId6"/>
    <p:sldLayoutId id="2147484445" r:id="rId7"/>
  </p:sldLayoutIdLst>
  <p:timing>
    <p:tnLst>
      <p:par>
        <p:cTn id="1" dur="indefinite" restart="never" nodeType="tmRoot"/>
      </p:par>
    </p:tnLst>
  </p:timing>
  <p:hf hdr="0" ftr="0" dt="0"/>
  <p:txStyles>
    <p:titleStyle>
      <a:lvl1pPr algn="l" defTabSz="913235" rtl="0" eaLnBrk="1" fontAlgn="base" hangingPunct="1">
        <a:spcBef>
          <a:spcPct val="0"/>
        </a:spcBef>
        <a:spcAft>
          <a:spcPct val="0"/>
        </a:spcAft>
        <a:tabLst>
          <a:tab pos="275266" algn="l"/>
        </a:tabLst>
        <a:defRPr sz="1900" b="1" baseline="0">
          <a:solidFill>
            <a:schemeClr val="accent1"/>
          </a:solidFill>
          <a:latin typeface="+mj-lt"/>
          <a:ea typeface="+mj-ea"/>
          <a:cs typeface="+mj-cs"/>
        </a:defRPr>
      </a:lvl1pPr>
      <a:lvl2pPr algn="l" defTabSz="913235" rtl="0" eaLnBrk="1" fontAlgn="base" hangingPunct="1">
        <a:spcBef>
          <a:spcPct val="0"/>
        </a:spcBef>
        <a:spcAft>
          <a:spcPct val="0"/>
        </a:spcAft>
        <a:defRPr sz="1900" b="1">
          <a:solidFill>
            <a:schemeClr val="tx2"/>
          </a:solidFill>
          <a:latin typeface="Arial" charset="0"/>
        </a:defRPr>
      </a:lvl2pPr>
      <a:lvl3pPr algn="l" defTabSz="913235" rtl="0" eaLnBrk="1" fontAlgn="base" hangingPunct="1">
        <a:spcBef>
          <a:spcPct val="0"/>
        </a:spcBef>
        <a:spcAft>
          <a:spcPct val="0"/>
        </a:spcAft>
        <a:defRPr sz="1900" b="1">
          <a:solidFill>
            <a:schemeClr val="tx2"/>
          </a:solidFill>
          <a:latin typeface="Arial" charset="0"/>
        </a:defRPr>
      </a:lvl3pPr>
      <a:lvl4pPr algn="l" defTabSz="913235" rtl="0" eaLnBrk="1" fontAlgn="base" hangingPunct="1">
        <a:spcBef>
          <a:spcPct val="0"/>
        </a:spcBef>
        <a:spcAft>
          <a:spcPct val="0"/>
        </a:spcAft>
        <a:defRPr sz="1900" b="1">
          <a:solidFill>
            <a:schemeClr val="tx2"/>
          </a:solidFill>
          <a:latin typeface="Arial" charset="0"/>
        </a:defRPr>
      </a:lvl4pPr>
      <a:lvl5pPr algn="l" defTabSz="913235" rtl="0" eaLnBrk="1" fontAlgn="base" hangingPunct="1">
        <a:spcBef>
          <a:spcPct val="0"/>
        </a:spcBef>
        <a:spcAft>
          <a:spcPct val="0"/>
        </a:spcAft>
        <a:defRPr sz="1900" b="1">
          <a:solidFill>
            <a:schemeClr val="tx2"/>
          </a:solidFill>
          <a:latin typeface="Arial" charset="0"/>
        </a:defRPr>
      </a:lvl5pPr>
      <a:lvl6pPr marL="466331" algn="l" defTabSz="913235" rtl="0" eaLnBrk="1" fontAlgn="base" hangingPunct="1">
        <a:spcBef>
          <a:spcPct val="0"/>
        </a:spcBef>
        <a:spcAft>
          <a:spcPct val="0"/>
        </a:spcAft>
        <a:defRPr sz="1900" b="1">
          <a:solidFill>
            <a:schemeClr val="tx2"/>
          </a:solidFill>
          <a:latin typeface="Arial" charset="0"/>
        </a:defRPr>
      </a:lvl6pPr>
      <a:lvl7pPr marL="932665" algn="l" defTabSz="913235" rtl="0" eaLnBrk="1" fontAlgn="base" hangingPunct="1">
        <a:spcBef>
          <a:spcPct val="0"/>
        </a:spcBef>
        <a:spcAft>
          <a:spcPct val="0"/>
        </a:spcAft>
        <a:defRPr sz="1900" b="1">
          <a:solidFill>
            <a:schemeClr val="tx2"/>
          </a:solidFill>
          <a:latin typeface="Arial" charset="0"/>
        </a:defRPr>
      </a:lvl7pPr>
      <a:lvl8pPr marL="1398999" algn="l" defTabSz="913235" rtl="0" eaLnBrk="1" fontAlgn="base" hangingPunct="1">
        <a:spcBef>
          <a:spcPct val="0"/>
        </a:spcBef>
        <a:spcAft>
          <a:spcPct val="0"/>
        </a:spcAft>
        <a:defRPr sz="1900" b="1">
          <a:solidFill>
            <a:schemeClr val="tx2"/>
          </a:solidFill>
          <a:latin typeface="Arial" charset="0"/>
        </a:defRPr>
      </a:lvl8pPr>
      <a:lvl9pPr marL="1865332" algn="l" defTabSz="913235" rtl="0" eaLnBrk="1" fontAlgn="base" hangingPunct="1">
        <a:spcBef>
          <a:spcPct val="0"/>
        </a:spcBef>
        <a:spcAft>
          <a:spcPct val="0"/>
        </a:spcAft>
        <a:defRPr sz="1900" b="1">
          <a:solidFill>
            <a:schemeClr val="tx2"/>
          </a:solidFill>
          <a:latin typeface="Arial" charset="0"/>
        </a:defRPr>
      </a:lvl9pPr>
    </p:titleStyle>
    <p:bodyStyle>
      <a:lvl1pPr marL="0" indent="0" algn="l" defTabSz="91323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665" rtl="0" eaLnBrk="1" latinLnBrk="0" hangingPunct="1">
        <a:defRPr sz="1800" kern="1200">
          <a:solidFill>
            <a:schemeClr val="tx1"/>
          </a:solidFill>
          <a:latin typeface="+mn-lt"/>
          <a:ea typeface="+mn-ea"/>
          <a:cs typeface="+mn-cs"/>
        </a:defRPr>
      </a:lvl1pPr>
      <a:lvl2pPr marL="466331" algn="l" defTabSz="932665" rtl="0" eaLnBrk="1" latinLnBrk="0" hangingPunct="1">
        <a:defRPr sz="1800" kern="1200">
          <a:solidFill>
            <a:schemeClr val="tx1"/>
          </a:solidFill>
          <a:latin typeface="+mn-lt"/>
          <a:ea typeface="+mn-ea"/>
          <a:cs typeface="+mn-cs"/>
        </a:defRPr>
      </a:lvl2pPr>
      <a:lvl3pPr marL="932665" algn="l" defTabSz="932665" rtl="0" eaLnBrk="1" latinLnBrk="0" hangingPunct="1">
        <a:defRPr sz="1800" kern="1200">
          <a:solidFill>
            <a:schemeClr val="tx1"/>
          </a:solidFill>
          <a:latin typeface="+mn-lt"/>
          <a:ea typeface="+mn-ea"/>
          <a:cs typeface="+mn-cs"/>
        </a:defRPr>
      </a:lvl3pPr>
      <a:lvl4pPr marL="1398999" algn="l" defTabSz="932665" rtl="0" eaLnBrk="1" latinLnBrk="0" hangingPunct="1">
        <a:defRPr sz="1800" kern="1200">
          <a:solidFill>
            <a:schemeClr val="tx1"/>
          </a:solidFill>
          <a:latin typeface="+mn-lt"/>
          <a:ea typeface="+mn-ea"/>
          <a:cs typeface="+mn-cs"/>
        </a:defRPr>
      </a:lvl4pPr>
      <a:lvl5pPr marL="1865332" algn="l" defTabSz="932665" rtl="0" eaLnBrk="1" latinLnBrk="0" hangingPunct="1">
        <a:defRPr sz="1800" kern="1200">
          <a:solidFill>
            <a:schemeClr val="tx1"/>
          </a:solidFill>
          <a:latin typeface="+mn-lt"/>
          <a:ea typeface="+mn-ea"/>
          <a:cs typeface="+mn-cs"/>
        </a:defRPr>
      </a:lvl5pPr>
      <a:lvl6pPr marL="2331665" algn="l" defTabSz="932665" rtl="0" eaLnBrk="1" latinLnBrk="0" hangingPunct="1">
        <a:defRPr sz="1800" kern="1200">
          <a:solidFill>
            <a:schemeClr val="tx1"/>
          </a:solidFill>
          <a:latin typeface="+mn-lt"/>
          <a:ea typeface="+mn-ea"/>
          <a:cs typeface="+mn-cs"/>
        </a:defRPr>
      </a:lvl6pPr>
      <a:lvl7pPr marL="2797996" algn="l" defTabSz="932665" rtl="0" eaLnBrk="1" latinLnBrk="0" hangingPunct="1">
        <a:defRPr sz="1800" kern="1200">
          <a:solidFill>
            <a:schemeClr val="tx1"/>
          </a:solidFill>
          <a:latin typeface="+mn-lt"/>
          <a:ea typeface="+mn-ea"/>
          <a:cs typeface="+mn-cs"/>
        </a:defRPr>
      </a:lvl7pPr>
      <a:lvl8pPr marL="3264329" algn="l" defTabSz="932665" rtl="0" eaLnBrk="1" latinLnBrk="0" hangingPunct="1">
        <a:defRPr sz="1800" kern="1200">
          <a:solidFill>
            <a:schemeClr val="tx1"/>
          </a:solidFill>
          <a:latin typeface="+mn-lt"/>
          <a:ea typeface="+mn-ea"/>
          <a:cs typeface="+mn-cs"/>
        </a:defRPr>
      </a:lvl8pPr>
      <a:lvl9pPr marL="3730663" algn="l" defTabSz="93266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nvPr>
        </p:nvGraphicFramePr>
        <p:xfrm>
          <a:off x="0" y="0"/>
          <a:ext cx="161984" cy="161974"/>
        </p:xfrm>
        <a:graphic>
          <a:graphicData uri="http://schemas.openxmlformats.org/presentationml/2006/ole">
            <p:oleObj spid="_x0000_s129147" name="think-cell Slide" r:id="rId15" imgW="360" imgH="360" progId="">
              <p:embed/>
            </p:oleObj>
          </a:graphicData>
        </a:graphic>
      </p:graphicFrame>
      <p:sp>
        <p:nvSpPr>
          <p:cNvPr id="1033" name="doc id"/>
          <p:cNvSpPr>
            <a:spLocks noChangeArrowheads="1"/>
          </p:cNvSpPr>
          <p:nvPr/>
        </p:nvSpPr>
        <p:spPr bwMode="auto">
          <a:xfrm>
            <a:off x="8246612"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235"/>
            <a:endParaRPr lang="fr-FR" sz="800" baseline="0" noProof="0" dirty="0">
              <a:solidFill>
                <a:schemeClr val="tx2"/>
              </a:solidFill>
              <a:latin typeface="+mn-lt"/>
              <a:ea typeface="+mn-ea"/>
            </a:endParaRPr>
          </a:p>
        </p:txBody>
      </p:sp>
      <p:sp>
        <p:nvSpPr>
          <p:cNvPr id="1036" name="Rectangle 286"/>
          <p:cNvSpPr>
            <a:spLocks noGrp="1" noChangeArrowheads="1"/>
          </p:cNvSpPr>
          <p:nvPr>
            <p:ph type="body" idx="1"/>
          </p:nvPr>
        </p:nvSpPr>
        <p:spPr bwMode="gray">
          <a:xfrm>
            <a:off x="1482158" y="1990669"/>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fr-FR" noProof="0" smtClean="0"/>
              <a:t>Text</a:t>
            </a:r>
            <a:endParaRPr lang="fr-FR" noProof="0" dirty="0" smtClean="0"/>
          </a:p>
        </p:txBody>
      </p:sp>
      <p:sp>
        <p:nvSpPr>
          <p:cNvPr id="19" name="Title Placeholder 2"/>
          <p:cNvSpPr>
            <a:spLocks noGrp="1" noChangeArrowheads="1"/>
          </p:cNvSpPr>
          <p:nvPr>
            <p:ph type="title"/>
          </p:nvPr>
        </p:nvSpPr>
        <p:spPr bwMode="gray">
          <a:xfrm>
            <a:off x="121492" y="234863"/>
            <a:ext cx="8794113" cy="2983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fr-FR" noProof="0" smtClean="0"/>
              <a:t>Modifiez le style du titre</a:t>
            </a:r>
          </a:p>
        </p:txBody>
      </p:sp>
      <p:sp>
        <p:nvSpPr>
          <p:cNvPr id="10" name="McK 1. On-page tracker" hidden="1"/>
          <p:cNvSpPr>
            <a:spLocks noChangeArrowheads="1"/>
          </p:cNvSpPr>
          <p:nvPr/>
        </p:nvSpPr>
        <p:spPr bwMode="auto">
          <a:xfrm>
            <a:off x="121488" y="27536"/>
            <a:ext cx="876714"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fr-FR" sz="1400" baseline="0" noProof="0" dirty="0" smtClean="0">
                <a:solidFill>
                  <a:srgbClr val="808080"/>
                </a:solidFill>
                <a:latin typeface="+mn-lt"/>
                <a:ea typeface="+mj-ea"/>
              </a:rPr>
              <a:t>TRACKER</a:t>
            </a:r>
            <a:endParaRPr lang="fr-FR" sz="1400" baseline="0" noProof="0" dirty="0">
              <a:solidFill>
                <a:srgbClr val="808080"/>
              </a:solidFill>
              <a:latin typeface="+mn-lt"/>
              <a:ea typeface="+mj-ea"/>
            </a:endParaRPr>
          </a:p>
        </p:txBody>
      </p:sp>
      <p:sp>
        <p:nvSpPr>
          <p:cNvPr id="11" name="McK 3. Unit of measure" hidden="1"/>
          <p:cNvSpPr txBox="1">
            <a:spLocks noChangeArrowheads="1"/>
          </p:cNvSpPr>
          <p:nvPr/>
        </p:nvSpPr>
        <p:spPr bwMode="auto">
          <a:xfrm>
            <a:off x="121491" y="542619"/>
            <a:ext cx="8794113"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600" baseline="0" noProof="0" dirty="0" smtClean="0">
                <a:solidFill>
                  <a:srgbClr val="808080"/>
                </a:solidFill>
                <a:latin typeface="+mn-lt"/>
              </a:rPr>
              <a:t>Unit of </a:t>
            </a:r>
            <a:r>
              <a:rPr lang="fr-FR" sz="1600" baseline="0" noProof="0" dirty="0" err="1" smtClean="0">
                <a:solidFill>
                  <a:srgbClr val="808080"/>
                </a:solidFill>
                <a:latin typeface="+mn-lt"/>
              </a:rPr>
              <a:t>measure</a:t>
            </a:r>
            <a:endParaRPr lang="fr-FR" sz="1600" baseline="0" noProof="0" dirty="0" smtClean="0">
              <a:solidFill>
                <a:srgbClr val="808080"/>
              </a:solidFill>
              <a:latin typeface="+mn-lt"/>
            </a:endParaRPr>
          </a:p>
        </p:txBody>
      </p:sp>
      <p:grpSp>
        <p:nvGrpSpPr>
          <p:cNvPr id="3" name="McK Slide Elements" hidden="1"/>
          <p:cNvGrpSpPr>
            <a:grpSpLocks/>
          </p:cNvGrpSpPr>
          <p:nvPr/>
        </p:nvGrpSpPr>
        <p:grpSpPr bwMode="gray">
          <a:xfrm>
            <a:off x="121489" y="6203623"/>
            <a:ext cx="8722840" cy="518318"/>
            <a:chOff x="75" y="3830"/>
            <a:chExt cx="5385" cy="320"/>
          </a:xfrm>
        </p:grpSpPr>
        <p:sp>
          <p:nvSpPr>
            <p:cNvPr id="13" name="McK 4. Footnote"/>
            <p:cNvSpPr txBox="1">
              <a:spLocks noChangeArrowheads="1"/>
            </p:cNvSpPr>
            <p:nvPr/>
          </p:nvSpPr>
          <p:spPr bwMode="gray">
            <a:xfrm>
              <a:off x="75" y="3830"/>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000" baseline="0" noProof="0" dirty="0" smtClean="0">
                  <a:latin typeface="+mn-lt"/>
                </a:rPr>
                <a:t>1 </a:t>
              </a:r>
              <a:r>
                <a:rPr lang="fr-FR" sz="1000" baseline="0" noProof="0" dirty="0" err="1" smtClean="0">
                  <a:latin typeface="+mn-lt"/>
                </a:rPr>
                <a:t>Footnote</a:t>
              </a:r>
              <a:endParaRPr lang="fr-FR" sz="1000" baseline="0" noProof="0" dirty="0" smtClean="0">
                <a:latin typeface="+mn-lt"/>
              </a:endParaRPr>
            </a:p>
          </p:txBody>
        </p:sp>
        <p:sp>
          <p:nvSpPr>
            <p:cNvPr id="14" name="McK 5. Source"/>
            <p:cNvSpPr>
              <a:spLocks noChangeArrowheads="1"/>
            </p:cNvSpPr>
            <p:nvPr/>
          </p:nvSpPr>
          <p:spPr bwMode="gray">
            <a:xfrm>
              <a:off x="75" y="4054"/>
              <a:ext cx="4323"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p>
              <a:pPr marL="621778" indent="-621778" defTabSz="913235">
                <a:tabLst>
                  <a:tab pos="625015" algn="l"/>
                </a:tabLst>
              </a:pPr>
              <a:r>
                <a:rPr lang="fr-FR" sz="1000" baseline="0" noProof="0" dirty="0" smtClean="0">
                  <a:solidFill>
                    <a:schemeClr val="bg1"/>
                  </a:solidFill>
                  <a:latin typeface="+mn-lt"/>
                </a:rPr>
                <a:t>SOURCE: Source</a:t>
              </a:r>
              <a:endParaRPr lang="fr-FR" sz="1000" baseline="0" noProof="0" dirty="0">
                <a:solidFill>
                  <a:schemeClr val="bg1"/>
                </a:solidFill>
                <a:latin typeface="+mn-lt"/>
              </a:endParaRPr>
            </a:p>
          </p:txBody>
        </p:sp>
      </p:grpSp>
      <p:grpSp>
        <p:nvGrpSpPr>
          <p:cNvPr id="4" name="ACET" hidden="1"/>
          <p:cNvGrpSpPr>
            <a:grpSpLocks/>
          </p:cNvGrpSpPr>
          <p:nvPr/>
        </p:nvGrpSpPr>
        <p:grpSpPr bwMode="auto">
          <a:xfrm>
            <a:off x="1482158" y="1083610"/>
            <a:ext cx="4350892" cy="584728"/>
            <a:chOff x="915" y="669"/>
            <a:chExt cx="2686" cy="361"/>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fr-FR" b="1" baseline="0" noProof="0" smtClean="0">
                  <a:latin typeface="+mn-lt"/>
                  <a:ea typeface="+mn-ea"/>
                </a:rPr>
                <a:t>Title</a:t>
              </a:r>
            </a:p>
            <a:p>
              <a:r>
                <a:rPr lang="fr-FR" baseline="0" noProof="0" smtClean="0">
                  <a:solidFill>
                    <a:srgbClr val="808080"/>
                  </a:solidFill>
                  <a:latin typeface="+mn-lt"/>
                  <a:ea typeface="+mn-ea"/>
                </a:rPr>
                <a:t>Unit of measure</a:t>
              </a:r>
              <a:endParaRPr lang="fr-FR" baseline="0" noProof="0" dirty="0">
                <a:solidFill>
                  <a:srgbClr val="808080"/>
                </a:solidFill>
                <a:latin typeface="+mn-lt"/>
                <a:ea typeface="+mn-ea"/>
              </a:endParaRPr>
            </a:p>
          </p:txBody>
        </p:sp>
      </p:grpSp>
      <p:sp>
        <p:nvSpPr>
          <p:cNvPr id="18" name="Slide Number"/>
          <p:cNvSpPr txBox="1">
            <a:spLocks/>
          </p:cNvSpPr>
          <p:nvPr/>
        </p:nvSpPr>
        <p:spPr bwMode="gray">
          <a:xfrm>
            <a:off x="8719605" y="6566446"/>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fld id="{42C328C1-A84F-4A39-A664-DBA00541A8C6}" type="slidenum">
              <a:rPr lang="fr-FR" smtClean="0">
                <a:solidFill>
                  <a:schemeClr val="bg1"/>
                </a:solidFill>
              </a:rPr>
              <a:pPr lvl="0"/>
              <a:t>‹N°›</a:t>
            </a:fld>
            <a:endParaRPr lang="fr-FR" dirty="0">
              <a:solidFill>
                <a:schemeClr val="bg1"/>
              </a:solidFill>
            </a:endParaRPr>
          </a:p>
        </p:txBody>
      </p:sp>
      <p:sp>
        <p:nvSpPr>
          <p:cNvPr id="20" name="Slide Number"/>
          <p:cNvSpPr txBox="1">
            <a:spLocks/>
          </p:cNvSpPr>
          <p:nvPr/>
        </p:nvSpPr>
        <p:spPr bwMode="gray">
          <a:xfrm>
            <a:off x="8719605" y="6566446"/>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fld id="{42C328C1-A84F-4A39-A664-DBA00541A8C6}" type="slidenum">
              <a:rPr lang="fr-FR" smtClean="0">
                <a:solidFill>
                  <a:schemeClr val="bg1"/>
                </a:solidFill>
              </a:rPr>
              <a:pPr lvl="0"/>
              <a:t>‹N°›</a:t>
            </a:fld>
            <a:endParaRPr lang="fr-FR" dirty="0">
              <a:solidFill>
                <a:schemeClr val="bg1"/>
              </a:solidFill>
            </a:endParaRPr>
          </a:p>
        </p:txBody>
      </p:sp>
    </p:spTree>
    <p:extLst>
      <p:ext uri="{BB962C8B-B14F-4D97-AF65-F5344CB8AC3E}">
        <p14:creationId xmlns:p14="http://schemas.microsoft.com/office/powerpoint/2010/main" xmlns="" val="576978433"/>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Lst>
  <p:timing>
    <p:tnLst>
      <p:par>
        <p:cTn id="1" dur="indefinite" restart="never" nodeType="tmRoot"/>
      </p:par>
    </p:tnLst>
  </p:timing>
  <p:hf hdr="0" ftr="0" dt="0"/>
  <p:txStyles>
    <p:titleStyle>
      <a:lvl1pPr algn="l" defTabSz="913235" rtl="0" eaLnBrk="1" fontAlgn="base" hangingPunct="1">
        <a:spcBef>
          <a:spcPct val="0"/>
        </a:spcBef>
        <a:spcAft>
          <a:spcPct val="0"/>
        </a:spcAft>
        <a:tabLst>
          <a:tab pos="275266" algn="l"/>
        </a:tabLst>
        <a:defRPr sz="1900" b="1" baseline="0">
          <a:solidFill>
            <a:schemeClr val="accent1"/>
          </a:solidFill>
          <a:latin typeface="+mj-lt"/>
          <a:ea typeface="+mj-ea"/>
          <a:cs typeface="+mj-cs"/>
        </a:defRPr>
      </a:lvl1pPr>
      <a:lvl2pPr algn="l" defTabSz="913235" rtl="0" eaLnBrk="1" fontAlgn="base" hangingPunct="1">
        <a:spcBef>
          <a:spcPct val="0"/>
        </a:spcBef>
        <a:spcAft>
          <a:spcPct val="0"/>
        </a:spcAft>
        <a:defRPr sz="1900" b="1">
          <a:solidFill>
            <a:schemeClr val="tx2"/>
          </a:solidFill>
          <a:latin typeface="Arial" charset="0"/>
        </a:defRPr>
      </a:lvl2pPr>
      <a:lvl3pPr algn="l" defTabSz="913235" rtl="0" eaLnBrk="1" fontAlgn="base" hangingPunct="1">
        <a:spcBef>
          <a:spcPct val="0"/>
        </a:spcBef>
        <a:spcAft>
          <a:spcPct val="0"/>
        </a:spcAft>
        <a:defRPr sz="1900" b="1">
          <a:solidFill>
            <a:schemeClr val="tx2"/>
          </a:solidFill>
          <a:latin typeface="Arial" charset="0"/>
        </a:defRPr>
      </a:lvl3pPr>
      <a:lvl4pPr algn="l" defTabSz="913235" rtl="0" eaLnBrk="1" fontAlgn="base" hangingPunct="1">
        <a:spcBef>
          <a:spcPct val="0"/>
        </a:spcBef>
        <a:spcAft>
          <a:spcPct val="0"/>
        </a:spcAft>
        <a:defRPr sz="1900" b="1">
          <a:solidFill>
            <a:schemeClr val="tx2"/>
          </a:solidFill>
          <a:latin typeface="Arial" charset="0"/>
        </a:defRPr>
      </a:lvl4pPr>
      <a:lvl5pPr algn="l" defTabSz="913235" rtl="0" eaLnBrk="1" fontAlgn="base" hangingPunct="1">
        <a:spcBef>
          <a:spcPct val="0"/>
        </a:spcBef>
        <a:spcAft>
          <a:spcPct val="0"/>
        </a:spcAft>
        <a:defRPr sz="1900" b="1">
          <a:solidFill>
            <a:schemeClr val="tx2"/>
          </a:solidFill>
          <a:latin typeface="Arial" charset="0"/>
        </a:defRPr>
      </a:lvl5pPr>
      <a:lvl6pPr marL="466331" algn="l" defTabSz="913235" rtl="0" eaLnBrk="1" fontAlgn="base" hangingPunct="1">
        <a:spcBef>
          <a:spcPct val="0"/>
        </a:spcBef>
        <a:spcAft>
          <a:spcPct val="0"/>
        </a:spcAft>
        <a:defRPr sz="1900" b="1">
          <a:solidFill>
            <a:schemeClr val="tx2"/>
          </a:solidFill>
          <a:latin typeface="Arial" charset="0"/>
        </a:defRPr>
      </a:lvl6pPr>
      <a:lvl7pPr marL="932665" algn="l" defTabSz="913235" rtl="0" eaLnBrk="1" fontAlgn="base" hangingPunct="1">
        <a:spcBef>
          <a:spcPct val="0"/>
        </a:spcBef>
        <a:spcAft>
          <a:spcPct val="0"/>
        </a:spcAft>
        <a:defRPr sz="1900" b="1">
          <a:solidFill>
            <a:schemeClr val="tx2"/>
          </a:solidFill>
          <a:latin typeface="Arial" charset="0"/>
        </a:defRPr>
      </a:lvl7pPr>
      <a:lvl8pPr marL="1398999" algn="l" defTabSz="913235" rtl="0" eaLnBrk="1" fontAlgn="base" hangingPunct="1">
        <a:spcBef>
          <a:spcPct val="0"/>
        </a:spcBef>
        <a:spcAft>
          <a:spcPct val="0"/>
        </a:spcAft>
        <a:defRPr sz="1900" b="1">
          <a:solidFill>
            <a:schemeClr val="tx2"/>
          </a:solidFill>
          <a:latin typeface="Arial" charset="0"/>
        </a:defRPr>
      </a:lvl8pPr>
      <a:lvl9pPr marL="1865332" algn="l" defTabSz="913235" rtl="0" eaLnBrk="1" fontAlgn="base" hangingPunct="1">
        <a:spcBef>
          <a:spcPct val="0"/>
        </a:spcBef>
        <a:spcAft>
          <a:spcPct val="0"/>
        </a:spcAft>
        <a:defRPr sz="1900" b="1">
          <a:solidFill>
            <a:schemeClr val="tx2"/>
          </a:solidFill>
          <a:latin typeface="Arial" charset="0"/>
        </a:defRPr>
      </a:lvl9pPr>
    </p:titleStyle>
    <p:bodyStyle>
      <a:lvl1pPr marL="0" indent="0" algn="l" defTabSz="91323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665" rtl="0" eaLnBrk="1" latinLnBrk="0" hangingPunct="1">
        <a:defRPr sz="1800" kern="1200">
          <a:solidFill>
            <a:schemeClr val="tx1"/>
          </a:solidFill>
          <a:latin typeface="+mn-lt"/>
          <a:ea typeface="+mn-ea"/>
          <a:cs typeface="+mn-cs"/>
        </a:defRPr>
      </a:lvl1pPr>
      <a:lvl2pPr marL="466331" algn="l" defTabSz="932665" rtl="0" eaLnBrk="1" latinLnBrk="0" hangingPunct="1">
        <a:defRPr sz="1800" kern="1200">
          <a:solidFill>
            <a:schemeClr val="tx1"/>
          </a:solidFill>
          <a:latin typeface="+mn-lt"/>
          <a:ea typeface="+mn-ea"/>
          <a:cs typeface="+mn-cs"/>
        </a:defRPr>
      </a:lvl2pPr>
      <a:lvl3pPr marL="932665" algn="l" defTabSz="932665" rtl="0" eaLnBrk="1" latinLnBrk="0" hangingPunct="1">
        <a:defRPr sz="1800" kern="1200">
          <a:solidFill>
            <a:schemeClr val="tx1"/>
          </a:solidFill>
          <a:latin typeface="+mn-lt"/>
          <a:ea typeface="+mn-ea"/>
          <a:cs typeface="+mn-cs"/>
        </a:defRPr>
      </a:lvl3pPr>
      <a:lvl4pPr marL="1398999" algn="l" defTabSz="932665" rtl="0" eaLnBrk="1" latinLnBrk="0" hangingPunct="1">
        <a:defRPr sz="1800" kern="1200">
          <a:solidFill>
            <a:schemeClr val="tx1"/>
          </a:solidFill>
          <a:latin typeface="+mn-lt"/>
          <a:ea typeface="+mn-ea"/>
          <a:cs typeface="+mn-cs"/>
        </a:defRPr>
      </a:lvl4pPr>
      <a:lvl5pPr marL="1865332" algn="l" defTabSz="932665" rtl="0" eaLnBrk="1" latinLnBrk="0" hangingPunct="1">
        <a:defRPr sz="1800" kern="1200">
          <a:solidFill>
            <a:schemeClr val="tx1"/>
          </a:solidFill>
          <a:latin typeface="+mn-lt"/>
          <a:ea typeface="+mn-ea"/>
          <a:cs typeface="+mn-cs"/>
        </a:defRPr>
      </a:lvl5pPr>
      <a:lvl6pPr marL="2331665" algn="l" defTabSz="932665" rtl="0" eaLnBrk="1" latinLnBrk="0" hangingPunct="1">
        <a:defRPr sz="1800" kern="1200">
          <a:solidFill>
            <a:schemeClr val="tx1"/>
          </a:solidFill>
          <a:latin typeface="+mn-lt"/>
          <a:ea typeface="+mn-ea"/>
          <a:cs typeface="+mn-cs"/>
        </a:defRPr>
      </a:lvl6pPr>
      <a:lvl7pPr marL="2797996" algn="l" defTabSz="932665" rtl="0" eaLnBrk="1" latinLnBrk="0" hangingPunct="1">
        <a:defRPr sz="1800" kern="1200">
          <a:solidFill>
            <a:schemeClr val="tx1"/>
          </a:solidFill>
          <a:latin typeface="+mn-lt"/>
          <a:ea typeface="+mn-ea"/>
          <a:cs typeface="+mn-cs"/>
        </a:defRPr>
      </a:lvl7pPr>
      <a:lvl8pPr marL="3264329" algn="l" defTabSz="932665" rtl="0" eaLnBrk="1" latinLnBrk="0" hangingPunct="1">
        <a:defRPr sz="1800" kern="1200">
          <a:solidFill>
            <a:schemeClr val="tx1"/>
          </a:solidFill>
          <a:latin typeface="+mn-lt"/>
          <a:ea typeface="+mn-ea"/>
          <a:cs typeface="+mn-cs"/>
        </a:defRPr>
      </a:lvl8pPr>
      <a:lvl9pPr marL="3730663" algn="l" defTabSz="9326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1.xml"/><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2.xml"/><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3.xml"/><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chart" Target="../charts/chart17.xml"/></Relationships>
</file>

<file path=ppt/slides/_rels/slide18.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20.xml"/><Relationship Id="rId4"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package" Target="../embeddings/Feuille_Microsoft_Office_Excel20.xlsx"/><Relationship Id="rId5" Type="http://schemas.openxmlformats.org/officeDocument/2006/relationships/oleObject" Target="../embeddings/oleObject9.bin"/><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oleObject" Target="../embeddings/oleObject10.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oleObject" Target="../embeddings/oleObject12.bin"/><Relationship Id="rId4"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vmlDrawing" Target="../drawings/vmlDrawing12.vml"/><Relationship Id="rId5" Type="http://schemas.openxmlformats.org/officeDocument/2006/relationships/oleObject" Target="../embeddings/oleObject13.bin"/><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oleObject" Target="../embeddings/oleObject14.bin"/><Relationship Id="rId5" Type="http://schemas.openxmlformats.org/officeDocument/2006/relationships/notesSlide" Target="../notesSlides/notesSlide28.xml"/><Relationship Id="rId4"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oleObject" Target="../embeddings/oleObject15.bin"/><Relationship Id="rId5" Type="http://schemas.openxmlformats.org/officeDocument/2006/relationships/notesSlide" Target="../notesSlides/notesSlide29.xml"/><Relationship Id="rId4"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5.vml"/><Relationship Id="rId6" Type="http://schemas.openxmlformats.org/officeDocument/2006/relationships/oleObject" Target="../embeddings/oleObject16.bin"/><Relationship Id="rId5" Type="http://schemas.openxmlformats.org/officeDocument/2006/relationships/notesSlide" Target="../notesSlides/notesSlide30.xml"/><Relationship Id="rId4"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6.vml"/><Relationship Id="rId6" Type="http://schemas.openxmlformats.org/officeDocument/2006/relationships/oleObject" Target="../embeddings/oleObject17.bin"/><Relationship Id="rId5" Type="http://schemas.openxmlformats.org/officeDocument/2006/relationships/notesSlide" Target="../notesSlides/notesSlide31.xml"/><Relationship Id="rId4"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7.vml"/><Relationship Id="rId6" Type="http://schemas.openxmlformats.org/officeDocument/2006/relationships/oleObject" Target="../embeddings/oleObject18.bin"/><Relationship Id="rId5" Type="http://schemas.openxmlformats.org/officeDocument/2006/relationships/notesSlide" Target="../notesSlides/notesSlide32.xml"/><Relationship Id="rId4"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8.vml"/><Relationship Id="rId6" Type="http://schemas.openxmlformats.org/officeDocument/2006/relationships/oleObject" Target="../embeddings/oleObject19.bin"/><Relationship Id="rId5" Type="http://schemas.openxmlformats.org/officeDocument/2006/relationships/notesSlide" Target="../notesSlides/notesSlide33.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chart" Target="../charts/chart4.xml"/></Relationships>
</file>

<file path=ppt/slides/_rels/slide40.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9.vml"/><Relationship Id="rId6" Type="http://schemas.openxmlformats.org/officeDocument/2006/relationships/oleObject" Target="../embeddings/oleObject20.bin"/><Relationship Id="rId5" Type="http://schemas.openxmlformats.org/officeDocument/2006/relationships/notesSlide" Target="../notesSlides/notesSlide34.xml"/><Relationship Id="rId4"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20.vml"/><Relationship Id="rId6" Type="http://schemas.openxmlformats.org/officeDocument/2006/relationships/oleObject" Target="../embeddings/oleObject21.bin"/><Relationship Id="rId5" Type="http://schemas.openxmlformats.org/officeDocument/2006/relationships/notesSlide" Target="../notesSlides/notesSlide35.xml"/><Relationship Id="rId4"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21.vml"/><Relationship Id="rId6" Type="http://schemas.openxmlformats.org/officeDocument/2006/relationships/oleObject" Target="../embeddings/oleObject22.bin"/><Relationship Id="rId5" Type="http://schemas.openxmlformats.org/officeDocument/2006/relationships/notesSlide" Target="../notesSlides/notesSlide36.xml"/><Relationship Id="rId4"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6.xml"/><Relationship Id="rId1" Type="http://schemas.openxmlformats.org/officeDocument/2006/relationships/vmlDrawing" Target="../drawings/vmlDrawing22.vml"/><Relationship Id="rId5" Type="http://schemas.openxmlformats.org/officeDocument/2006/relationships/oleObject" Target="../embeddings/oleObject23.bin"/><Relationship Id="rId4" Type="http://schemas.openxmlformats.org/officeDocument/2006/relationships/notesSlide" Target="../notesSlides/notesSlide37.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7.xml"/><Relationship Id="rId1" Type="http://schemas.openxmlformats.org/officeDocument/2006/relationships/vmlDrawing" Target="../drawings/vmlDrawing23.vml"/><Relationship Id="rId5" Type="http://schemas.openxmlformats.org/officeDocument/2006/relationships/oleObject" Target="../embeddings/oleObject24.bin"/><Relationship Id="rId4" Type="http://schemas.openxmlformats.org/officeDocument/2006/relationships/notesSlide" Target="../notesSlides/notesSlide38.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8.xml"/><Relationship Id="rId1" Type="http://schemas.openxmlformats.org/officeDocument/2006/relationships/vmlDrawing" Target="../drawings/vmlDrawing24.vml"/><Relationship Id="rId5" Type="http://schemas.openxmlformats.org/officeDocument/2006/relationships/oleObject" Target="../embeddings/oleObject25.bin"/><Relationship Id="rId4" Type="http://schemas.openxmlformats.org/officeDocument/2006/relationships/notesSlide" Target="../notesSlides/notesSlide39.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9.xml"/><Relationship Id="rId1" Type="http://schemas.openxmlformats.org/officeDocument/2006/relationships/vmlDrawing" Target="../drawings/vmlDrawing25.vml"/><Relationship Id="rId5" Type="http://schemas.openxmlformats.org/officeDocument/2006/relationships/oleObject" Target="../embeddings/oleObject26.bin"/><Relationship Id="rId4" Type="http://schemas.openxmlformats.org/officeDocument/2006/relationships/notesSlide" Target="../notesSlides/notesSlide40.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0.xml"/><Relationship Id="rId1" Type="http://schemas.openxmlformats.org/officeDocument/2006/relationships/vmlDrawing" Target="../drawings/vmlDrawing26.vml"/><Relationship Id="rId5" Type="http://schemas.openxmlformats.org/officeDocument/2006/relationships/oleObject" Target="../embeddings/oleObject27.bin"/><Relationship Id="rId4" Type="http://schemas.openxmlformats.org/officeDocument/2006/relationships/notesSlide" Target="../notesSlides/notesSlide41.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1.xml"/><Relationship Id="rId1" Type="http://schemas.openxmlformats.org/officeDocument/2006/relationships/vmlDrawing" Target="../drawings/vmlDrawing27.vml"/><Relationship Id="rId5" Type="http://schemas.openxmlformats.org/officeDocument/2006/relationships/oleObject" Target="../embeddings/oleObject28.bin"/><Relationship Id="rId4" Type="http://schemas.openxmlformats.org/officeDocument/2006/relationships/notesSlide" Target="../notesSlides/notesSlide42.xml"/></Relationships>
</file>

<file path=ppt/slides/_rels/slide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26" Type="http://schemas.openxmlformats.org/officeDocument/2006/relationships/tags" Target="../tags/tag67.xml"/><Relationship Id="rId39" Type="http://schemas.openxmlformats.org/officeDocument/2006/relationships/tags" Target="../tags/tag80.xml"/><Relationship Id="rId3" Type="http://schemas.openxmlformats.org/officeDocument/2006/relationships/tags" Target="../tags/tag44.xml"/><Relationship Id="rId21" Type="http://schemas.openxmlformats.org/officeDocument/2006/relationships/tags" Target="../tags/tag62.xml"/><Relationship Id="rId34" Type="http://schemas.openxmlformats.org/officeDocument/2006/relationships/tags" Target="../tags/tag75.xml"/><Relationship Id="rId42" Type="http://schemas.openxmlformats.org/officeDocument/2006/relationships/tags" Target="../tags/tag83.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5" Type="http://schemas.openxmlformats.org/officeDocument/2006/relationships/tags" Target="../tags/tag66.xml"/><Relationship Id="rId33" Type="http://schemas.openxmlformats.org/officeDocument/2006/relationships/tags" Target="../tags/tag74.xml"/><Relationship Id="rId38" Type="http://schemas.openxmlformats.org/officeDocument/2006/relationships/tags" Target="../tags/tag79.xm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29" Type="http://schemas.openxmlformats.org/officeDocument/2006/relationships/tags" Target="../tags/tag70.xml"/><Relationship Id="rId41" Type="http://schemas.openxmlformats.org/officeDocument/2006/relationships/tags" Target="../tags/tag82.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tags" Target="../tags/tag65.xml"/><Relationship Id="rId32" Type="http://schemas.openxmlformats.org/officeDocument/2006/relationships/tags" Target="../tags/tag73.xml"/><Relationship Id="rId37" Type="http://schemas.openxmlformats.org/officeDocument/2006/relationships/tags" Target="../tags/tag78.xml"/><Relationship Id="rId40" Type="http://schemas.openxmlformats.org/officeDocument/2006/relationships/tags" Target="../tags/tag81.xml"/><Relationship Id="rId45" Type="http://schemas.openxmlformats.org/officeDocument/2006/relationships/slideLayout" Target="../slideLayouts/slideLayout20.xml"/><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tags" Target="../tags/tag64.xml"/><Relationship Id="rId28" Type="http://schemas.openxmlformats.org/officeDocument/2006/relationships/tags" Target="../tags/tag69.xml"/><Relationship Id="rId36" Type="http://schemas.openxmlformats.org/officeDocument/2006/relationships/tags" Target="../tags/tag77.xml"/><Relationship Id="rId10" Type="http://schemas.openxmlformats.org/officeDocument/2006/relationships/tags" Target="../tags/tag51.xml"/><Relationship Id="rId19" Type="http://schemas.openxmlformats.org/officeDocument/2006/relationships/tags" Target="../tags/tag60.xml"/><Relationship Id="rId31" Type="http://schemas.openxmlformats.org/officeDocument/2006/relationships/tags" Target="../tags/tag72.xml"/><Relationship Id="rId44" Type="http://schemas.openxmlformats.org/officeDocument/2006/relationships/tags" Target="../tags/tag85.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tags" Target="../tags/tag63.xml"/><Relationship Id="rId27" Type="http://schemas.openxmlformats.org/officeDocument/2006/relationships/tags" Target="../tags/tag68.xml"/><Relationship Id="rId30" Type="http://schemas.openxmlformats.org/officeDocument/2006/relationships/tags" Target="../tags/tag71.xml"/><Relationship Id="rId35" Type="http://schemas.openxmlformats.org/officeDocument/2006/relationships/tags" Target="../tags/tag76.xml"/><Relationship Id="rId43" Type="http://schemas.openxmlformats.org/officeDocument/2006/relationships/tags" Target="../tags/tag8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8.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86.xml"/><Relationship Id="rId1" Type="http://schemas.openxmlformats.org/officeDocument/2006/relationships/vmlDrawing" Target="../drawings/vmlDrawing28.vml"/><Relationship Id="rId4" Type="http://schemas.openxmlformats.org/officeDocument/2006/relationships/oleObject" Target="../embeddings/oleObject29.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8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88.xml"/><Relationship Id="rId1" Type="http://schemas.openxmlformats.org/officeDocument/2006/relationships/vmlDrawing" Target="../drawings/vmlDrawing30.vml"/><Relationship Id="rId4" Type="http://schemas.openxmlformats.org/officeDocument/2006/relationships/oleObject" Target="../embeddings/oleObject31.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89.xml"/><Relationship Id="rId1" Type="http://schemas.openxmlformats.org/officeDocument/2006/relationships/vmlDrawing" Target="../drawings/vmlDrawing31.vml"/><Relationship Id="rId4" Type="http://schemas.openxmlformats.org/officeDocument/2006/relationships/oleObject" Target="../embeddings/oleObject32.bin"/></Relationships>
</file>

<file path=ppt/slides/_rels/slide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90.xml"/><Relationship Id="rId1" Type="http://schemas.openxmlformats.org/officeDocument/2006/relationships/vmlDrawing" Target="../drawings/vmlDrawing32.vml"/><Relationship Id="rId4" Type="http://schemas.openxmlformats.org/officeDocument/2006/relationships/oleObject" Target="../embeddings/oleObject33.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91.xml"/><Relationship Id="rId1" Type="http://schemas.openxmlformats.org/officeDocument/2006/relationships/vmlDrawing" Target="../drawings/vmlDrawing33.vml"/><Relationship Id="rId4" Type="http://schemas.openxmlformats.org/officeDocument/2006/relationships/oleObject" Target="../embeddings/oleObject34.bin"/></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92.xml"/><Relationship Id="rId1" Type="http://schemas.openxmlformats.org/officeDocument/2006/relationships/vmlDrawing" Target="../drawings/vmlDrawing34.vml"/><Relationship Id="rId5" Type="http://schemas.openxmlformats.org/officeDocument/2006/relationships/oleObject" Target="../embeddings/oleObject35.bin"/><Relationship Id="rId4" Type="http://schemas.openxmlformats.org/officeDocument/2006/relationships/notesSlide" Target="../notesSlides/notesSlide46.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93.xml"/><Relationship Id="rId1" Type="http://schemas.openxmlformats.org/officeDocument/2006/relationships/vmlDrawing" Target="../drawings/vmlDrawing35.vml"/><Relationship Id="rId5" Type="http://schemas.openxmlformats.org/officeDocument/2006/relationships/oleObject" Target="../embeddings/oleObject36.bin"/><Relationship Id="rId4" Type="http://schemas.openxmlformats.org/officeDocument/2006/relationships/notesSlide" Target="../notesSlides/notesSlide4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94.xml"/><Relationship Id="rId1" Type="http://schemas.openxmlformats.org/officeDocument/2006/relationships/vmlDrawing" Target="../drawings/vmlDrawing36.vml"/><Relationship Id="rId4" Type="http://schemas.openxmlformats.org/officeDocument/2006/relationships/oleObject" Target="../embeddings/oleObject37.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95.xml"/><Relationship Id="rId1" Type="http://schemas.openxmlformats.org/officeDocument/2006/relationships/vmlDrawing" Target="../drawings/vmlDrawing37.vml"/><Relationship Id="rId4" Type="http://schemas.openxmlformats.org/officeDocument/2006/relationships/oleObject" Target="../embeddings/oleObject38.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96.xml"/><Relationship Id="rId1" Type="http://schemas.openxmlformats.org/officeDocument/2006/relationships/vmlDrawing" Target="../drawings/vmlDrawing38.vml"/><Relationship Id="rId4" Type="http://schemas.openxmlformats.org/officeDocument/2006/relationships/oleObject" Target="../embeddings/oleObject39.bin"/></Relationships>
</file>

<file path=ppt/slides/_rels/slide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chart" Target="../charts/chart8.xml"/></Relationships>
</file>

<file path=ppt/slides/_rels/slide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chart" Target="../charts/chart10.xml"/></Relationships>
</file>

<file path=ppt/slides/_rels/slide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3"/>
            </p:custDataLst>
          </p:nvPr>
        </p:nvGraphicFramePr>
        <p:xfrm>
          <a:off x="1589" y="1590"/>
          <a:ext cx="1587" cy="1587"/>
        </p:xfrm>
        <a:graphic>
          <a:graphicData uri="http://schemas.openxmlformats.org/presentationml/2006/ole">
            <p:oleObj spid="_x0000_s112879" name="think-cell Slide" r:id="rId6" imgW="360" imgH="360" progId="">
              <p:embed/>
            </p:oleObj>
          </a:graphicData>
        </a:graphic>
      </p:graphicFrame>
      <p:sp>
        <p:nvSpPr>
          <p:cNvPr id="11" name="Subtitle 10"/>
          <p:cNvSpPr>
            <a:spLocks noGrp="1"/>
          </p:cNvSpPr>
          <p:nvPr>
            <p:ph type="subTitle" idx="1"/>
          </p:nvPr>
        </p:nvSpPr>
        <p:spPr>
          <a:xfrm>
            <a:off x="943897" y="3303639"/>
            <a:ext cx="7157884" cy="1386348"/>
          </a:xfrm>
        </p:spPr>
        <p:txBody>
          <a:bodyPr>
            <a:noAutofit/>
          </a:bodyPr>
          <a:lstStyle/>
          <a:p>
            <a:pPr>
              <a:lnSpc>
                <a:spcPct val="150000"/>
              </a:lnSpc>
            </a:pPr>
            <a:r>
              <a:rPr lang="ar-TN" sz="4500" dirty="0" smtClean="0">
                <a:latin typeface="Sakkal Majalla" pitchFamily="2" charset="-78"/>
                <a:cs typeface="Sakkal Majalla" pitchFamily="2" charset="-78"/>
              </a:rPr>
              <a:t>مشروع الميزان الاقتصادي لسنة </a:t>
            </a:r>
            <a:r>
              <a:rPr lang="fr-FR" sz="4500" dirty="0" smtClean="0">
                <a:latin typeface="Sakkal Majalla" pitchFamily="2" charset="-78"/>
                <a:cs typeface="Sakkal Majalla" pitchFamily="2" charset="-78"/>
              </a:rPr>
              <a:t>2020</a:t>
            </a:r>
            <a:endParaRPr lang="ar-TN" sz="4500" dirty="0" smtClean="0">
              <a:latin typeface="Sakkal Majalla" pitchFamily="2" charset="-78"/>
              <a:cs typeface="Sakkal Majalla" pitchFamily="2" charset="-78"/>
            </a:endParaRPr>
          </a:p>
          <a:p>
            <a:pPr>
              <a:lnSpc>
                <a:spcPct val="200000"/>
              </a:lnSpc>
            </a:pPr>
            <a:endParaRPr lang="en-US" sz="4500" dirty="0">
              <a:latin typeface="Sakkal Majalla" pitchFamily="2" charset="-78"/>
              <a:cs typeface="Sakkal Majalla" pitchFamily="2" charset="-78"/>
            </a:endParaRPr>
          </a:p>
        </p:txBody>
      </p:sp>
      <p:sp>
        <p:nvSpPr>
          <p:cNvPr id="6146" name="FilePath" hidden="1"/>
          <p:cNvSpPr txBox="1">
            <a:spLocks noChangeArrowheads="1"/>
          </p:cNvSpPr>
          <p:nvPr/>
        </p:nvSpPr>
        <p:spPr bwMode="auto">
          <a:xfrm>
            <a:off x="4103079" y="127002"/>
            <a:ext cx="4689231" cy="202235"/>
          </a:xfrm>
          <a:prstGeom prst="rect">
            <a:avLst/>
          </a:prstGeom>
          <a:noFill/>
          <a:ln w="9525">
            <a:noFill/>
            <a:miter lim="800000"/>
            <a:headEnd/>
            <a:tailEnd/>
          </a:ln>
        </p:spPr>
        <p:txBody>
          <a:bodyPr lIns="91420" tIns="45711" rIns="91420" bIns="45711">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700" b="0" i="0" u="none" strike="noStrike" kern="1200" cap="none" spc="0" normalizeH="0" baseline="0" noProof="0" dirty="0">
                <a:ln>
                  <a:noFill/>
                </a:ln>
                <a:solidFill>
                  <a:srgbClr val="BEBEBE"/>
                </a:solidFill>
                <a:effectLst/>
                <a:uLnTx/>
                <a:uFillTx/>
                <a:latin typeface="Arial" charset="0"/>
                <a:ea typeface="+mn-ea"/>
                <a:cs typeface="Arial" charset="0"/>
              </a:rPr>
              <a:t>G:\1022_TEMELIN_11264\03 Presentations\120118 Kick-off\2012 01 26 </a:t>
            </a:r>
            <a:r>
              <a:rPr kumimoji="0" lang="en-GB" sz="700" b="0" i="0" u="none" strike="noStrike" kern="1200" cap="none" spc="0" normalizeH="0" baseline="0" noProof="0" dirty="0" err="1">
                <a:ln>
                  <a:noFill/>
                </a:ln>
                <a:solidFill>
                  <a:srgbClr val="BEBEBE"/>
                </a:solidFill>
                <a:effectLst/>
                <a:uLnTx/>
                <a:uFillTx/>
                <a:latin typeface="Arial" charset="0"/>
                <a:ea typeface="+mn-ea"/>
                <a:cs typeface="Arial" charset="0"/>
              </a:rPr>
              <a:t>Temelin</a:t>
            </a:r>
            <a:r>
              <a:rPr kumimoji="0" lang="en-GB" sz="700" b="0" i="0" u="none" strike="noStrike" kern="1200" cap="none" spc="0" normalizeH="0" baseline="0" noProof="0" dirty="0">
                <a:ln>
                  <a:noFill/>
                </a:ln>
                <a:solidFill>
                  <a:srgbClr val="BEBEBE"/>
                </a:solidFill>
                <a:effectLst/>
                <a:uLnTx/>
                <a:uFillTx/>
                <a:latin typeface="Arial" charset="0"/>
                <a:ea typeface="+mn-ea"/>
                <a:cs typeface="Arial" charset="0"/>
              </a:rPr>
              <a:t> - kick-off_v6.ppt</a:t>
            </a:r>
          </a:p>
        </p:txBody>
      </p:sp>
      <p:sp>
        <p:nvSpPr>
          <p:cNvPr id="15" name="Rectangle 14"/>
          <p:cNvSpPr/>
          <p:nvPr/>
        </p:nvSpPr>
        <p:spPr>
          <a:xfrm>
            <a:off x="3925974" y="5637276"/>
            <a:ext cx="1487867" cy="369314"/>
          </a:xfrm>
          <a:prstGeom prst="rect">
            <a:avLst/>
          </a:prstGeom>
        </p:spPr>
        <p:txBody>
          <a:bodyPr wrap="none" lIns="91420" tIns="45711" rIns="91420" bIns="45711">
            <a:spAutoFit/>
          </a:bodyPr>
          <a:lstStyle/>
          <a:p>
            <a:pPr marL="0" marR="0" lvl="0" indent="0" algn="ctr" defTabSz="914400" rtl="1" eaLnBrk="1" fontAlgn="base" latinLnBrk="0" hangingPunct="1">
              <a:lnSpc>
                <a:spcPct val="100000"/>
              </a:lnSpc>
              <a:spcBef>
                <a:spcPct val="0"/>
              </a:spcBef>
              <a:spcAft>
                <a:spcPct val="0"/>
              </a:spcAft>
              <a:buClrTx/>
              <a:buSzTx/>
              <a:buFontTx/>
              <a:buNone/>
              <a:tabLst/>
              <a:defRPr/>
            </a:pPr>
            <a:r>
              <a:rPr lang="fr-FR" b="1" dirty="0" smtClean="0">
                <a:solidFill>
                  <a:srgbClr val="000000"/>
                </a:solidFill>
                <a:latin typeface="Times New Roman" pitchFamily="18" charset="0"/>
                <a:ea typeface="+mn-ea"/>
                <a:cs typeface="Times New Roman" pitchFamily="18" charset="0"/>
              </a:rPr>
              <a:t>22</a:t>
            </a:r>
            <a:r>
              <a:rPr lang="ar-TN" b="1" dirty="0" smtClean="0">
                <a:solidFill>
                  <a:srgbClr val="000000"/>
                </a:solidFill>
                <a:latin typeface="Times New Roman" pitchFamily="18" charset="0"/>
                <a:ea typeface="+mn-ea"/>
                <a:cs typeface="Times New Roman" pitchFamily="18" charset="0"/>
              </a:rPr>
              <a:t> نوفمبر </a:t>
            </a:r>
            <a:r>
              <a:rPr kumimoji="0" lang="ar-TN" sz="1800" b="1" i="0" u="none" strike="noStrike" kern="1200" cap="none" spc="0" normalizeH="0" baseline="0" noProof="0" dirty="0" smtClean="0">
                <a:ln>
                  <a:noFill/>
                </a:ln>
                <a:solidFill>
                  <a:srgbClr val="000000"/>
                </a:solidFill>
                <a:effectLst/>
                <a:uLnTx/>
                <a:uFillTx/>
                <a:latin typeface="Times New Roman" pitchFamily="18" charset="0"/>
                <a:ea typeface="+mn-ea"/>
                <a:cs typeface="Times New Roman" pitchFamily="18" charset="0"/>
              </a:rPr>
              <a:t>2019</a:t>
            </a:r>
            <a:endParaRPr kumimoji="0" lang="ar-TN" sz="1600" b="1" i="0" u="none" strike="noStrike" kern="1200" cap="none" spc="0" normalizeH="0" baseline="0" noProof="0" dirty="0" smtClean="0">
              <a:ln>
                <a:noFill/>
              </a:ln>
              <a:solidFill>
                <a:srgbClr val="000000"/>
              </a:solidFill>
              <a:effectLst/>
              <a:uLnTx/>
              <a:uFillTx/>
              <a:latin typeface="Times New Roman" pitchFamily="18" charset="0"/>
              <a:ea typeface="+mn-ea"/>
              <a:cs typeface="Times New Roman" pitchFamily="18" charset="0"/>
            </a:endParaRPr>
          </a:p>
        </p:txBody>
      </p:sp>
    </p:spTree>
    <p:custDataLst>
      <p:tags r:id="rId2"/>
    </p:custDataLst>
    <p:extLst>
      <p:ext uri="{BB962C8B-B14F-4D97-AF65-F5344CB8AC3E}">
        <p14:creationId xmlns:p14="http://schemas.microsoft.com/office/powerpoint/2010/main" xmlns="" val="35724911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0" y="174923"/>
            <a:ext cx="9144000" cy="707886"/>
          </a:xfrm>
          <a:prstGeom prst="rect">
            <a:avLst/>
          </a:prstGeom>
          <a:noFill/>
        </p:spPr>
        <p:txBody>
          <a:bodyPr wrap="square" rtlCol="0">
            <a:spAutoFit/>
          </a:bodyPr>
          <a:lstStyle/>
          <a:p>
            <a:pPr algn="r"/>
            <a:r>
              <a:rPr lang="ar-TN" sz="2200" b="1" dirty="0" smtClean="0">
                <a:solidFill>
                  <a:srgbClr val="E51B2E"/>
                </a:solidFill>
                <a:latin typeface="Simplified Arabic" pitchFamily="18" charset="-78"/>
                <a:cs typeface="Simplified Arabic" pitchFamily="18" charset="-78"/>
              </a:rPr>
              <a:t>الظرف الاقتصادي الوطني</a:t>
            </a:r>
            <a:endParaRPr lang="ar-TN" b="1" dirty="0" smtClean="0">
              <a:solidFill>
                <a:srgbClr val="E51B2E"/>
              </a:solidFill>
              <a:latin typeface="Simplified Arabic" pitchFamily="18" charset="-78"/>
              <a:cs typeface="Simplified Arabic" pitchFamily="18" charset="-78"/>
            </a:endParaRPr>
          </a:p>
          <a:p>
            <a:r>
              <a:rPr lang="ar-TN" b="1" dirty="0" smtClean="0">
                <a:latin typeface="Simplified Arabic" pitchFamily="18" charset="-78"/>
                <a:cs typeface="Simplified Arabic" pitchFamily="18" charset="-78"/>
              </a:rPr>
              <a:t>تحسّن نسبي لإنتاج </a:t>
            </a:r>
            <a:r>
              <a:rPr lang="ar-TN" b="1" dirty="0" err="1" smtClean="0">
                <a:latin typeface="Simplified Arabic" pitchFamily="18" charset="-78"/>
                <a:cs typeface="Simplified Arabic" pitchFamily="18" charset="-78"/>
              </a:rPr>
              <a:t>الفسفاط</a:t>
            </a:r>
            <a:r>
              <a:rPr lang="ar-TN" b="1" dirty="0" smtClean="0">
                <a:latin typeface="Simplified Arabic" pitchFamily="18" charset="-78"/>
                <a:cs typeface="Simplified Arabic" pitchFamily="18" charset="-78"/>
              </a:rPr>
              <a:t>  </a:t>
            </a:r>
            <a:endParaRPr lang="fr-FR" b="1" dirty="0">
              <a:latin typeface="Simplified Arabic" pitchFamily="18" charset="-78"/>
              <a:cs typeface="Simplified Arabic" pitchFamily="18" charset="-78"/>
            </a:endParaRPr>
          </a:p>
        </p:txBody>
      </p:sp>
      <p:sp>
        <p:nvSpPr>
          <p:cNvPr id="14" name="Rectangle à coins arrondis 13"/>
          <p:cNvSpPr/>
          <p:nvPr/>
        </p:nvSpPr>
        <p:spPr>
          <a:xfrm>
            <a:off x="690113" y="4623758"/>
            <a:ext cx="7696505" cy="1345722"/>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4806" lvl="1" indent="-285750" algn="just" rtl="1">
              <a:lnSpc>
                <a:spcPct val="150000"/>
              </a:lnSpc>
              <a:spcAft>
                <a:spcPts val="450"/>
              </a:spcAft>
              <a:buClr>
                <a:srgbClr val="00B050"/>
              </a:buClr>
              <a:buSzPct val="80000"/>
              <a:buFont typeface="Arial" panose="020B0604020202020204" pitchFamily="34" charset="0"/>
              <a:buChar char="•"/>
            </a:pPr>
            <a:r>
              <a:rPr lang="ar-TN" b="1" dirty="0" smtClean="0">
                <a:solidFill>
                  <a:schemeClr val="tx1"/>
                </a:solidFill>
                <a:latin typeface="Simplified Arabic" panose="02020603050405020304" pitchFamily="18" charset="-78"/>
                <a:cs typeface="Simplified Arabic" panose="02020603050405020304" pitchFamily="18" charset="-78"/>
              </a:rPr>
              <a:t>تحسّن نسبي لإنتاج </a:t>
            </a:r>
            <a:r>
              <a:rPr lang="ar-TN" b="1" dirty="0" err="1" smtClean="0">
                <a:solidFill>
                  <a:schemeClr val="tx1"/>
                </a:solidFill>
                <a:latin typeface="Simplified Arabic" panose="02020603050405020304" pitchFamily="18" charset="-78"/>
                <a:cs typeface="Simplified Arabic" panose="02020603050405020304" pitchFamily="18" charset="-78"/>
              </a:rPr>
              <a:t>الفسفاط</a:t>
            </a:r>
            <a:r>
              <a:rPr lang="ar-TN" b="1" dirty="0" smtClean="0">
                <a:solidFill>
                  <a:schemeClr val="tx1"/>
                </a:solidFill>
                <a:latin typeface="Simplified Arabic" panose="02020603050405020304" pitchFamily="18" charset="-78"/>
                <a:cs typeface="Simplified Arabic" panose="02020603050405020304" pitchFamily="18" charset="-78"/>
              </a:rPr>
              <a:t> بالرغم من:</a:t>
            </a:r>
          </a:p>
          <a:p>
            <a:pPr marL="630238" lvl="1" indent="-285750" algn="just" rtl="1">
              <a:lnSpc>
                <a:spcPct val="150000"/>
              </a:lnSpc>
              <a:spcAft>
                <a:spcPts val="450"/>
              </a:spcAft>
              <a:buClr>
                <a:srgbClr val="C00000"/>
              </a:buClr>
              <a:buSzPct val="80000"/>
              <a:buFont typeface="Symbol" panose="05050102010706020507" pitchFamily="18" charset="2"/>
              <a:buChar char=""/>
            </a:pPr>
            <a:r>
              <a:rPr lang="ar-TN" b="1" spc="-70" dirty="0">
                <a:solidFill>
                  <a:schemeClr val="tx1"/>
                </a:solidFill>
                <a:latin typeface="Simplified Arabic" panose="02020603050405020304" pitchFamily="18" charset="-78"/>
                <a:cs typeface="Simplified Arabic" panose="02020603050405020304" pitchFamily="18" charset="-78"/>
              </a:rPr>
              <a:t>عدم</a:t>
            </a:r>
            <a:r>
              <a:rPr lang="ar-TN" b="1" dirty="0" smtClean="0">
                <a:solidFill>
                  <a:schemeClr val="tx1"/>
                </a:solidFill>
                <a:latin typeface="Simplified Arabic" panose="02020603050405020304" pitchFamily="18" charset="-78"/>
                <a:cs typeface="Simplified Arabic" panose="02020603050405020304" pitchFamily="18" charset="-78"/>
              </a:rPr>
              <a:t> </a:t>
            </a:r>
            <a:r>
              <a:rPr lang="ar-TN" b="1" dirty="0">
                <a:solidFill>
                  <a:schemeClr val="tx1"/>
                </a:solidFill>
                <a:latin typeface="Simplified Arabic" panose="02020603050405020304" pitchFamily="18" charset="-78"/>
                <a:cs typeface="Simplified Arabic" panose="02020603050405020304" pitchFamily="18" charset="-78"/>
              </a:rPr>
              <a:t>انتظام انتاج قطاع </a:t>
            </a:r>
            <a:r>
              <a:rPr lang="ar-TN" b="1" dirty="0" err="1">
                <a:solidFill>
                  <a:schemeClr val="tx1"/>
                </a:solidFill>
                <a:latin typeface="Simplified Arabic" panose="02020603050405020304" pitchFamily="18" charset="-78"/>
                <a:cs typeface="Simplified Arabic" panose="02020603050405020304" pitchFamily="18" charset="-78"/>
              </a:rPr>
              <a:t>الفسفاط</a:t>
            </a:r>
            <a:r>
              <a:rPr lang="ar-TN" b="1" dirty="0">
                <a:solidFill>
                  <a:schemeClr val="tx1"/>
                </a:solidFill>
                <a:latin typeface="Simplified Arabic" panose="02020603050405020304" pitchFamily="18" charset="-78"/>
                <a:cs typeface="Simplified Arabic" panose="02020603050405020304" pitchFamily="18" charset="-78"/>
              </a:rPr>
              <a:t> نتيجة الاضطرابات الاجتماعية</a:t>
            </a:r>
            <a:r>
              <a:rPr lang="fr-FR" b="1" dirty="0">
                <a:solidFill>
                  <a:schemeClr val="tx1"/>
                </a:solidFill>
                <a:latin typeface="Simplified Arabic" panose="02020603050405020304" pitchFamily="18" charset="-78"/>
                <a:cs typeface="Simplified Arabic" panose="02020603050405020304" pitchFamily="18" charset="-78"/>
              </a:rPr>
              <a:t>.</a:t>
            </a:r>
            <a:endParaRPr lang="ar-TN" b="1" dirty="0">
              <a:solidFill>
                <a:schemeClr val="tx1"/>
              </a:solidFill>
              <a:latin typeface="Simplified Arabic" panose="02020603050405020304" pitchFamily="18" charset="-78"/>
              <a:cs typeface="Simplified Arabic" panose="02020603050405020304" pitchFamily="18" charset="-78"/>
            </a:endParaRPr>
          </a:p>
          <a:p>
            <a:pPr marL="630238" lvl="1" indent="-285750" algn="just" rtl="1">
              <a:lnSpc>
                <a:spcPct val="150000"/>
              </a:lnSpc>
              <a:spcAft>
                <a:spcPts val="450"/>
              </a:spcAft>
              <a:buClr>
                <a:srgbClr val="C00000"/>
              </a:buClr>
              <a:buSzPct val="80000"/>
              <a:buFont typeface="Symbol" panose="05050102010706020507" pitchFamily="18" charset="2"/>
              <a:buChar char=""/>
            </a:pPr>
            <a:r>
              <a:rPr lang="ar-TN" b="1" dirty="0">
                <a:solidFill>
                  <a:schemeClr val="tx1"/>
                </a:solidFill>
                <a:latin typeface="Simplified Arabic" panose="02020603050405020304" pitchFamily="18" charset="-78"/>
                <a:cs typeface="Simplified Arabic" panose="02020603050405020304" pitchFamily="18" charset="-78"/>
              </a:rPr>
              <a:t>تأثر كلفة انتاج مشتقات </a:t>
            </a:r>
            <a:r>
              <a:rPr lang="ar-TN" b="1" dirty="0" err="1">
                <a:solidFill>
                  <a:schemeClr val="tx1"/>
                </a:solidFill>
                <a:latin typeface="Simplified Arabic" panose="02020603050405020304" pitchFamily="18" charset="-78"/>
                <a:cs typeface="Simplified Arabic" panose="02020603050405020304" pitchFamily="18" charset="-78"/>
              </a:rPr>
              <a:t>الفسفاط</a:t>
            </a:r>
            <a:r>
              <a:rPr lang="ar-TN" b="1" dirty="0">
                <a:solidFill>
                  <a:schemeClr val="tx1"/>
                </a:solidFill>
                <a:latin typeface="Simplified Arabic" panose="02020603050405020304" pitchFamily="18" charset="-78"/>
                <a:cs typeface="Simplified Arabic" panose="02020603050405020304" pitchFamily="18" charset="-78"/>
              </a:rPr>
              <a:t> بكلفة النقل (الاعتماد على النقل البري بواسطة الشاحنات).</a:t>
            </a:r>
          </a:p>
        </p:txBody>
      </p:sp>
      <p:graphicFrame>
        <p:nvGraphicFramePr>
          <p:cNvPr id="7" name="Graphique 6"/>
          <p:cNvGraphicFramePr>
            <a:graphicFrameLocks/>
          </p:cNvGraphicFramePr>
          <p:nvPr>
            <p:extLst/>
          </p:nvPr>
        </p:nvGraphicFramePr>
        <p:xfrm>
          <a:off x="690112" y="1157299"/>
          <a:ext cx="7696506" cy="33456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5677133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nvPr>
        </p:nvGraphicFramePr>
        <p:xfrm>
          <a:off x="1589" y="1590"/>
          <a:ext cx="1587" cy="1587"/>
        </p:xfrm>
        <a:graphic>
          <a:graphicData uri="http://schemas.openxmlformats.org/presentationml/2006/ole">
            <p:oleObj spid="_x0000_s113879" name="think-cell Slide" r:id="rId6" imgW="360" imgH="360" progId="">
              <p:embed/>
            </p:oleObj>
          </a:graphicData>
        </a:graphic>
      </p:graphicFrame>
      <p:sp>
        <p:nvSpPr>
          <p:cNvPr id="10" name="Text Placeholder 9"/>
          <p:cNvSpPr>
            <a:spLocks noGrp="1"/>
          </p:cNvSpPr>
          <p:nvPr>
            <p:ph type="body" sz="quarter" idx="4294967295"/>
          </p:nvPr>
        </p:nvSpPr>
        <p:spPr>
          <a:xfrm>
            <a:off x="3176" y="176213"/>
            <a:ext cx="8981798" cy="615553"/>
          </a:xfrm>
        </p:spPr>
        <p:txBody>
          <a:bodyPr/>
          <a:lstStyle/>
          <a:p>
            <a:pPr algn="r"/>
            <a:r>
              <a:rPr lang="ar-TN" sz="2200" b="1" dirty="0" smtClean="0">
                <a:solidFill>
                  <a:srgbClr val="E51B2E"/>
                </a:solidFill>
                <a:latin typeface="Simplified Arabic" pitchFamily="18" charset="-78"/>
                <a:ea typeface="ＭＳ Ｐゴシック" pitchFamily="34" charset="-128"/>
                <a:cs typeface="Simplified Arabic" pitchFamily="18" charset="-78"/>
              </a:rPr>
              <a:t>تحيين نتائج سنة </a:t>
            </a:r>
            <a:r>
              <a:rPr lang="ar-TN" sz="2000" b="1" dirty="0" smtClean="0">
                <a:solidFill>
                  <a:srgbClr val="E51B2E"/>
                </a:solidFill>
                <a:latin typeface="Times New Roman" panose="02020603050405020304" pitchFamily="18" charset="0"/>
                <a:ea typeface="ＭＳ Ｐゴシック" pitchFamily="34" charset="-128"/>
                <a:cs typeface="Times New Roman" panose="02020603050405020304" pitchFamily="18" charset="0"/>
              </a:rPr>
              <a:t>2019</a:t>
            </a:r>
            <a:endParaRPr lang="ar-TN" sz="2200" b="1" kern="1200" dirty="0" smtClean="0">
              <a:solidFill>
                <a:srgbClr val="E51B2E"/>
              </a:solidFill>
              <a:latin typeface="Times New Roman" panose="02020603050405020304" pitchFamily="18" charset="0"/>
              <a:ea typeface="ＭＳ Ｐゴシック" pitchFamily="34" charset="-128"/>
              <a:cs typeface="Times New Roman" panose="02020603050405020304" pitchFamily="18" charset="0"/>
            </a:endParaRPr>
          </a:p>
          <a:p>
            <a:pPr algn="l"/>
            <a:r>
              <a:rPr lang="ar-TN" sz="1800" b="1" dirty="0" smtClean="0">
                <a:latin typeface="Simplified Arabic" panose="02020603050405020304" pitchFamily="18" charset="-78"/>
                <a:cs typeface="Simplified Arabic" panose="02020603050405020304" pitchFamily="18" charset="-78"/>
              </a:rPr>
              <a:t>تحيين نسبة النمو لسنة 2019 </a:t>
            </a:r>
            <a:endParaRPr lang="ar-JO" sz="1200" b="1" dirty="0">
              <a:solidFill>
                <a:schemeClr val="tx1"/>
              </a:solidFill>
              <a:latin typeface="Simplified Arabic" panose="02020603050405020304" pitchFamily="18" charset="-78"/>
              <a:cs typeface="Simplified Arabic" panose="02020603050405020304" pitchFamily="18" charset="-78"/>
            </a:endParaRPr>
          </a:p>
        </p:txBody>
      </p:sp>
      <p:sp>
        <p:nvSpPr>
          <p:cNvPr id="9218" name="FilePath" hidden="1"/>
          <p:cNvSpPr txBox="1">
            <a:spLocks noChangeArrowheads="1"/>
          </p:cNvSpPr>
          <p:nvPr/>
        </p:nvSpPr>
        <p:spPr bwMode="auto">
          <a:xfrm>
            <a:off x="4103079" y="127000"/>
            <a:ext cx="4689231" cy="146258"/>
          </a:xfrm>
          <a:prstGeom prst="rect">
            <a:avLst/>
          </a:prstGeom>
          <a:noFill/>
          <a:ln w="3175" algn="ctr">
            <a:noFill/>
            <a:miter lim="800000"/>
            <a:headEnd/>
            <a:tailEnd/>
          </a:ln>
        </p:spPr>
        <p:txBody>
          <a:bodyPr lIns="17996" tIns="17996" rIns="17996" bIns="17996">
            <a:spAutoFit/>
          </a:bodyPr>
          <a:lstStyle/>
          <a:p>
            <a:pPr algn="r"/>
            <a:r>
              <a:rPr lang="en-GB" sz="700" dirty="0">
                <a:solidFill>
                  <a:srgbClr val="BEBEBE"/>
                </a:solidFill>
              </a:rPr>
              <a:t>G:\1022_TEMELIN_11264\03 Presentations\120118 Kick-off\2012 01 26 </a:t>
            </a:r>
            <a:r>
              <a:rPr lang="en-GB" sz="700" dirty="0" err="1">
                <a:solidFill>
                  <a:srgbClr val="BEBEBE"/>
                </a:solidFill>
              </a:rPr>
              <a:t>Temelin</a:t>
            </a:r>
            <a:r>
              <a:rPr lang="en-GB" sz="700" dirty="0">
                <a:solidFill>
                  <a:srgbClr val="BEBEBE"/>
                </a:solidFill>
              </a:rPr>
              <a:t> - kick-off_v6.ppt</a:t>
            </a:r>
          </a:p>
        </p:txBody>
      </p:sp>
      <p:graphicFrame>
        <p:nvGraphicFramePr>
          <p:cNvPr id="25" name="Tableau 24"/>
          <p:cNvGraphicFramePr>
            <a:graphicFrameLocks noGrp="1"/>
          </p:cNvGraphicFramePr>
          <p:nvPr>
            <p:extLst>
              <p:ext uri="{D42A27DB-BD31-4B8C-83A1-F6EECF244321}">
                <p14:modId xmlns:p14="http://schemas.microsoft.com/office/powerpoint/2010/main" xmlns="" val="2184788923"/>
              </p:ext>
            </p:extLst>
          </p:nvPr>
        </p:nvGraphicFramePr>
        <p:xfrm>
          <a:off x="1798127" y="1592245"/>
          <a:ext cx="5883564" cy="2801286"/>
        </p:xfrm>
        <a:graphic>
          <a:graphicData uri="http://schemas.openxmlformats.org/drawingml/2006/table">
            <a:tbl>
              <a:tblPr firstRow="1" bandRow="1">
                <a:tableStyleId>{1FECB4D8-DB02-4DC6-A0A2-4F2EBAE1DC90}</a:tableStyleId>
              </a:tblPr>
              <a:tblGrid>
                <a:gridCol w="1455726">
                  <a:extLst>
                    <a:ext uri="{9D8B030D-6E8A-4147-A177-3AD203B41FA5}">
                      <a16:colId xmlns="" xmlns:a16="http://schemas.microsoft.com/office/drawing/2014/main" val="20000"/>
                    </a:ext>
                  </a:extLst>
                </a:gridCol>
                <a:gridCol w="1455726">
                  <a:extLst>
                    <a:ext uri="{9D8B030D-6E8A-4147-A177-3AD203B41FA5}">
                      <a16:colId xmlns="" xmlns:a16="http://schemas.microsoft.com/office/drawing/2014/main" val="20002"/>
                    </a:ext>
                  </a:extLst>
                </a:gridCol>
                <a:gridCol w="2972112">
                  <a:extLst>
                    <a:ext uri="{9D8B030D-6E8A-4147-A177-3AD203B41FA5}">
                      <a16:colId xmlns="" xmlns:a16="http://schemas.microsoft.com/office/drawing/2014/main" val="20008"/>
                    </a:ext>
                  </a:extLst>
                </a:gridCol>
              </a:tblGrid>
              <a:tr h="393452">
                <a:tc>
                  <a:txBody>
                    <a:bodyPr/>
                    <a:lstStyle/>
                    <a:p>
                      <a:pPr algn="ctr" rtl="1"/>
                      <a:r>
                        <a:rPr lang="ar-TN" sz="1600" b="1" dirty="0" smtClean="0">
                          <a:solidFill>
                            <a:schemeClr val="bg1"/>
                          </a:solidFill>
                          <a:latin typeface="Simplified Arabic" panose="02020603050405020304" pitchFamily="18" charset="-78"/>
                          <a:cs typeface="Simplified Arabic" panose="02020603050405020304" pitchFamily="18" charset="-78"/>
                        </a:rPr>
                        <a:t>التحيين</a:t>
                      </a:r>
                    </a:p>
                    <a:p>
                      <a:pPr algn="ctr" rtl="1"/>
                      <a:r>
                        <a:rPr lang="ar-TN" sz="1600" b="1" dirty="0" smtClean="0">
                          <a:solidFill>
                            <a:schemeClr val="bg1"/>
                          </a:solidFill>
                          <a:latin typeface="Simplified Arabic" panose="02020603050405020304" pitchFamily="18" charset="-78"/>
                          <a:cs typeface="Simplified Arabic" panose="02020603050405020304" pitchFamily="18" charset="-78"/>
                        </a:rPr>
                        <a:t> (أكتوبر </a:t>
                      </a:r>
                      <a:r>
                        <a:rPr lang="ar-TN" sz="1400" b="1" dirty="0" smtClean="0">
                          <a:solidFill>
                            <a:schemeClr val="bg1"/>
                          </a:solidFill>
                          <a:latin typeface="Times New Roman" panose="02020603050405020304" pitchFamily="18" charset="0"/>
                          <a:cs typeface="Times New Roman" panose="02020603050405020304" pitchFamily="18" charset="0"/>
                        </a:rPr>
                        <a:t>2019</a:t>
                      </a:r>
                      <a:r>
                        <a:rPr lang="ar-TN" sz="1600" b="1" dirty="0" smtClean="0">
                          <a:solidFill>
                            <a:schemeClr val="bg1"/>
                          </a:solidFill>
                          <a:latin typeface="Simplified Arabic" panose="02020603050405020304" pitchFamily="18" charset="-78"/>
                          <a:cs typeface="Simplified Arabic" panose="02020603050405020304" pitchFamily="18" charset="-78"/>
                        </a:rPr>
                        <a:t>)</a:t>
                      </a:r>
                      <a:endParaRPr lang="fr-FR" sz="1600" b="1" dirty="0">
                        <a:solidFill>
                          <a:schemeClr val="bg1"/>
                        </a:solidFill>
                        <a:latin typeface="Simplified Arabic" panose="02020603050405020304" pitchFamily="18" charset="-78"/>
                        <a:cs typeface="Simplified Arabic" panose="02020603050405020304" pitchFamily="18" charset="-78"/>
                      </a:endParaRPr>
                    </a:p>
                  </a:txBody>
                  <a:tcPr anchor="ctr">
                    <a:lnB w="12700" cap="flat" cmpd="sng" algn="ctr">
                      <a:solidFill>
                        <a:schemeClr val="tx1"/>
                      </a:solidFill>
                      <a:prstDash val="solid"/>
                      <a:round/>
                      <a:headEnd type="none" w="med" len="med"/>
                      <a:tailEnd type="none" w="med" len="med"/>
                    </a:lnB>
                  </a:tcPr>
                </a:tc>
                <a:tc>
                  <a:txBody>
                    <a:bodyPr/>
                    <a:lstStyle/>
                    <a:p>
                      <a:pPr algn="ctr" rtl="1"/>
                      <a:r>
                        <a:rPr lang="ar-TN" sz="1600" b="1" dirty="0" smtClean="0">
                          <a:solidFill>
                            <a:schemeClr val="bg1"/>
                          </a:solidFill>
                          <a:latin typeface="Simplified Arabic" panose="02020603050405020304" pitchFamily="18" charset="-78"/>
                          <a:cs typeface="Simplified Arabic" panose="02020603050405020304" pitchFamily="18" charset="-78"/>
                        </a:rPr>
                        <a:t>التقديرات الأولية</a:t>
                      </a:r>
                    </a:p>
                    <a:p>
                      <a:pPr marL="0" marR="0" lvl="0" indent="0" algn="ctr" defTabSz="932665" rtl="1" eaLnBrk="1" fontAlgn="auto" latinLnBrk="0" hangingPunct="1">
                        <a:lnSpc>
                          <a:spcPct val="100000"/>
                        </a:lnSpc>
                        <a:spcBef>
                          <a:spcPts val="0"/>
                        </a:spcBef>
                        <a:spcAft>
                          <a:spcPts val="0"/>
                        </a:spcAft>
                        <a:buClrTx/>
                        <a:buSzTx/>
                        <a:buFontTx/>
                        <a:buNone/>
                        <a:tabLst/>
                        <a:defRPr/>
                      </a:pPr>
                      <a:r>
                        <a:rPr lang="ar-TN" sz="1600" b="1" dirty="0" smtClean="0">
                          <a:solidFill>
                            <a:schemeClr val="bg1"/>
                          </a:solidFill>
                          <a:latin typeface="Simplified Arabic" panose="02020603050405020304" pitchFamily="18" charset="-78"/>
                          <a:cs typeface="Simplified Arabic" panose="02020603050405020304" pitchFamily="18" charset="-78"/>
                        </a:rPr>
                        <a:t>(أكتوبر </a:t>
                      </a:r>
                      <a:r>
                        <a:rPr lang="ar-TN" sz="1400" b="1" dirty="0" smtClean="0">
                          <a:solidFill>
                            <a:schemeClr val="bg1"/>
                          </a:solidFill>
                          <a:latin typeface="Times New Roman" panose="02020603050405020304" pitchFamily="18" charset="0"/>
                          <a:cs typeface="Times New Roman" panose="02020603050405020304" pitchFamily="18" charset="0"/>
                        </a:rPr>
                        <a:t>2018</a:t>
                      </a:r>
                      <a:r>
                        <a:rPr lang="ar-TN" sz="1600" b="1" dirty="0" smtClean="0">
                          <a:solidFill>
                            <a:schemeClr val="bg1"/>
                          </a:solidFill>
                          <a:latin typeface="Simplified Arabic" panose="02020603050405020304" pitchFamily="18" charset="-78"/>
                          <a:cs typeface="Simplified Arabic" panose="02020603050405020304" pitchFamily="18" charset="-78"/>
                        </a:rPr>
                        <a:t>) </a:t>
                      </a:r>
                      <a:endParaRPr lang="fr-FR" sz="1600" b="1" dirty="0">
                        <a:solidFill>
                          <a:schemeClr val="bg1"/>
                        </a:solidFill>
                        <a:latin typeface="Simplified Arabic" panose="02020603050405020304" pitchFamily="18" charset="-78"/>
                        <a:cs typeface="Simplified Arabic" panose="02020603050405020304" pitchFamily="18" charset="-78"/>
                      </a:endParaRPr>
                    </a:p>
                  </a:txBody>
                  <a:tcPr anchor="ctr">
                    <a:lnB w="12700" cap="flat" cmpd="sng" algn="ctr">
                      <a:solidFill>
                        <a:schemeClr val="tx1"/>
                      </a:solidFill>
                      <a:prstDash val="solid"/>
                      <a:round/>
                      <a:headEnd type="none" w="med" len="med"/>
                      <a:tailEnd type="none" w="med" len="med"/>
                    </a:lnB>
                  </a:tcPr>
                </a:tc>
                <a:tc>
                  <a:txBody>
                    <a:bodyPr/>
                    <a:lstStyle/>
                    <a:p>
                      <a:pPr algn="r" rtl="1"/>
                      <a:r>
                        <a:rPr lang="ar-TN" sz="2000" b="1" dirty="0" err="1" smtClean="0">
                          <a:solidFill>
                            <a:schemeClr val="bg1"/>
                          </a:solidFill>
                          <a:latin typeface="Simplified Arabic" pitchFamily="18" charset="-78"/>
                          <a:cs typeface="Simplified Arabic" pitchFamily="18" charset="-78"/>
                        </a:rPr>
                        <a:t>(</a:t>
                      </a:r>
                      <a:r>
                        <a:rPr lang="fr-FR" sz="2000" b="1" dirty="0" smtClean="0">
                          <a:solidFill>
                            <a:schemeClr val="bg1"/>
                          </a:solidFill>
                          <a:latin typeface="Simplified Arabic" pitchFamily="18" charset="-78"/>
                          <a:cs typeface="Simplified Arabic" pitchFamily="18" charset="-78"/>
                        </a:rPr>
                        <a:t>%</a:t>
                      </a:r>
                      <a:r>
                        <a:rPr lang="ar-TN" sz="2000" b="1" dirty="0" smtClean="0">
                          <a:solidFill>
                            <a:schemeClr val="bg1"/>
                          </a:solidFill>
                          <a:latin typeface="Simplified Arabic" pitchFamily="18" charset="-78"/>
                          <a:cs typeface="Simplified Arabic" pitchFamily="18" charset="-78"/>
                        </a:rPr>
                        <a:t>، بالأسعار القارة)</a:t>
                      </a:r>
                      <a:endParaRPr lang="fr-FR" sz="2000" b="1" dirty="0">
                        <a:solidFill>
                          <a:schemeClr val="bg1"/>
                        </a:solidFill>
                        <a:latin typeface="Simplified Arabic" pitchFamily="18" charset="-78"/>
                        <a:cs typeface="Simplified Arabic" pitchFamily="18" charset="-78"/>
                      </a:endParaRPr>
                    </a:p>
                  </a:txBody>
                  <a:tcPr anchor="ct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0"/>
                  </a:ext>
                </a:extLst>
              </a:tr>
              <a:tr h="370361">
                <a:tc>
                  <a:txBody>
                    <a:bodyPr/>
                    <a:lstStyle/>
                    <a:p>
                      <a:pPr algn="ctr" fontAlgn="ctr"/>
                      <a:r>
                        <a:rPr lang="fr-FR" sz="1600" b="1" i="0" u="none" strike="noStrike" dirty="0" smtClean="0">
                          <a:effectLst/>
                          <a:latin typeface="Times New Roman" panose="02020603050405020304" pitchFamily="18" charset="0"/>
                          <a:cs typeface="Times New Roman" panose="02020603050405020304" pitchFamily="18" charset="0"/>
                        </a:rPr>
                        <a:t>1,4</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lnT w="12700" cap="flat" cmpd="sng" algn="ctr">
                      <a:solidFill>
                        <a:schemeClr val="tx1"/>
                      </a:solidFill>
                      <a:prstDash val="solid"/>
                      <a:round/>
                      <a:headEnd type="none" w="med" len="med"/>
                      <a:tailEnd type="none" w="med" len="med"/>
                    </a:lnT>
                  </a:tcPr>
                </a:tc>
                <a:tc>
                  <a:txBody>
                    <a:bodyPr/>
                    <a:lstStyle/>
                    <a:p>
                      <a:pPr algn="ctr" fontAlgn="ctr"/>
                      <a:r>
                        <a:rPr lang="fr-FR" sz="1600" b="1" i="0" u="none" strike="noStrike" dirty="0" smtClean="0">
                          <a:effectLst/>
                          <a:latin typeface="Times New Roman" panose="02020603050405020304" pitchFamily="18" charset="0"/>
                          <a:cs typeface="Times New Roman" panose="02020603050405020304" pitchFamily="18" charset="0"/>
                        </a:rPr>
                        <a:t>3,1</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lnT w="12700" cap="flat" cmpd="sng" algn="ctr">
                      <a:solidFill>
                        <a:schemeClr val="tx1"/>
                      </a:solidFill>
                      <a:prstDash val="solid"/>
                      <a:round/>
                      <a:headEnd type="none" w="med" len="med"/>
                      <a:tailEnd type="none" w="med" len="med"/>
                    </a:lnT>
                  </a:tcPr>
                </a:tc>
                <a:tc>
                  <a:txBody>
                    <a:bodyPr/>
                    <a:lstStyle/>
                    <a:p>
                      <a:pPr algn="r" rtl="1"/>
                      <a:r>
                        <a:rPr lang="ar-TN" sz="1800" b="1" dirty="0" smtClean="0">
                          <a:solidFill>
                            <a:schemeClr val="tx1"/>
                          </a:solidFill>
                          <a:latin typeface="Simplified Arabic" panose="02020603050405020304" pitchFamily="18" charset="-78"/>
                          <a:cs typeface="Simplified Arabic" panose="02020603050405020304" pitchFamily="18" charset="-78"/>
                        </a:rPr>
                        <a:t>نمو الناتج المحلي</a:t>
                      </a:r>
                      <a:r>
                        <a:rPr lang="ar-TN" sz="1800" b="1" baseline="0" dirty="0" smtClean="0">
                          <a:solidFill>
                            <a:schemeClr val="tx1"/>
                          </a:solidFill>
                          <a:latin typeface="Simplified Arabic" panose="02020603050405020304" pitchFamily="18" charset="-78"/>
                          <a:cs typeface="Simplified Arabic" panose="02020603050405020304" pitchFamily="18" charset="-78"/>
                        </a:rPr>
                        <a:t> الاجمالي</a:t>
                      </a:r>
                      <a:endParaRPr lang="fr-FR" sz="1800" b="1" dirty="0">
                        <a:solidFill>
                          <a:schemeClr val="tx1"/>
                        </a:solidFill>
                        <a:latin typeface="Simplified Arabic" panose="02020603050405020304" pitchFamily="18" charset="-78"/>
                        <a:cs typeface="Simplified Arabic" panose="02020603050405020304" pitchFamily="18" charset="-78"/>
                      </a:endParaRPr>
                    </a:p>
                  </a:txBody>
                  <a:tcPr anchor="ct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1"/>
                  </a:ext>
                </a:extLst>
              </a:tr>
              <a:tr h="370361">
                <a:tc>
                  <a:txBody>
                    <a:bodyPr/>
                    <a:lstStyle/>
                    <a:p>
                      <a:pPr algn="ctr" fontAlgn="ctr"/>
                      <a:r>
                        <a:rPr lang="fr-FR" sz="1600" b="1" i="0" u="none" strike="noStrike" dirty="0" smtClean="0">
                          <a:effectLst/>
                          <a:latin typeface="Times New Roman" panose="02020603050405020304" pitchFamily="18" charset="0"/>
                          <a:cs typeface="Times New Roman" panose="02020603050405020304" pitchFamily="18" charset="0"/>
                        </a:rPr>
                        <a:t>1,7</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fr-FR" sz="1600" b="1" i="0" u="none" strike="noStrike" dirty="0" smtClean="0">
                          <a:effectLst/>
                          <a:latin typeface="Times New Roman" panose="02020603050405020304" pitchFamily="18" charset="0"/>
                          <a:cs typeface="Times New Roman" panose="02020603050405020304" pitchFamily="18" charset="0"/>
                        </a:rPr>
                        <a:t>0,5</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indent="0" algn="r" defTabSz="914206" rtl="1" eaLnBrk="1" latinLnBrk="0" hangingPunct="1"/>
                      <a:r>
                        <a:rPr lang="ar-TN" sz="1800" b="1" kern="1200" dirty="0" smtClean="0">
                          <a:solidFill>
                            <a:schemeClr val="tx1"/>
                          </a:solidFill>
                          <a:latin typeface="Simplified Arabic" panose="02020603050405020304" pitchFamily="18" charset="-78"/>
                          <a:ea typeface="+mn-ea"/>
                          <a:cs typeface="Simplified Arabic" panose="02020603050405020304" pitchFamily="18" charset="-78"/>
                        </a:rPr>
                        <a:t>الفلاحة</a:t>
                      </a:r>
                      <a:r>
                        <a:rPr lang="ar-TN" sz="1800" b="1" kern="1200" baseline="0" dirty="0" smtClean="0">
                          <a:solidFill>
                            <a:schemeClr val="tx1"/>
                          </a:solidFill>
                          <a:latin typeface="Simplified Arabic" panose="02020603050405020304" pitchFamily="18" charset="-78"/>
                          <a:ea typeface="+mn-ea"/>
                          <a:cs typeface="Simplified Arabic" panose="02020603050405020304" pitchFamily="18" charset="-78"/>
                        </a:rPr>
                        <a:t> والصيد البحري</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 xmlns:a16="http://schemas.microsoft.com/office/drawing/2014/main" val="10002"/>
                  </a:ext>
                </a:extLst>
              </a:tr>
              <a:tr h="370361">
                <a:tc>
                  <a:txBody>
                    <a:bodyPr/>
                    <a:lstStyle/>
                    <a:p>
                      <a:pPr algn="ctr" fontAlgn="ctr"/>
                      <a:r>
                        <a:rPr lang="fr-FR" sz="1600" b="1" i="0" u="none" strike="noStrike" dirty="0" smtClean="0">
                          <a:effectLst/>
                          <a:latin typeface="Times New Roman" panose="02020603050405020304" pitchFamily="18" charset="0"/>
                          <a:cs typeface="Times New Roman" panose="02020603050405020304" pitchFamily="18" charset="0"/>
                        </a:rPr>
                        <a:t>0,3-</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fr-FR" sz="1600" b="1" i="0" u="none" strike="noStrike" dirty="0" smtClean="0">
                          <a:effectLst/>
                          <a:latin typeface="Times New Roman" panose="02020603050405020304" pitchFamily="18" charset="0"/>
                          <a:cs typeface="Times New Roman" panose="02020603050405020304" pitchFamily="18" charset="0"/>
                        </a:rPr>
                        <a:t>4,2</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indent="0" algn="r" defTabSz="914206" rtl="1" eaLnBrk="1" latinLnBrk="0" hangingPunct="1"/>
                      <a:r>
                        <a:rPr lang="ar-TN" sz="1800" b="1" kern="1200" dirty="0" smtClean="0">
                          <a:solidFill>
                            <a:schemeClr val="tx1"/>
                          </a:solidFill>
                          <a:latin typeface="Simplified Arabic" panose="02020603050405020304" pitchFamily="18" charset="-78"/>
                          <a:ea typeface="+mn-ea"/>
                          <a:cs typeface="Simplified Arabic" panose="02020603050405020304" pitchFamily="18" charset="-78"/>
                        </a:rPr>
                        <a:t>الصناعات المعملية</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 xmlns:a16="http://schemas.microsoft.com/office/drawing/2014/main" val="10003"/>
                  </a:ext>
                </a:extLst>
              </a:tr>
              <a:tr h="370361">
                <a:tc>
                  <a:txBody>
                    <a:bodyPr/>
                    <a:lstStyle/>
                    <a:p>
                      <a:pPr algn="ctr" fontAlgn="ctr"/>
                      <a:r>
                        <a:rPr lang="fr-FR" sz="1600" b="1" i="0" u="none" strike="noStrike" dirty="0" smtClean="0">
                          <a:effectLst/>
                          <a:latin typeface="Times New Roman" panose="02020603050405020304" pitchFamily="18" charset="0"/>
                          <a:cs typeface="Times New Roman" panose="02020603050405020304" pitchFamily="18" charset="0"/>
                        </a:rPr>
                        <a:t>0,9</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fr-FR" sz="1600" b="1" i="0" u="none" strike="noStrike" dirty="0" smtClean="0">
                          <a:effectLst/>
                          <a:latin typeface="Times New Roman" panose="02020603050405020304" pitchFamily="18" charset="0"/>
                          <a:cs typeface="Times New Roman" panose="02020603050405020304" pitchFamily="18" charset="0"/>
                        </a:rPr>
                        <a:t>4,8</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indent="0" algn="r" defTabSz="914206" rtl="1" eaLnBrk="1" latinLnBrk="0" hangingPunct="1"/>
                      <a:r>
                        <a:rPr lang="ar-TN" sz="1800" b="1" kern="1200" dirty="0" smtClean="0">
                          <a:solidFill>
                            <a:schemeClr val="tx1"/>
                          </a:solidFill>
                          <a:latin typeface="Simplified Arabic" panose="02020603050405020304" pitchFamily="18" charset="-78"/>
                          <a:ea typeface="+mn-ea"/>
                          <a:cs typeface="Simplified Arabic" panose="02020603050405020304" pitchFamily="18" charset="-78"/>
                        </a:rPr>
                        <a:t>الصناعات غير المعملية</a:t>
                      </a:r>
                    </a:p>
                  </a:txBody>
                  <a:tcPr anchor="ctr"/>
                </a:tc>
                <a:extLst>
                  <a:ext uri="{0D108BD9-81ED-4DB2-BD59-A6C34878D82A}">
                    <a16:rowId xmlns="" xmlns:a16="http://schemas.microsoft.com/office/drawing/2014/main" val="10004"/>
                  </a:ext>
                </a:extLst>
              </a:tr>
              <a:tr h="370361">
                <a:tc>
                  <a:txBody>
                    <a:bodyPr/>
                    <a:lstStyle/>
                    <a:p>
                      <a:pPr algn="ctr" fontAlgn="ctr"/>
                      <a:r>
                        <a:rPr lang="fr-FR" sz="1600" b="1" i="0" u="none" strike="noStrike" dirty="0" smtClean="0">
                          <a:effectLst/>
                          <a:latin typeface="Times New Roman" panose="02020603050405020304" pitchFamily="18" charset="0"/>
                          <a:cs typeface="Times New Roman" panose="02020603050405020304" pitchFamily="18" charset="0"/>
                        </a:rPr>
                        <a:t>2,2</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fr-FR" sz="1600" b="1" i="0" u="none" strike="noStrike" dirty="0" smtClean="0">
                          <a:effectLst/>
                          <a:latin typeface="Times New Roman" panose="02020603050405020304" pitchFamily="18" charset="0"/>
                          <a:cs typeface="Times New Roman" panose="02020603050405020304" pitchFamily="18" charset="0"/>
                        </a:rPr>
                        <a:t>4,1</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indent="0" algn="r" defTabSz="914206" rtl="1" eaLnBrk="1" latinLnBrk="0" hangingPunct="1"/>
                      <a:r>
                        <a:rPr lang="ar-TN" sz="1800" b="1" kern="1200" dirty="0" smtClean="0">
                          <a:solidFill>
                            <a:schemeClr val="tx1"/>
                          </a:solidFill>
                          <a:latin typeface="Simplified Arabic" panose="02020603050405020304" pitchFamily="18" charset="-78"/>
                          <a:ea typeface="+mn-ea"/>
                          <a:cs typeface="Simplified Arabic" panose="02020603050405020304" pitchFamily="18" charset="-78"/>
                        </a:rPr>
                        <a:t>الخدمات المسوقة</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 xmlns:a16="http://schemas.microsoft.com/office/drawing/2014/main" val="10005"/>
                  </a:ext>
                </a:extLst>
              </a:tr>
              <a:tr h="370361">
                <a:tc>
                  <a:txBody>
                    <a:bodyPr/>
                    <a:lstStyle/>
                    <a:p>
                      <a:pPr algn="ctr" fontAlgn="ctr"/>
                      <a:r>
                        <a:rPr lang="ar-TN" sz="1600" b="1" i="0" u="none" strike="noStrike" dirty="0" smtClean="0">
                          <a:effectLst/>
                          <a:latin typeface="Times New Roman" panose="02020603050405020304" pitchFamily="18" charset="0"/>
                          <a:cs typeface="Times New Roman" panose="02020603050405020304" pitchFamily="18" charset="0"/>
                        </a:rPr>
                        <a:t>1,0</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600" b="1" i="0" u="none" strike="noStrike" dirty="0" smtClean="0">
                          <a:effectLst/>
                          <a:latin typeface="Times New Roman" panose="02020603050405020304" pitchFamily="18" charset="0"/>
                          <a:cs typeface="Times New Roman" panose="02020603050405020304" pitchFamily="18" charset="0"/>
                        </a:rPr>
                        <a:t>0,3</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marR="0" lvl="0" indent="0" algn="r" defTabSz="914206" rtl="1" eaLnBrk="1" fontAlgn="auto" latinLnBrk="0" hangingPunct="1">
                        <a:lnSpc>
                          <a:spcPct val="100000"/>
                        </a:lnSpc>
                        <a:spcBef>
                          <a:spcPts val="0"/>
                        </a:spcBef>
                        <a:spcAft>
                          <a:spcPts val="0"/>
                        </a:spcAft>
                        <a:buClrTx/>
                        <a:buSzTx/>
                        <a:buFontTx/>
                        <a:buNone/>
                        <a:tabLst/>
                        <a:defRPr/>
                      </a:pPr>
                      <a:r>
                        <a:rPr lang="ar-TN" sz="1800" b="1" kern="1200" dirty="0" smtClean="0">
                          <a:solidFill>
                            <a:schemeClr val="tx1"/>
                          </a:solidFill>
                          <a:latin typeface="Simplified Arabic" panose="02020603050405020304" pitchFamily="18" charset="-78"/>
                          <a:ea typeface="+mn-ea"/>
                          <a:cs typeface="Simplified Arabic" panose="02020603050405020304" pitchFamily="18" charset="-78"/>
                        </a:rPr>
                        <a:t>الخدمات غير المسوقة</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 xmlns:a16="http://schemas.microsoft.com/office/drawing/2014/main" val="3741184911"/>
                  </a:ext>
                </a:extLst>
              </a:tr>
            </a:tbl>
          </a:graphicData>
        </a:graphic>
      </p:graphicFrame>
    </p:spTree>
    <p:custDataLst>
      <p:tags r:id="rId2"/>
    </p:custDataLst>
    <p:extLst>
      <p:ext uri="{BB962C8B-B14F-4D97-AF65-F5344CB8AC3E}">
        <p14:creationId xmlns:p14="http://schemas.microsoft.com/office/powerpoint/2010/main" xmlns="" val="24350221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nvPr>
        </p:nvGraphicFramePr>
        <p:xfrm>
          <a:off x="1589" y="1590"/>
          <a:ext cx="1587" cy="1587"/>
        </p:xfrm>
        <a:graphic>
          <a:graphicData uri="http://schemas.openxmlformats.org/presentationml/2006/ole">
            <p:oleObj spid="_x0000_s180259" name="think-cell Slide" r:id="rId6" imgW="360" imgH="360" progId="">
              <p:embed/>
            </p:oleObj>
          </a:graphicData>
        </a:graphic>
      </p:graphicFrame>
      <p:sp>
        <p:nvSpPr>
          <p:cNvPr id="10" name="Text Placeholder 9"/>
          <p:cNvSpPr>
            <a:spLocks noGrp="1"/>
          </p:cNvSpPr>
          <p:nvPr>
            <p:ph type="body" sz="quarter" idx="4294967295"/>
          </p:nvPr>
        </p:nvSpPr>
        <p:spPr>
          <a:xfrm>
            <a:off x="3176" y="176213"/>
            <a:ext cx="8981798" cy="615553"/>
          </a:xfrm>
        </p:spPr>
        <p:txBody>
          <a:bodyPr/>
          <a:lstStyle/>
          <a:p>
            <a:pPr algn="r"/>
            <a:r>
              <a:rPr lang="ar-TN" sz="2200" b="1" dirty="0" smtClean="0">
                <a:solidFill>
                  <a:srgbClr val="E51B2E"/>
                </a:solidFill>
                <a:latin typeface="Simplified Arabic" pitchFamily="18" charset="-78"/>
                <a:ea typeface="ＭＳ Ｐゴシック" pitchFamily="34" charset="-128"/>
                <a:cs typeface="Simplified Arabic" pitchFamily="18" charset="-78"/>
              </a:rPr>
              <a:t>تحيين نتائج سنة </a:t>
            </a:r>
            <a:r>
              <a:rPr lang="ar-TN" sz="2000" b="1" dirty="0" smtClean="0">
                <a:solidFill>
                  <a:srgbClr val="E51B2E"/>
                </a:solidFill>
                <a:latin typeface="Times New Roman" panose="02020603050405020304" pitchFamily="18" charset="0"/>
                <a:ea typeface="ＭＳ Ｐゴシック" pitchFamily="34" charset="-128"/>
                <a:cs typeface="Times New Roman" panose="02020603050405020304" pitchFamily="18" charset="0"/>
              </a:rPr>
              <a:t>2019</a:t>
            </a:r>
            <a:endParaRPr lang="ar-TN" sz="2200" b="1" kern="1200" dirty="0" smtClean="0">
              <a:solidFill>
                <a:srgbClr val="E51B2E"/>
              </a:solidFill>
              <a:latin typeface="Times New Roman" panose="02020603050405020304" pitchFamily="18" charset="0"/>
              <a:ea typeface="ＭＳ Ｐゴシック" pitchFamily="34" charset="-128"/>
              <a:cs typeface="Times New Roman" panose="02020603050405020304" pitchFamily="18" charset="0"/>
            </a:endParaRPr>
          </a:p>
          <a:p>
            <a:pPr algn="l"/>
            <a:r>
              <a:rPr lang="ar-TN" sz="1800" b="1" dirty="0" smtClean="0">
                <a:latin typeface="Simplified Arabic" panose="02020603050405020304" pitchFamily="18" charset="-78"/>
                <a:cs typeface="Simplified Arabic" panose="02020603050405020304" pitchFamily="18" charset="-78"/>
              </a:rPr>
              <a:t>تحيين نسبة النمو لسنة 2019 </a:t>
            </a:r>
            <a:endParaRPr lang="ar-JO" sz="1200" b="1" dirty="0">
              <a:solidFill>
                <a:schemeClr val="tx1"/>
              </a:solidFill>
              <a:latin typeface="Simplified Arabic" panose="02020603050405020304" pitchFamily="18" charset="-78"/>
              <a:cs typeface="Simplified Arabic" panose="02020603050405020304" pitchFamily="18" charset="-78"/>
            </a:endParaRPr>
          </a:p>
        </p:txBody>
      </p:sp>
      <p:sp>
        <p:nvSpPr>
          <p:cNvPr id="9218" name="FilePath" hidden="1"/>
          <p:cNvSpPr txBox="1">
            <a:spLocks noChangeArrowheads="1"/>
          </p:cNvSpPr>
          <p:nvPr/>
        </p:nvSpPr>
        <p:spPr bwMode="auto">
          <a:xfrm>
            <a:off x="4103079" y="127000"/>
            <a:ext cx="4689231" cy="146258"/>
          </a:xfrm>
          <a:prstGeom prst="rect">
            <a:avLst/>
          </a:prstGeom>
          <a:noFill/>
          <a:ln w="3175" algn="ctr">
            <a:noFill/>
            <a:miter lim="800000"/>
            <a:headEnd/>
            <a:tailEnd/>
          </a:ln>
        </p:spPr>
        <p:txBody>
          <a:bodyPr lIns="17996" tIns="17996" rIns="17996" bIns="17996">
            <a:spAutoFit/>
          </a:bodyPr>
          <a:lstStyle/>
          <a:p>
            <a:pPr algn="r"/>
            <a:r>
              <a:rPr lang="en-GB" sz="700" dirty="0">
                <a:solidFill>
                  <a:srgbClr val="BEBEBE"/>
                </a:solidFill>
              </a:rPr>
              <a:t>G:\1022_TEMELIN_11264\03 Presentations\120118 Kick-off\2012 01 26 </a:t>
            </a:r>
            <a:r>
              <a:rPr lang="en-GB" sz="700" dirty="0" err="1">
                <a:solidFill>
                  <a:srgbClr val="BEBEBE"/>
                </a:solidFill>
              </a:rPr>
              <a:t>Temelin</a:t>
            </a:r>
            <a:r>
              <a:rPr lang="en-GB" sz="700" dirty="0">
                <a:solidFill>
                  <a:srgbClr val="BEBEBE"/>
                </a:solidFill>
              </a:rPr>
              <a:t> - kick-off_v6.ppt</a:t>
            </a:r>
          </a:p>
        </p:txBody>
      </p:sp>
      <p:sp>
        <p:nvSpPr>
          <p:cNvPr id="8" name="Rectangle 7"/>
          <p:cNvSpPr/>
          <p:nvPr/>
        </p:nvSpPr>
        <p:spPr>
          <a:xfrm>
            <a:off x="324211" y="1092190"/>
            <a:ext cx="8339728" cy="711200"/>
          </a:xfrm>
          <a:prstGeom prst="rect">
            <a:avLst/>
          </a:prstGeom>
          <a:ln w="12700"/>
        </p:spPr>
        <p:style>
          <a:lnRef idx="2">
            <a:schemeClr val="accent4"/>
          </a:lnRef>
          <a:fillRef idx="1">
            <a:schemeClr val="lt1"/>
          </a:fillRef>
          <a:effectRef idx="0">
            <a:schemeClr val="accent4"/>
          </a:effectRef>
          <a:fontRef idx="minor">
            <a:schemeClr val="dk1"/>
          </a:fontRef>
        </p:style>
        <p:txBody>
          <a:bodyPr lIns="0" tIns="45711" rIns="0" bIns="45711" rtlCol="0" anchor="ctr"/>
          <a:lstStyle/>
          <a:p>
            <a:pPr marL="268288" algn="r" rtl="1">
              <a:spcBef>
                <a:spcPts val="0"/>
              </a:spcBef>
              <a:spcAft>
                <a:spcPts val="0"/>
              </a:spcAft>
              <a:buClr>
                <a:srgbClr val="FF0000"/>
              </a:buClr>
              <a:buSzPct val="80000"/>
            </a:pPr>
            <a:endParaRPr lang="fr-FR" b="1" dirty="0" smtClean="0">
              <a:latin typeface="Simplified Arabic" panose="02020603050405020304" pitchFamily="18" charset="-78"/>
              <a:cs typeface="Simplified Arabic" panose="02020603050405020304" pitchFamily="18" charset="-78"/>
            </a:endParaRPr>
          </a:p>
          <a:p>
            <a:pPr marL="268288" algn="r" rtl="1">
              <a:spcBef>
                <a:spcPts val="0"/>
              </a:spcBef>
              <a:spcAft>
                <a:spcPts val="0"/>
              </a:spcAft>
              <a:buClr>
                <a:srgbClr val="FF0000"/>
              </a:buClr>
              <a:buSzPct val="80000"/>
            </a:pPr>
            <a:r>
              <a:rPr lang="ar-TN" b="1" dirty="0" smtClean="0">
                <a:latin typeface="Simplified Arabic" panose="02020603050405020304" pitchFamily="18" charset="-78"/>
                <a:cs typeface="Simplified Arabic" panose="02020603050405020304" pitchFamily="18" charset="-78"/>
              </a:rPr>
              <a:t>أثر المتغيرات الخارجية: </a:t>
            </a:r>
            <a:r>
              <a:rPr lang="ar-TN" dirty="0">
                <a:latin typeface="Simplified Arabic" panose="02020603050405020304" pitchFamily="18" charset="-78"/>
                <a:cs typeface="Simplified Arabic" panose="02020603050405020304" pitchFamily="18" charset="-78"/>
              </a:rPr>
              <a:t>تراجع الطلب الخارجي الموجه لتونس خاصة بمنطقة الأورو </a:t>
            </a:r>
            <a:r>
              <a:rPr lang="ar-TN" dirty="0" smtClean="0">
                <a:latin typeface="Simplified Arabic" panose="02020603050405020304" pitchFamily="18" charset="-78"/>
                <a:cs typeface="Simplified Arabic" panose="02020603050405020304" pitchFamily="18" charset="-78"/>
              </a:rPr>
              <a:t>أدّى </a:t>
            </a:r>
            <a:r>
              <a:rPr lang="ar-TN" dirty="0">
                <a:latin typeface="Simplified Arabic" panose="02020603050405020304" pitchFamily="18" charset="-78"/>
                <a:cs typeface="Simplified Arabic" panose="02020603050405020304" pitchFamily="18" charset="-78"/>
              </a:rPr>
              <a:t>إلى </a:t>
            </a:r>
            <a:r>
              <a:rPr lang="ar-TN" b="1" dirty="0" smtClean="0">
                <a:latin typeface="Simplified Arabic" panose="02020603050405020304" pitchFamily="18" charset="-78"/>
                <a:cs typeface="Simplified Arabic" panose="02020603050405020304" pitchFamily="18" charset="-78"/>
              </a:rPr>
              <a:t>نقص في النمو بحوالي </a:t>
            </a:r>
            <a:r>
              <a:rPr lang="fr-FR" b="1" dirty="0">
                <a:latin typeface="Times New Roman" panose="02020603050405020304" pitchFamily="18" charset="0"/>
                <a:cs typeface="Times New Roman" panose="02020603050405020304" pitchFamily="18" charset="0"/>
              </a:rPr>
              <a:t>0.4</a:t>
            </a:r>
            <a:r>
              <a:rPr lang="ar-TN" b="1" dirty="0">
                <a:latin typeface="Simplified Arabic" panose="02020603050405020304" pitchFamily="18" charset="-78"/>
                <a:cs typeface="Simplified Arabic" panose="02020603050405020304" pitchFamily="18" charset="-78"/>
              </a:rPr>
              <a:t> من النقاط مقارنة بالتقديرات الأولية</a:t>
            </a:r>
            <a:r>
              <a:rPr lang="ar-TN" b="1" dirty="0" smtClean="0">
                <a:latin typeface="Simplified Arabic" panose="02020603050405020304" pitchFamily="18" charset="-78"/>
                <a:cs typeface="Simplified Arabic" panose="02020603050405020304" pitchFamily="18" charset="-78"/>
              </a:rPr>
              <a:t>.</a:t>
            </a:r>
          </a:p>
          <a:p>
            <a:pPr marL="268288" algn="r" rtl="1">
              <a:lnSpc>
                <a:spcPct val="107000"/>
              </a:lnSpc>
              <a:spcAft>
                <a:spcPts val="800"/>
              </a:spcAft>
              <a:buClr>
                <a:srgbClr val="FF0000"/>
              </a:buClr>
              <a:buSzPct val="80000"/>
            </a:pPr>
            <a:endParaRPr lang="ar-TN" b="1" dirty="0" smtClean="0">
              <a:latin typeface="Simplified Arabic" panose="02020603050405020304" pitchFamily="18" charset="-78"/>
              <a:cs typeface="Simplified Arabic" panose="02020603050405020304" pitchFamily="18" charset="-78"/>
            </a:endParaRPr>
          </a:p>
        </p:txBody>
      </p:sp>
      <p:graphicFrame>
        <p:nvGraphicFramePr>
          <p:cNvPr id="9" name="Tableau 8"/>
          <p:cNvGraphicFramePr>
            <a:graphicFrameLocks noGrp="1"/>
          </p:cNvGraphicFramePr>
          <p:nvPr>
            <p:extLst>
              <p:ext uri="{D42A27DB-BD31-4B8C-83A1-F6EECF244321}">
                <p14:modId xmlns:p14="http://schemas.microsoft.com/office/powerpoint/2010/main" xmlns="" val="528276721"/>
              </p:ext>
            </p:extLst>
          </p:nvPr>
        </p:nvGraphicFramePr>
        <p:xfrm>
          <a:off x="1716195" y="3259941"/>
          <a:ext cx="5883563" cy="2533692"/>
        </p:xfrm>
        <a:graphic>
          <a:graphicData uri="http://schemas.openxmlformats.org/drawingml/2006/table">
            <a:tbl>
              <a:tblPr firstRow="1" bandRow="1">
                <a:tableStyleId>{1FECB4D8-DB02-4DC6-A0A2-4F2EBAE1DC90}</a:tableStyleId>
              </a:tblPr>
              <a:tblGrid>
                <a:gridCol w="1370173">
                  <a:extLst>
                    <a:ext uri="{9D8B030D-6E8A-4147-A177-3AD203B41FA5}">
                      <a16:colId xmlns="" xmlns:a16="http://schemas.microsoft.com/office/drawing/2014/main" val="861949307"/>
                    </a:ext>
                  </a:extLst>
                </a:gridCol>
                <a:gridCol w="1370173">
                  <a:extLst>
                    <a:ext uri="{9D8B030D-6E8A-4147-A177-3AD203B41FA5}">
                      <a16:colId xmlns="" xmlns:a16="http://schemas.microsoft.com/office/drawing/2014/main" val="20000"/>
                    </a:ext>
                  </a:extLst>
                </a:gridCol>
                <a:gridCol w="1806572">
                  <a:extLst>
                    <a:ext uri="{9D8B030D-6E8A-4147-A177-3AD203B41FA5}">
                      <a16:colId xmlns="" xmlns:a16="http://schemas.microsoft.com/office/drawing/2014/main" val="20002"/>
                    </a:ext>
                  </a:extLst>
                </a:gridCol>
                <a:gridCol w="1336645">
                  <a:extLst>
                    <a:ext uri="{9D8B030D-6E8A-4147-A177-3AD203B41FA5}">
                      <a16:colId xmlns="" xmlns:a16="http://schemas.microsoft.com/office/drawing/2014/main" val="20008"/>
                    </a:ext>
                  </a:extLst>
                </a:gridCol>
              </a:tblGrid>
              <a:tr h="0">
                <a:tc>
                  <a:txBody>
                    <a:bodyPr/>
                    <a:lstStyle/>
                    <a:p>
                      <a:pPr algn="ctr" rtl="1"/>
                      <a:r>
                        <a:rPr lang="ar-TN" sz="1600" b="1" dirty="0" smtClean="0">
                          <a:solidFill>
                            <a:schemeClr val="bg1"/>
                          </a:solidFill>
                          <a:latin typeface="Simplified Arabic" panose="02020603050405020304" pitchFamily="18" charset="-78"/>
                          <a:cs typeface="Simplified Arabic" panose="02020603050405020304" pitchFamily="18" charset="-78"/>
                        </a:rPr>
                        <a:t>تحيين ثاني</a:t>
                      </a:r>
                    </a:p>
                    <a:p>
                      <a:pPr algn="ctr" rtl="1"/>
                      <a:r>
                        <a:rPr lang="ar-TN" sz="1600" b="1" dirty="0" smtClean="0">
                          <a:solidFill>
                            <a:schemeClr val="bg1"/>
                          </a:solidFill>
                          <a:latin typeface="Simplified Arabic" panose="02020603050405020304" pitchFamily="18" charset="-78"/>
                          <a:cs typeface="Simplified Arabic" panose="02020603050405020304" pitchFamily="18" charset="-78"/>
                        </a:rPr>
                        <a:t> (أكتوبر </a:t>
                      </a:r>
                      <a:r>
                        <a:rPr lang="ar-TN" sz="1400" b="1" dirty="0" smtClean="0">
                          <a:solidFill>
                            <a:schemeClr val="bg1"/>
                          </a:solidFill>
                          <a:latin typeface="Times New Roman" panose="02020603050405020304" pitchFamily="18" charset="0"/>
                          <a:cs typeface="Times New Roman" panose="02020603050405020304" pitchFamily="18" charset="0"/>
                        </a:rPr>
                        <a:t>2019</a:t>
                      </a:r>
                      <a:r>
                        <a:rPr lang="ar-TN" sz="1600" b="1" dirty="0" smtClean="0">
                          <a:solidFill>
                            <a:schemeClr val="bg1"/>
                          </a:solidFill>
                          <a:latin typeface="Simplified Arabic" panose="02020603050405020304" pitchFamily="18" charset="-78"/>
                          <a:cs typeface="Simplified Arabic" panose="02020603050405020304" pitchFamily="18" charset="-78"/>
                        </a:rPr>
                        <a:t>)</a:t>
                      </a:r>
                      <a:endParaRPr lang="fr-FR" sz="1600" b="1" dirty="0">
                        <a:solidFill>
                          <a:schemeClr val="bg1"/>
                        </a:solidFill>
                        <a:latin typeface="Simplified Arabic" panose="02020603050405020304" pitchFamily="18" charset="-78"/>
                        <a:cs typeface="Simplified Arabic" panose="02020603050405020304" pitchFamily="18" charset="-78"/>
                      </a:endParaRPr>
                    </a:p>
                  </a:txBody>
                  <a:tcPr anchor="ctr">
                    <a:lnB w="12700" cap="flat" cmpd="sng" algn="ctr">
                      <a:solidFill>
                        <a:schemeClr val="tx1"/>
                      </a:solidFill>
                      <a:prstDash val="solid"/>
                      <a:round/>
                      <a:headEnd type="none" w="med" len="med"/>
                      <a:tailEnd type="none" w="med" len="med"/>
                    </a:lnB>
                  </a:tcPr>
                </a:tc>
                <a:tc>
                  <a:txBody>
                    <a:bodyPr/>
                    <a:lstStyle/>
                    <a:p>
                      <a:pPr algn="ctr" rtl="1"/>
                      <a:r>
                        <a:rPr lang="ar-TN" sz="1600" b="1" dirty="0" smtClean="0">
                          <a:solidFill>
                            <a:schemeClr val="bg1"/>
                          </a:solidFill>
                          <a:latin typeface="Simplified Arabic" panose="02020603050405020304" pitchFamily="18" charset="-78"/>
                          <a:cs typeface="Simplified Arabic" panose="02020603050405020304" pitchFamily="18" charset="-78"/>
                        </a:rPr>
                        <a:t>تحيين</a:t>
                      </a:r>
                      <a:r>
                        <a:rPr lang="fr-FR" sz="1600" b="1" dirty="0" smtClean="0">
                          <a:solidFill>
                            <a:schemeClr val="bg1"/>
                          </a:solidFill>
                          <a:latin typeface="Simplified Arabic" panose="02020603050405020304" pitchFamily="18" charset="-78"/>
                          <a:cs typeface="Simplified Arabic" panose="02020603050405020304" pitchFamily="18" charset="-78"/>
                        </a:rPr>
                        <a:t> </a:t>
                      </a:r>
                      <a:r>
                        <a:rPr lang="ar-TN" sz="1600" b="1" dirty="0" smtClean="0">
                          <a:solidFill>
                            <a:schemeClr val="bg1"/>
                          </a:solidFill>
                          <a:latin typeface="Simplified Arabic" panose="02020603050405020304" pitchFamily="18" charset="-78"/>
                          <a:cs typeface="Simplified Arabic" panose="02020603050405020304" pitchFamily="18" charset="-78"/>
                        </a:rPr>
                        <a:t>أوّل </a:t>
                      </a:r>
                    </a:p>
                    <a:p>
                      <a:pPr algn="ctr" rtl="1"/>
                      <a:r>
                        <a:rPr lang="ar-TN" sz="1600" b="1" dirty="0" smtClean="0">
                          <a:solidFill>
                            <a:schemeClr val="bg1"/>
                          </a:solidFill>
                          <a:latin typeface="Simplified Arabic" panose="02020603050405020304" pitchFamily="18" charset="-78"/>
                          <a:cs typeface="Simplified Arabic" panose="02020603050405020304" pitchFamily="18" charset="-78"/>
                        </a:rPr>
                        <a:t> (جويلية </a:t>
                      </a:r>
                      <a:r>
                        <a:rPr lang="ar-TN" sz="1400" b="1" dirty="0" smtClean="0">
                          <a:solidFill>
                            <a:schemeClr val="bg1"/>
                          </a:solidFill>
                          <a:latin typeface="Times New Roman" panose="02020603050405020304" pitchFamily="18" charset="0"/>
                          <a:cs typeface="Times New Roman" panose="02020603050405020304" pitchFamily="18" charset="0"/>
                        </a:rPr>
                        <a:t>2019</a:t>
                      </a:r>
                      <a:r>
                        <a:rPr lang="ar-TN" sz="1600" b="1" dirty="0" smtClean="0">
                          <a:solidFill>
                            <a:schemeClr val="bg1"/>
                          </a:solidFill>
                          <a:latin typeface="Simplified Arabic" panose="02020603050405020304" pitchFamily="18" charset="-78"/>
                          <a:cs typeface="Simplified Arabic" panose="02020603050405020304" pitchFamily="18" charset="-78"/>
                        </a:rPr>
                        <a:t>)</a:t>
                      </a:r>
                      <a:endParaRPr lang="fr-FR" sz="1600" b="1" dirty="0">
                        <a:solidFill>
                          <a:schemeClr val="bg1"/>
                        </a:solidFill>
                        <a:latin typeface="Simplified Arabic" panose="02020603050405020304" pitchFamily="18" charset="-78"/>
                        <a:cs typeface="Simplified Arabic" panose="02020603050405020304" pitchFamily="18" charset="-78"/>
                      </a:endParaRPr>
                    </a:p>
                  </a:txBody>
                  <a:tcPr anchor="ctr">
                    <a:lnB w="12700" cap="flat" cmpd="sng" algn="ctr">
                      <a:solidFill>
                        <a:schemeClr val="tx1"/>
                      </a:solidFill>
                      <a:prstDash val="solid"/>
                      <a:round/>
                      <a:headEnd type="none" w="med" len="med"/>
                      <a:tailEnd type="none" w="med" len="med"/>
                    </a:lnB>
                  </a:tcPr>
                </a:tc>
                <a:tc>
                  <a:txBody>
                    <a:bodyPr/>
                    <a:lstStyle/>
                    <a:p>
                      <a:pPr algn="ctr" rtl="1"/>
                      <a:r>
                        <a:rPr lang="ar-TN" sz="1600" b="1" dirty="0" smtClean="0">
                          <a:solidFill>
                            <a:schemeClr val="bg1"/>
                          </a:solidFill>
                          <a:latin typeface="Simplified Arabic" panose="02020603050405020304" pitchFamily="18" charset="-78"/>
                          <a:cs typeface="Simplified Arabic" panose="02020603050405020304" pitchFamily="18" charset="-78"/>
                        </a:rPr>
                        <a:t>التقديرات الأولية</a:t>
                      </a:r>
                    </a:p>
                    <a:p>
                      <a:pPr algn="ctr" rtl="1"/>
                      <a:r>
                        <a:rPr lang="ar-TN" sz="1600" b="1" dirty="0" smtClean="0">
                          <a:solidFill>
                            <a:schemeClr val="bg1"/>
                          </a:solidFill>
                          <a:latin typeface="Simplified Arabic" panose="02020603050405020304" pitchFamily="18" charset="-78"/>
                          <a:cs typeface="Simplified Arabic" panose="02020603050405020304" pitchFamily="18" charset="-78"/>
                        </a:rPr>
                        <a:t> (أكتوبر </a:t>
                      </a:r>
                      <a:r>
                        <a:rPr lang="ar-TN" sz="1400" b="1" dirty="0" smtClean="0">
                          <a:solidFill>
                            <a:schemeClr val="bg1"/>
                          </a:solidFill>
                          <a:latin typeface="Times New Roman" panose="02020603050405020304" pitchFamily="18" charset="0"/>
                          <a:cs typeface="Times New Roman" panose="02020603050405020304" pitchFamily="18" charset="0"/>
                        </a:rPr>
                        <a:t>2018</a:t>
                      </a:r>
                      <a:r>
                        <a:rPr lang="ar-TN" sz="1600" b="1" dirty="0" smtClean="0">
                          <a:solidFill>
                            <a:schemeClr val="bg1"/>
                          </a:solidFill>
                          <a:latin typeface="Simplified Arabic" panose="02020603050405020304" pitchFamily="18" charset="-78"/>
                          <a:cs typeface="Simplified Arabic" panose="02020603050405020304" pitchFamily="18" charset="-78"/>
                        </a:rPr>
                        <a:t>)</a:t>
                      </a:r>
                      <a:endParaRPr lang="fr-FR" sz="1600" b="1" dirty="0">
                        <a:solidFill>
                          <a:schemeClr val="bg1"/>
                        </a:solidFill>
                        <a:latin typeface="Simplified Arabic" panose="02020603050405020304" pitchFamily="18" charset="-78"/>
                        <a:cs typeface="Simplified Arabic" panose="02020603050405020304" pitchFamily="18" charset="-78"/>
                      </a:endParaRPr>
                    </a:p>
                  </a:txBody>
                  <a:tcPr anchor="ctr">
                    <a:lnB w="12700" cap="flat" cmpd="sng" algn="ctr">
                      <a:solidFill>
                        <a:schemeClr val="tx1"/>
                      </a:solidFill>
                      <a:prstDash val="solid"/>
                      <a:round/>
                      <a:headEnd type="none" w="med" len="med"/>
                      <a:tailEnd type="none" w="med" len="med"/>
                    </a:lnB>
                  </a:tcPr>
                </a:tc>
                <a:tc>
                  <a:txBody>
                    <a:bodyPr/>
                    <a:lstStyle/>
                    <a:p>
                      <a:pPr algn="r" rtl="1"/>
                      <a:r>
                        <a:rPr lang="ar-TN" sz="1800" b="1" dirty="0" err="1" smtClean="0">
                          <a:solidFill>
                            <a:schemeClr val="bg1"/>
                          </a:solidFill>
                          <a:latin typeface="Simplified Arabic" pitchFamily="18" charset="-78"/>
                          <a:cs typeface="Simplified Arabic" pitchFamily="18" charset="-78"/>
                        </a:rPr>
                        <a:t>(</a:t>
                      </a:r>
                      <a:r>
                        <a:rPr lang="fr-FR" sz="1800" b="1" dirty="0" smtClean="0">
                          <a:solidFill>
                            <a:schemeClr val="bg1"/>
                          </a:solidFill>
                          <a:latin typeface="Simplified Arabic" pitchFamily="18" charset="-78"/>
                          <a:cs typeface="Simplified Arabic" pitchFamily="18" charset="-78"/>
                        </a:rPr>
                        <a:t>%</a:t>
                      </a:r>
                      <a:r>
                        <a:rPr lang="ar-TN" sz="1800" b="1" dirty="0" smtClean="0">
                          <a:solidFill>
                            <a:schemeClr val="bg1"/>
                          </a:solidFill>
                          <a:latin typeface="Simplified Arabic" pitchFamily="18" charset="-78"/>
                          <a:cs typeface="Simplified Arabic" pitchFamily="18" charset="-78"/>
                        </a:rPr>
                        <a:t>، بالأسعار القارة)</a:t>
                      </a:r>
                      <a:endParaRPr lang="fr-FR" sz="1800" b="1" dirty="0">
                        <a:solidFill>
                          <a:schemeClr val="bg1"/>
                        </a:solidFill>
                        <a:latin typeface="Simplified Arabic" pitchFamily="18" charset="-78"/>
                        <a:cs typeface="Simplified Arabic" pitchFamily="18" charset="-78"/>
                      </a:endParaRPr>
                    </a:p>
                  </a:txBody>
                  <a:tcPr anchor="ct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0"/>
                  </a:ext>
                </a:extLst>
              </a:tr>
              <a:tr h="315602">
                <a:tc>
                  <a:txBody>
                    <a:bodyPr/>
                    <a:lstStyle/>
                    <a:p>
                      <a:pPr marL="0" indent="0" algn="ctr" defTabSz="914206" rtl="1" eaLnBrk="1" latinLnBrk="0" hangingPunct="1"/>
                      <a:r>
                        <a:rPr lang="ar-TN" sz="1400" b="1" kern="1200" dirty="0" smtClean="0">
                          <a:solidFill>
                            <a:schemeClr val="tx1"/>
                          </a:solidFill>
                          <a:latin typeface="Simplified Arabic" panose="02020603050405020304" pitchFamily="18" charset="-78"/>
                          <a:ea typeface="+mn-ea"/>
                          <a:cs typeface="Simplified Arabic" panose="02020603050405020304" pitchFamily="18" charset="-78"/>
                        </a:rPr>
                        <a:t>3,0</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defTabSz="914206" rtl="1" eaLnBrk="1" latinLnBrk="0" hangingPunct="1"/>
                      <a:r>
                        <a:rPr lang="ar-TN" sz="1400" b="1" kern="1200" dirty="0" smtClean="0">
                          <a:solidFill>
                            <a:schemeClr val="tx1"/>
                          </a:solidFill>
                          <a:latin typeface="Simplified Arabic" panose="02020603050405020304" pitchFamily="18" charset="-78"/>
                          <a:ea typeface="+mn-ea"/>
                          <a:cs typeface="Simplified Arabic" panose="02020603050405020304" pitchFamily="18" charset="-78"/>
                        </a:rPr>
                        <a:t>3,2</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defTabSz="914206" rtl="1" eaLnBrk="1" latinLnBrk="0" hangingPunct="1"/>
                      <a:r>
                        <a:rPr lang="ar-TN" sz="1400" b="1" kern="1200" dirty="0" smtClean="0">
                          <a:solidFill>
                            <a:schemeClr val="tx1"/>
                          </a:solidFill>
                          <a:latin typeface="Simplified Arabic" panose="02020603050405020304" pitchFamily="18" charset="-78"/>
                          <a:ea typeface="+mn-ea"/>
                          <a:cs typeface="Simplified Arabic" panose="02020603050405020304" pitchFamily="18" charset="-78"/>
                        </a:rPr>
                        <a:t>3,7</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defTabSz="914206" rtl="1" eaLnBrk="1" latinLnBrk="0" hangingPunct="1"/>
                      <a:r>
                        <a:rPr lang="ar-TN" sz="1400" b="1" kern="1200" dirty="0" smtClean="0">
                          <a:solidFill>
                            <a:schemeClr val="tx1"/>
                          </a:solidFill>
                          <a:latin typeface="Simplified Arabic" panose="02020603050405020304" pitchFamily="18" charset="-78"/>
                          <a:ea typeface="+mn-ea"/>
                          <a:cs typeface="Simplified Arabic" panose="02020603050405020304" pitchFamily="18" charset="-78"/>
                        </a:rPr>
                        <a:t>العالم</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2190462320"/>
                  </a:ext>
                </a:extLst>
              </a:tr>
              <a:tr h="315602">
                <a:tc>
                  <a:txBody>
                    <a:bodyPr/>
                    <a:lstStyle/>
                    <a:p>
                      <a:pPr marL="0" indent="0" algn="ctr" defTabSz="914206" rtl="1" eaLnBrk="1" latinLnBrk="0" hangingPunct="1"/>
                      <a:r>
                        <a:rPr lang="ar-TN" sz="1400" b="1" kern="1200" dirty="0" smtClean="0">
                          <a:solidFill>
                            <a:schemeClr val="tx1"/>
                          </a:solidFill>
                          <a:latin typeface="Simplified Arabic" panose="02020603050405020304" pitchFamily="18" charset="-78"/>
                          <a:ea typeface="+mn-ea"/>
                          <a:cs typeface="Simplified Arabic" panose="02020603050405020304" pitchFamily="18" charset="-78"/>
                        </a:rPr>
                        <a:t>1,2</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lnT w="12700" cap="flat" cmpd="sng" algn="ctr">
                      <a:solidFill>
                        <a:schemeClr val="tx1"/>
                      </a:solidFill>
                      <a:prstDash val="solid"/>
                      <a:round/>
                      <a:headEnd type="none" w="med" len="med"/>
                      <a:tailEnd type="none" w="med" len="med"/>
                    </a:lnT>
                  </a:tcPr>
                </a:tc>
                <a:tc>
                  <a:txBody>
                    <a:bodyPr/>
                    <a:lstStyle/>
                    <a:p>
                      <a:pPr marL="0" indent="0" algn="ctr" defTabSz="914206" rtl="1" eaLnBrk="1" latinLnBrk="0" hangingPunct="1"/>
                      <a:r>
                        <a:rPr lang="fr-FR" sz="1400" b="1" kern="1200" dirty="0" smtClean="0"/>
                        <a:t>1,3</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lnT w="12700" cap="flat" cmpd="sng" algn="ctr">
                      <a:solidFill>
                        <a:schemeClr val="tx1"/>
                      </a:solidFill>
                      <a:prstDash val="solid"/>
                      <a:round/>
                      <a:headEnd type="none" w="med" len="med"/>
                      <a:tailEnd type="none" w="med" len="med"/>
                    </a:lnT>
                  </a:tcPr>
                </a:tc>
                <a:tc>
                  <a:txBody>
                    <a:bodyPr/>
                    <a:lstStyle/>
                    <a:p>
                      <a:pPr marL="0" indent="0" algn="ctr" defTabSz="914206" rtl="1" eaLnBrk="1" latinLnBrk="0" hangingPunct="1"/>
                      <a:r>
                        <a:rPr lang="fr-FR" sz="1400" b="1" kern="1200" dirty="0" smtClean="0"/>
                        <a:t>1,9</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lnT w="12700" cap="flat" cmpd="sng" algn="ctr">
                      <a:solidFill>
                        <a:schemeClr val="tx1"/>
                      </a:solidFill>
                      <a:prstDash val="solid"/>
                      <a:round/>
                      <a:headEnd type="none" w="med" len="med"/>
                      <a:tailEnd type="none" w="med" len="med"/>
                    </a:lnT>
                  </a:tcPr>
                </a:tc>
                <a:tc>
                  <a:txBody>
                    <a:bodyPr/>
                    <a:lstStyle/>
                    <a:p>
                      <a:pPr marL="0" indent="0" algn="r" defTabSz="914206" rtl="1" eaLnBrk="1" latinLnBrk="0" hangingPunct="1"/>
                      <a:r>
                        <a:rPr lang="ar-TN" sz="1400" b="1" kern="1200" dirty="0" smtClean="0"/>
                        <a:t>منطقة الأورو</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1"/>
                  </a:ext>
                </a:extLst>
              </a:tr>
              <a:tr h="315602">
                <a:tc>
                  <a:txBody>
                    <a:bodyPr/>
                    <a:lstStyle/>
                    <a:p>
                      <a:pPr marL="0" indent="0" algn="ctr" defTabSz="914206" rtl="1" eaLnBrk="1" latinLnBrk="0" hangingPunct="1"/>
                      <a:r>
                        <a:rPr lang="ar-TN" sz="1400" b="1" kern="1200" dirty="0" smtClean="0">
                          <a:solidFill>
                            <a:schemeClr val="tx1"/>
                          </a:solidFill>
                          <a:latin typeface="Simplified Arabic" panose="02020603050405020304" pitchFamily="18" charset="-78"/>
                          <a:ea typeface="+mn-ea"/>
                          <a:cs typeface="Simplified Arabic" panose="02020603050405020304" pitchFamily="18" charset="-78"/>
                        </a:rPr>
                        <a:t>1,2</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tc>
                <a:tc>
                  <a:txBody>
                    <a:bodyPr/>
                    <a:lstStyle/>
                    <a:p>
                      <a:pPr marL="0" indent="0" algn="ctr" defTabSz="914206" rtl="1" eaLnBrk="1" latinLnBrk="0" hangingPunct="1"/>
                      <a:r>
                        <a:rPr lang="fr-FR" sz="1400" b="1" kern="1200" dirty="0" smtClean="0"/>
                        <a:t>1,3</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tc>
                <a:tc>
                  <a:txBody>
                    <a:bodyPr/>
                    <a:lstStyle/>
                    <a:p>
                      <a:pPr marL="0" indent="0" algn="ctr" defTabSz="914206" rtl="1" eaLnBrk="1" latinLnBrk="0" hangingPunct="1"/>
                      <a:r>
                        <a:rPr lang="fr-FR" sz="1400" b="1" kern="1200" dirty="0" smtClean="0"/>
                        <a:t>1,6</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tc>
                <a:tc>
                  <a:txBody>
                    <a:bodyPr/>
                    <a:lstStyle/>
                    <a:p>
                      <a:pPr marL="466331" lvl="1" indent="0" algn="r" defTabSz="914206" rtl="1" eaLnBrk="1" latinLnBrk="0" hangingPunct="1"/>
                      <a:r>
                        <a:rPr lang="ar-TN" sz="1400" b="1" kern="1200" dirty="0" smtClean="0"/>
                        <a:t>فرنسا</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tc>
                <a:extLst>
                  <a:ext uri="{0D108BD9-81ED-4DB2-BD59-A6C34878D82A}">
                    <a16:rowId xmlns="" xmlns:a16="http://schemas.microsoft.com/office/drawing/2014/main" val="10002"/>
                  </a:ext>
                </a:extLst>
              </a:tr>
              <a:tr h="315602">
                <a:tc>
                  <a:txBody>
                    <a:bodyPr/>
                    <a:lstStyle/>
                    <a:p>
                      <a:pPr marL="0" indent="0" algn="ctr" defTabSz="914206" rtl="1" eaLnBrk="1" latinLnBrk="0" hangingPunct="1"/>
                      <a:r>
                        <a:rPr lang="ar-TN" sz="1400" b="1" kern="1200" dirty="0" smtClean="0">
                          <a:solidFill>
                            <a:schemeClr val="tx1"/>
                          </a:solidFill>
                          <a:latin typeface="Simplified Arabic" panose="02020603050405020304" pitchFamily="18" charset="-78"/>
                          <a:ea typeface="+mn-ea"/>
                          <a:cs typeface="Simplified Arabic" panose="02020603050405020304" pitchFamily="18" charset="-78"/>
                        </a:rPr>
                        <a:t>0,5</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tc>
                <a:tc>
                  <a:txBody>
                    <a:bodyPr/>
                    <a:lstStyle/>
                    <a:p>
                      <a:pPr marL="0" indent="0" algn="ctr" defTabSz="914206" rtl="1" eaLnBrk="1" latinLnBrk="0" hangingPunct="1"/>
                      <a:r>
                        <a:rPr lang="fr-FR" sz="1400" b="1" kern="1200" dirty="0" smtClean="0"/>
                        <a:t>0,7</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tc>
                <a:tc>
                  <a:txBody>
                    <a:bodyPr/>
                    <a:lstStyle/>
                    <a:p>
                      <a:pPr marL="0" indent="0" algn="ctr" defTabSz="914206" rtl="1" eaLnBrk="1" latinLnBrk="0" hangingPunct="1"/>
                      <a:r>
                        <a:rPr lang="fr-FR" sz="1400" b="1" kern="1200" dirty="0" smtClean="0"/>
                        <a:t>1,9</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tc>
                <a:tc>
                  <a:txBody>
                    <a:bodyPr/>
                    <a:lstStyle/>
                    <a:p>
                      <a:pPr marL="466331" lvl="1" indent="0" algn="r" defTabSz="914206" rtl="1" eaLnBrk="1" latinLnBrk="0" hangingPunct="1"/>
                      <a:r>
                        <a:rPr lang="ar-TN" sz="1400" b="1" kern="1200" dirty="0" smtClean="0"/>
                        <a:t>ألمانيا</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tc>
                <a:extLst>
                  <a:ext uri="{0D108BD9-81ED-4DB2-BD59-A6C34878D82A}">
                    <a16:rowId xmlns="" xmlns:a16="http://schemas.microsoft.com/office/drawing/2014/main" val="10003"/>
                  </a:ext>
                </a:extLst>
              </a:tr>
              <a:tr h="315602">
                <a:tc>
                  <a:txBody>
                    <a:bodyPr/>
                    <a:lstStyle/>
                    <a:p>
                      <a:pPr marL="0" indent="0" algn="ctr" defTabSz="914206" rtl="1" eaLnBrk="1" latinLnBrk="0" hangingPunct="1"/>
                      <a:r>
                        <a:rPr lang="fr-FR" sz="1400" b="1" kern="1200" dirty="0" smtClean="0">
                          <a:solidFill>
                            <a:schemeClr val="tx1"/>
                          </a:solidFill>
                          <a:latin typeface="Simplified Arabic" panose="02020603050405020304" pitchFamily="18" charset="-78"/>
                          <a:ea typeface="+mn-ea"/>
                          <a:cs typeface="Simplified Arabic" panose="02020603050405020304" pitchFamily="18" charset="-78"/>
                        </a:rPr>
                        <a:t>0,0</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tc>
                <a:tc>
                  <a:txBody>
                    <a:bodyPr/>
                    <a:lstStyle/>
                    <a:p>
                      <a:pPr marL="0" indent="0" algn="ctr" defTabSz="914206" rtl="1" eaLnBrk="1" latinLnBrk="0" hangingPunct="1"/>
                      <a:r>
                        <a:rPr lang="ar-TN" sz="1400" b="1" kern="1200" dirty="0" smtClean="0">
                          <a:solidFill>
                            <a:schemeClr val="tx1"/>
                          </a:solidFill>
                          <a:latin typeface="Simplified Arabic" panose="02020603050405020304" pitchFamily="18" charset="-78"/>
                          <a:ea typeface="+mn-ea"/>
                          <a:cs typeface="Simplified Arabic" panose="02020603050405020304" pitchFamily="18" charset="-78"/>
                        </a:rPr>
                        <a:t>0,1</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tc>
                <a:tc>
                  <a:txBody>
                    <a:bodyPr/>
                    <a:lstStyle/>
                    <a:p>
                      <a:pPr marL="0" indent="0" algn="ctr" defTabSz="914206" rtl="1" eaLnBrk="1" latinLnBrk="0" hangingPunct="1"/>
                      <a:r>
                        <a:rPr lang="ar-TN" sz="1400" b="1" kern="1200" dirty="0" smtClean="0">
                          <a:solidFill>
                            <a:schemeClr val="tx1"/>
                          </a:solidFill>
                          <a:latin typeface="Simplified Arabic" panose="02020603050405020304" pitchFamily="18" charset="-78"/>
                          <a:ea typeface="+mn-ea"/>
                          <a:cs typeface="Simplified Arabic" panose="02020603050405020304" pitchFamily="18" charset="-78"/>
                        </a:rPr>
                        <a:t>1,0</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tc>
                <a:tc>
                  <a:txBody>
                    <a:bodyPr/>
                    <a:lstStyle/>
                    <a:p>
                      <a:pPr marL="466331" lvl="1" indent="0" algn="r" defTabSz="914206" rtl="1" eaLnBrk="1" latinLnBrk="0" hangingPunct="1"/>
                      <a:r>
                        <a:rPr lang="ar-TN" sz="1400" b="1" kern="1200" dirty="0" smtClean="0">
                          <a:solidFill>
                            <a:schemeClr val="dk1"/>
                          </a:solidFill>
                          <a:latin typeface="+mn-lt"/>
                          <a:ea typeface="+mn-ea"/>
                          <a:cs typeface="+mn-cs"/>
                        </a:rPr>
                        <a:t>ايطاليا</a:t>
                      </a:r>
                      <a:endParaRPr lang="fr-FR" sz="1400" b="1" kern="1200" dirty="0">
                        <a:solidFill>
                          <a:schemeClr val="dk1"/>
                        </a:solidFill>
                        <a:latin typeface="+mn-lt"/>
                        <a:ea typeface="+mn-ea"/>
                        <a:cs typeface="+mn-cs"/>
                      </a:endParaRPr>
                    </a:p>
                  </a:txBody>
                  <a:tcPr/>
                </a:tc>
                <a:extLst>
                  <a:ext uri="{0D108BD9-81ED-4DB2-BD59-A6C34878D82A}">
                    <a16:rowId xmlns="" xmlns:a16="http://schemas.microsoft.com/office/drawing/2014/main" val="1841763891"/>
                  </a:ext>
                </a:extLst>
              </a:tr>
              <a:tr h="315602">
                <a:tc>
                  <a:txBody>
                    <a:bodyPr/>
                    <a:lstStyle/>
                    <a:p>
                      <a:pPr marL="0" indent="0" algn="ctr" defTabSz="914206" rtl="1" eaLnBrk="1" latinLnBrk="0" hangingPunct="1"/>
                      <a:r>
                        <a:rPr lang="ar-TN" sz="1400" b="1" kern="1200" dirty="0" smtClean="0">
                          <a:solidFill>
                            <a:schemeClr val="tx1"/>
                          </a:solidFill>
                          <a:latin typeface="Simplified Arabic" panose="02020603050405020304" pitchFamily="18" charset="-78"/>
                          <a:ea typeface="+mn-ea"/>
                          <a:cs typeface="Simplified Arabic" panose="02020603050405020304" pitchFamily="18" charset="-78"/>
                        </a:rPr>
                        <a:t>2,2</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tc>
                <a:tc>
                  <a:txBody>
                    <a:bodyPr/>
                    <a:lstStyle/>
                    <a:p>
                      <a:pPr marL="0" indent="0" algn="ctr" defTabSz="914206" rtl="1" eaLnBrk="1" latinLnBrk="0" hangingPunct="1"/>
                      <a:r>
                        <a:rPr lang="ar-TN" sz="1400" b="1" kern="1200" dirty="0" smtClean="0">
                          <a:solidFill>
                            <a:schemeClr val="tx1"/>
                          </a:solidFill>
                          <a:latin typeface="Simplified Arabic" panose="02020603050405020304" pitchFamily="18" charset="-78"/>
                          <a:ea typeface="+mn-ea"/>
                          <a:cs typeface="Simplified Arabic" panose="02020603050405020304" pitchFamily="18" charset="-78"/>
                        </a:rPr>
                        <a:t>2,3</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tc>
                <a:tc>
                  <a:txBody>
                    <a:bodyPr/>
                    <a:lstStyle/>
                    <a:p>
                      <a:pPr marL="0" indent="0" algn="ctr" defTabSz="914206" rtl="1" eaLnBrk="1" latinLnBrk="0" hangingPunct="1"/>
                      <a:r>
                        <a:rPr lang="ar-TN" sz="1400" b="1" kern="1200" dirty="0" smtClean="0">
                          <a:solidFill>
                            <a:schemeClr val="tx1"/>
                          </a:solidFill>
                          <a:latin typeface="Simplified Arabic" panose="02020603050405020304" pitchFamily="18" charset="-78"/>
                          <a:ea typeface="+mn-ea"/>
                          <a:cs typeface="Simplified Arabic" panose="02020603050405020304" pitchFamily="18" charset="-78"/>
                        </a:rPr>
                        <a:t>2,2</a:t>
                      </a:r>
                      <a:endParaRPr lang="fr-FR" sz="1400" b="1" kern="1200" dirty="0">
                        <a:solidFill>
                          <a:schemeClr val="tx1"/>
                        </a:solidFill>
                        <a:latin typeface="Simplified Arabic" panose="02020603050405020304" pitchFamily="18" charset="-78"/>
                        <a:ea typeface="+mn-ea"/>
                        <a:cs typeface="Simplified Arabic" panose="02020603050405020304" pitchFamily="18" charset="-78"/>
                      </a:endParaRPr>
                    </a:p>
                  </a:txBody>
                  <a:tcPr/>
                </a:tc>
                <a:tc>
                  <a:txBody>
                    <a:bodyPr/>
                    <a:lstStyle/>
                    <a:p>
                      <a:pPr marL="466331" lvl="1" indent="0" algn="r" defTabSz="914206" rtl="1" eaLnBrk="1" latinLnBrk="0" hangingPunct="1"/>
                      <a:r>
                        <a:rPr lang="ar-TN" sz="1400" b="1" kern="1200" dirty="0" smtClean="0">
                          <a:solidFill>
                            <a:schemeClr val="dk1"/>
                          </a:solidFill>
                          <a:latin typeface="+mn-lt"/>
                          <a:ea typeface="+mn-ea"/>
                          <a:cs typeface="+mn-cs"/>
                        </a:rPr>
                        <a:t>اسبانيا</a:t>
                      </a:r>
                      <a:endParaRPr lang="fr-FR" sz="1400" b="1" kern="1200" dirty="0">
                        <a:solidFill>
                          <a:schemeClr val="dk1"/>
                        </a:solidFill>
                        <a:latin typeface="+mn-lt"/>
                        <a:ea typeface="+mn-ea"/>
                        <a:cs typeface="+mn-cs"/>
                      </a:endParaRPr>
                    </a:p>
                  </a:txBody>
                  <a:tcPr/>
                </a:tc>
                <a:extLst>
                  <a:ext uri="{0D108BD9-81ED-4DB2-BD59-A6C34878D82A}">
                    <a16:rowId xmlns="" xmlns:a16="http://schemas.microsoft.com/office/drawing/2014/main" val="11253106"/>
                  </a:ext>
                </a:extLst>
              </a:tr>
            </a:tbl>
          </a:graphicData>
        </a:graphic>
      </p:graphicFrame>
      <p:sp>
        <p:nvSpPr>
          <p:cNvPr id="7" name="Rectangle 6"/>
          <p:cNvSpPr/>
          <p:nvPr/>
        </p:nvSpPr>
        <p:spPr>
          <a:xfrm>
            <a:off x="2896678" y="2352251"/>
            <a:ext cx="3522595" cy="711200"/>
          </a:xfrm>
          <a:prstGeom prst="rect">
            <a:avLst/>
          </a:prstGeom>
          <a:ln w="12700"/>
        </p:spPr>
        <p:style>
          <a:lnRef idx="2">
            <a:schemeClr val="accent4"/>
          </a:lnRef>
          <a:fillRef idx="1">
            <a:schemeClr val="lt1"/>
          </a:fillRef>
          <a:effectRef idx="0">
            <a:schemeClr val="accent4"/>
          </a:effectRef>
          <a:fontRef idx="minor">
            <a:schemeClr val="dk1"/>
          </a:fontRef>
        </p:style>
        <p:txBody>
          <a:bodyPr lIns="0" tIns="45711" rIns="0" bIns="45711" rtlCol="0" anchor="ctr"/>
          <a:lstStyle/>
          <a:p>
            <a:pPr marL="268288" algn="r" rtl="1">
              <a:spcBef>
                <a:spcPts val="0"/>
              </a:spcBef>
              <a:spcAft>
                <a:spcPts val="0"/>
              </a:spcAft>
              <a:buClr>
                <a:srgbClr val="FF0000"/>
              </a:buClr>
              <a:buSzPct val="80000"/>
            </a:pPr>
            <a:endParaRPr lang="fr-FR" b="1" dirty="0" smtClean="0">
              <a:latin typeface="Simplified Arabic" panose="02020603050405020304" pitchFamily="18" charset="-78"/>
              <a:cs typeface="Simplified Arabic" panose="02020603050405020304" pitchFamily="18" charset="-78"/>
            </a:endParaRPr>
          </a:p>
          <a:p>
            <a:pPr marL="268288" algn="ctr" rtl="1">
              <a:spcBef>
                <a:spcPts val="0"/>
              </a:spcBef>
              <a:spcAft>
                <a:spcPts val="0"/>
              </a:spcAft>
              <a:buClr>
                <a:srgbClr val="FF0000"/>
              </a:buClr>
              <a:buSzPct val="80000"/>
            </a:pPr>
            <a:r>
              <a:rPr lang="ar-TN" b="1" dirty="0" smtClean="0">
                <a:latin typeface="Simplified Arabic" panose="02020603050405020304" pitchFamily="18" charset="-78"/>
                <a:cs typeface="Simplified Arabic" panose="02020603050405020304" pitchFamily="18" charset="-78"/>
              </a:rPr>
              <a:t>تقديرات النمو لسنة </a:t>
            </a:r>
            <a:r>
              <a:rPr lang="fr-FR" sz="1600" b="1" dirty="0" smtClean="0">
                <a:latin typeface="Times New Roman" panose="02020603050405020304" pitchFamily="18" charset="0"/>
                <a:cs typeface="Times New Roman" panose="02020603050405020304" pitchFamily="18" charset="0"/>
              </a:rPr>
              <a:t>2019</a:t>
            </a:r>
            <a:endParaRPr lang="ar-TN" b="1" dirty="0" smtClean="0">
              <a:latin typeface="Times New Roman" panose="02020603050405020304" pitchFamily="18" charset="0"/>
              <a:cs typeface="Times New Roman" panose="02020603050405020304" pitchFamily="18" charset="0"/>
            </a:endParaRPr>
          </a:p>
          <a:p>
            <a:pPr marL="268288" algn="r" rtl="1">
              <a:lnSpc>
                <a:spcPct val="107000"/>
              </a:lnSpc>
              <a:spcAft>
                <a:spcPts val="800"/>
              </a:spcAft>
              <a:buClr>
                <a:srgbClr val="FF0000"/>
              </a:buClr>
              <a:buSzPct val="80000"/>
            </a:pPr>
            <a:endParaRPr lang="ar-TN" b="1" dirty="0" smtClean="0">
              <a:latin typeface="Simplified Arabic" panose="02020603050405020304" pitchFamily="18" charset="-78"/>
              <a:cs typeface="Simplified Arabic" panose="02020603050405020304" pitchFamily="18" charset="-78"/>
            </a:endParaRPr>
          </a:p>
        </p:txBody>
      </p:sp>
    </p:spTree>
    <p:custDataLst>
      <p:tags r:id="rId2"/>
    </p:custDataLst>
    <p:extLst>
      <p:ext uri="{BB962C8B-B14F-4D97-AF65-F5344CB8AC3E}">
        <p14:creationId xmlns:p14="http://schemas.microsoft.com/office/powerpoint/2010/main" xmlns="" val="36086018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nvPr>
        </p:nvGraphicFramePr>
        <p:xfrm>
          <a:off x="1589" y="1590"/>
          <a:ext cx="1587" cy="1587"/>
        </p:xfrm>
        <a:graphic>
          <a:graphicData uri="http://schemas.openxmlformats.org/presentationml/2006/ole">
            <p:oleObj spid="_x0000_s114899" name="think-cell Slide" r:id="rId6" imgW="360" imgH="360" progId="">
              <p:embed/>
            </p:oleObj>
          </a:graphicData>
        </a:graphic>
      </p:graphicFrame>
      <p:sp>
        <p:nvSpPr>
          <p:cNvPr id="10" name="Text Placeholder 9"/>
          <p:cNvSpPr>
            <a:spLocks noGrp="1"/>
          </p:cNvSpPr>
          <p:nvPr>
            <p:ph type="body" sz="quarter" idx="4294967295"/>
          </p:nvPr>
        </p:nvSpPr>
        <p:spPr>
          <a:xfrm>
            <a:off x="181154" y="176213"/>
            <a:ext cx="8803819" cy="646331"/>
          </a:xfrm>
        </p:spPr>
        <p:txBody>
          <a:bodyPr/>
          <a:lstStyle/>
          <a:p>
            <a:pPr algn="r"/>
            <a:r>
              <a:rPr lang="ar-TN" sz="2200" b="1" dirty="0" smtClean="0">
                <a:solidFill>
                  <a:srgbClr val="E51B2E"/>
                </a:solidFill>
                <a:latin typeface="Simplified Arabic" pitchFamily="18" charset="-78"/>
                <a:ea typeface="ＭＳ Ｐゴシック" pitchFamily="34" charset="-128"/>
                <a:cs typeface="Simplified Arabic" pitchFamily="18" charset="-78"/>
              </a:rPr>
              <a:t>تحيين نتائج سنة </a:t>
            </a:r>
            <a:r>
              <a:rPr lang="ar-TN" sz="2000" b="1" dirty="0" smtClean="0">
                <a:solidFill>
                  <a:srgbClr val="E51B2E"/>
                </a:solidFill>
                <a:latin typeface="Times New Roman" panose="02020603050405020304" pitchFamily="18" charset="0"/>
                <a:ea typeface="ＭＳ Ｐゴシック" pitchFamily="34" charset="-128"/>
                <a:cs typeface="Times New Roman" panose="02020603050405020304" pitchFamily="18" charset="0"/>
              </a:rPr>
              <a:t>2019</a:t>
            </a:r>
            <a:endParaRPr lang="ar-TN" sz="2200" b="1" kern="1200" dirty="0" smtClean="0">
              <a:solidFill>
                <a:srgbClr val="E51B2E"/>
              </a:solidFill>
              <a:latin typeface="Times New Roman" panose="02020603050405020304" pitchFamily="18" charset="0"/>
              <a:ea typeface="ＭＳ Ｐゴシック" pitchFamily="34" charset="-128"/>
              <a:cs typeface="Times New Roman" panose="02020603050405020304" pitchFamily="18" charset="0"/>
            </a:endParaRPr>
          </a:p>
          <a:p>
            <a:pPr algn="l"/>
            <a:r>
              <a:rPr lang="ar-TN" sz="2000" b="1" dirty="0" smtClean="0">
                <a:latin typeface="Simplified Arabic" panose="02020603050405020304" pitchFamily="18" charset="-78"/>
                <a:cs typeface="Simplified Arabic" panose="02020603050405020304" pitchFamily="18" charset="-78"/>
              </a:rPr>
              <a:t>تحيين نسبة النمو لسنة 2019</a:t>
            </a:r>
            <a:endParaRPr lang="ar-JO" sz="1400" b="1" dirty="0">
              <a:solidFill>
                <a:schemeClr val="tx1"/>
              </a:solidFill>
              <a:latin typeface="Simplified Arabic" panose="02020603050405020304" pitchFamily="18" charset="-78"/>
              <a:cs typeface="Simplified Arabic" panose="02020603050405020304" pitchFamily="18" charset="-78"/>
            </a:endParaRPr>
          </a:p>
        </p:txBody>
      </p:sp>
      <p:sp>
        <p:nvSpPr>
          <p:cNvPr id="9218" name="FilePath" hidden="1"/>
          <p:cNvSpPr txBox="1">
            <a:spLocks noChangeArrowheads="1"/>
          </p:cNvSpPr>
          <p:nvPr/>
        </p:nvSpPr>
        <p:spPr bwMode="auto">
          <a:xfrm>
            <a:off x="4103079" y="127000"/>
            <a:ext cx="4689231" cy="146258"/>
          </a:xfrm>
          <a:prstGeom prst="rect">
            <a:avLst/>
          </a:prstGeom>
          <a:noFill/>
          <a:ln w="3175" algn="ctr">
            <a:noFill/>
            <a:miter lim="800000"/>
            <a:headEnd/>
            <a:tailEnd/>
          </a:ln>
        </p:spPr>
        <p:txBody>
          <a:bodyPr lIns="17996" tIns="17996" rIns="17996" bIns="17996">
            <a:spAutoFit/>
          </a:bodyPr>
          <a:lstStyle/>
          <a:p>
            <a:pPr algn="r"/>
            <a:r>
              <a:rPr lang="en-GB" sz="700" dirty="0">
                <a:solidFill>
                  <a:srgbClr val="BEBEBE"/>
                </a:solidFill>
              </a:rPr>
              <a:t>G:\1022_TEMELIN_11264\03 Presentations\120118 Kick-off\2012 01 26 </a:t>
            </a:r>
            <a:r>
              <a:rPr lang="en-GB" sz="700" dirty="0" err="1">
                <a:solidFill>
                  <a:srgbClr val="BEBEBE"/>
                </a:solidFill>
              </a:rPr>
              <a:t>Temelin</a:t>
            </a:r>
            <a:r>
              <a:rPr lang="en-GB" sz="700" dirty="0">
                <a:solidFill>
                  <a:srgbClr val="BEBEBE"/>
                </a:solidFill>
              </a:rPr>
              <a:t> - kick-off_v6.ppt</a:t>
            </a:r>
          </a:p>
        </p:txBody>
      </p:sp>
      <p:sp>
        <p:nvSpPr>
          <p:cNvPr id="8" name="Rectangle 7"/>
          <p:cNvSpPr/>
          <p:nvPr/>
        </p:nvSpPr>
        <p:spPr>
          <a:xfrm>
            <a:off x="350982" y="1449238"/>
            <a:ext cx="8441328" cy="3743863"/>
          </a:xfrm>
          <a:prstGeom prst="rect">
            <a:avLst/>
          </a:prstGeom>
          <a:ln w="12700">
            <a:solidFill>
              <a:srgbClr val="C00000"/>
            </a:solidFill>
          </a:ln>
        </p:spPr>
        <p:style>
          <a:lnRef idx="2">
            <a:schemeClr val="accent4"/>
          </a:lnRef>
          <a:fillRef idx="1">
            <a:schemeClr val="lt1"/>
          </a:fillRef>
          <a:effectRef idx="0">
            <a:schemeClr val="accent4"/>
          </a:effectRef>
          <a:fontRef idx="minor">
            <a:schemeClr val="dk1"/>
          </a:fontRef>
        </p:style>
        <p:txBody>
          <a:bodyPr lIns="0" tIns="45711" rIns="0" bIns="45711" rtlCol="0" anchor="ctr"/>
          <a:lstStyle/>
          <a:p>
            <a:pPr marL="268288" algn="r" rtl="1">
              <a:spcBef>
                <a:spcPts val="0"/>
              </a:spcBef>
              <a:spcAft>
                <a:spcPts val="0"/>
              </a:spcAft>
              <a:buClr>
                <a:srgbClr val="FF0000"/>
              </a:buClr>
              <a:buSzPct val="80000"/>
            </a:pPr>
            <a:endParaRPr lang="fr-FR" b="1" dirty="0" smtClean="0">
              <a:latin typeface="Simplified Arabic" panose="02020603050405020304" pitchFamily="18" charset="-78"/>
              <a:cs typeface="Simplified Arabic" panose="02020603050405020304" pitchFamily="18" charset="-78"/>
            </a:endParaRPr>
          </a:p>
          <a:p>
            <a:pPr marL="611188" indent="-342900" algn="r" rtl="1">
              <a:lnSpc>
                <a:spcPct val="150000"/>
              </a:lnSpc>
              <a:spcBef>
                <a:spcPts val="600"/>
              </a:spcBef>
              <a:spcAft>
                <a:spcPts val="600"/>
              </a:spcAft>
              <a:buClr>
                <a:srgbClr val="FF0000"/>
              </a:buClr>
              <a:buSzPct val="80000"/>
              <a:buFont typeface="Arial" panose="020B0604020202020204" pitchFamily="34" charset="0"/>
              <a:buChar char="•"/>
            </a:pPr>
            <a:r>
              <a:rPr lang="ar-TN" sz="2000" b="1" dirty="0" smtClean="0">
                <a:latin typeface="Simplified Arabic" panose="02020603050405020304" pitchFamily="18" charset="-78"/>
                <a:cs typeface="Simplified Arabic" panose="02020603050405020304" pitchFamily="18" charset="-78"/>
              </a:rPr>
              <a:t>تزامن عدد من العوامل الداخلية </a:t>
            </a:r>
            <a:r>
              <a:rPr lang="ar-TN" sz="2000" dirty="0" smtClean="0">
                <a:latin typeface="Simplified Arabic" panose="02020603050405020304" pitchFamily="18" charset="-78"/>
                <a:cs typeface="Simplified Arabic" panose="02020603050405020304" pitchFamily="18" charset="-78"/>
              </a:rPr>
              <a:t>غير الملائمة من أهمّها: </a:t>
            </a:r>
          </a:p>
          <a:p>
            <a:pPr marL="1235075" lvl="1" indent="-342900" algn="r" rtl="1">
              <a:lnSpc>
                <a:spcPct val="150000"/>
              </a:lnSpc>
              <a:spcBef>
                <a:spcPts val="600"/>
              </a:spcBef>
              <a:spcAft>
                <a:spcPts val="600"/>
              </a:spcAft>
              <a:buClr>
                <a:srgbClr val="C00000"/>
              </a:buClr>
              <a:buSzPct val="80000"/>
              <a:buFont typeface="Symbol" panose="05050102010706020507" pitchFamily="18" charset="2"/>
              <a:buChar char="-"/>
            </a:pPr>
            <a:r>
              <a:rPr lang="ar-TN" sz="2000" b="1" dirty="0">
                <a:latin typeface="Simplified Arabic" panose="02020603050405020304" pitchFamily="18" charset="-78"/>
                <a:cs typeface="Simplified Arabic" panose="02020603050405020304" pitchFamily="18" charset="-78"/>
              </a:rPr>
              <a:t>تأخر دخول حقل نوارة طور الإنتاج الفعلي </a:t>
            </a:r>
            <a:r>
              <a:rPr lang="ar-TN" sz="2000" dirty="0">
                <a:latin typeface="Simplified Arabic" panose="02020603050405020304" pitchFamily="18" charset="-78"/>
                <a:cs typeface="Simplified Arabic" panose="02020603050405020304" pitchFamily="18" charset="-78"/>
              </a:rPr>
              <a:t>حيث تضمنت التقديرات الأولية الانطلاق في الإنتاج خلال شهر جوان </a:t>
            </a:r>
            <a:r>
              <a:rPr lang="fr-FR" sz="2000" dirty="0" smtClean="0">
                <a:latin typeface="Simplified Arabic" panose="02020603050405020304" pitchFamily="18" charset="-78"/>
                <a:cs typeface="Simplified Arabic" panose="02020603050405020304" pitchFamily="18" charset="-78"/>
              </a:rPr>
              <a:t>2019</a:t>
            </a:r>
            <a:r>
              <a:rPr lang="ar-TN" sz="2000" dirty="0" smtClean="0">
                <a:latin typeface="Simplified Arabic" panose="02020603050405020304" pitchFamily="18" charset="-78"/>
                <a:cs typeface="Simplified Arabic" panose="02020603050405020304" pitchFamily="18" charset="-78"/>
              </a:rPr>
              <a:t> : </a:t>
            </a:r>
            <a:r>
              <a:rPr lang="ar-TN" sz="2000" b="1" dirty="0" smtClean="0">
                <a:latin typeface="Simplified Arabic" panose="02020603050405020304" pitchFamily="18" charset="-78"/>
                <a:cs typeface="Simplified Arabic" panose="02020603050405020304" pitchFamily="18" charset="-78"/>
              </a:rPr>
              <a:t>انخفاض النمو بحوالي </a:t>
            </a:r>
            <a:r>
              <a:rPr lang="fr-FR" sz="2000" b="1" dirty="0">
                <a:latin typeface="Simplified Arabic" panose="02020603050405020304" pitchFamily="18" charset="-78"/>
                <a:cs typeface="Simplified Arabic" panose="02020603050405020304" pitchFamily="18" charset="-78"/>
              </a:rPr>
              <a:t>0.3</a:t>
            </a:r>
            <a:r>
              <a:rPr lang="ar-TN" sz="2000" b="1" dirty="0">
                <a:latin typeface="Simplified Arabic" panose="02020603050405020304" pitchFamily="18" charset="-78"/>
                <a:cs typeface="Simplified Arabic" panose="02020603050405020304" pitchFamily="18" charset="-78"/>
              </a:rPr>
              <a:t> من النقاط.</a:t>
            </a:r>
            <a:endParaRPr lang="ar-TN" sz="2000" dirty="0">
              <a:latin typeface="Simplified Arabic" panose="02020603050405020304" pitchFamily="18" charset="-78"/>
              <a:cs typeface="Simplified Arabic" panose="02020603050405020304" pitchFamily="18" charset="-78"/>
            </a:endParaRPr>
          </a:p>
          <a:p>
            <a:pPr marL="1235075" lvl="1" indent="-342900" algn="r" rtl="1">
              <a:lnSpc>
                <a:spcPct val="150000"/>
              </a:lnSpc>
              <a:spcBef>
                <a:spcPts val="600"/>
              </a:spcBef>
              <a:spcAft>
                <a:spcPts val="600"/>
              </a:spcAft>
              <a:buClr>
                <a:srgbClr val="C00000"/>
              </a:buClr>
              <a:buSzPct val="80000"/>
              <a:buFont typeface="Symbol" panose="05050102010706020507" pitchFamily="18" charset="2"/>
              <a:buChar char="-"/>
            </a:pPr>
            <a:r>
              <a:rPr lang="ar-TN" sz="2000" b="1" dirty="0" smtClean="0">
                <a:latin typeface="Simplified Arabic" panose="02020603050405020304" pitchFamily="18" charset="-78"/>
                <a:cs typeface="Simplified Arabic" panose="02020603050405020304" pitchFamily="18" charset="-78"/>
              </a:rPr>
              <a:t>تأثر قطاع </a:t>
            </a:r>
            <a:r>
              <a:rPr lang="ar-TN" sz="2000" b="1" dirty="0">
                <a:latin typeface="Simplified Arabic" panose="02020603050405020304" pitchFamily="18" charset="-78"/>
                <a:cs typeface="Simplified Arabic" panose="02020603050405020304" pitchFamily="18" charset="-78"/>
              </a:rPr>
              <a:t>التجارة </a:t>
            </a:r>
            <a:r>
              <a:rPr lang="ar-TN" sz="2000" dirty="0">
                <a:latin typeface="Simplified Arabic" panose="02020603050405020304" pitchFamily="18" charset="-78"/>
                <a:cs typeface="Simplified Arabic" panose="02020603050405020304" pitchFamily="18" charset="-78"/>
              </a:rPr>
              <a:t>الذي يمثل </a:t>
            </a:r>
            <a:r>
              <a:rPr lang="fr-FR" dirty="0">
                <a:latin typeface="Simplified Arabic" panose="02020603050405020304" pitchFamily="18" charset="-78"/>
                <a:cs typeface="Simplified Arabic" panose="02020603050405020304" pitchFamily="18" charset="-78"/>
              </a:rPr>
              <a:t>%10</a:t>
            </a:r>
            <a:r>
              <a:rPr lang="ar-TN" dirty="0">
                <a:latin typeface="Simplified Arabic" panose="02020603050405020304" pitchFamily="18" charset="-78"/>
                <a:cs typeface="Simplified Arabic" panose="02020603050405020304" pitchFamily="18" charset="-78"/>
              </a:rPr>
              <a:t> </a:t>
            </a:r>
            <a:r>
              <a:rPr lang="ar-TN" sz="2000" dirty="0">
                <a:latin typeface="Simplified Arabic" panose="02020603050405020304" pitchFamily="18" charset="-78"/>
                <a:cs typeface="Simplified Arabic" panose="02020603050405020304" pitchFamily="18" charset="-78"/>
              </a:rPr>
              <a:t>من الناتج المحلي </a:t>
            </a:r>
            <a:r>
              <a:rPr lang="ar-TN" sz="2000" dirty="0" smtClean="0">
                <a:latin typeface="Simplified Arabic" panose="02020603050405020304" pitchFamily="18" charset="-78"/>
                <a:cs typeface="Simplified Arabic" panose="02020603050405020304" pitchFamily="18" charset="-78"/>
              </a:rPr>
              <a:t>الإجمالي </a:t>
            </a:r>
            <a:r>
              <a:rPr lang="ar-TN" sz="2000" b="1" dirty="0" smtClean="0">
                <a:latin typeface="Simplified Arabic" panose="02020603050405020304" pitchFamily="18" charset="-78"/>
                <a:cs typeface="Simplified Arabic" panose="02020603050405020304" pitchFamily="18" charset="-78"/>
              </a:rPr>
              <a:t>بصعوبة الظرف الاقتصادي الوطني :انخفاض نمو </a:t>
            </a:r>
            <a:r>
              <a:rPr lang="ar-TN" sz="2000" b="1" dirty="0">
                <a:latin typeface="Simplified Arabic" panose="02020603050405020304" pitchFamily="18" charset="-78"/>
                <a:cs typeface="Simplified Arabic" panose="02020603050405020304" pitchFamily="18" charset="-78"/>
              </a:rPr>
              <a:t>الناتج بـــ </a:t>
            </a:r>
            <a:r>
              <a:rPr lang="fr-FR" b="1" dirty="0" smtClean="0">
                <a:latin typeface="Simplified Arabic" panose="02020603050405020304" pitchFamily="18" charset="-78"/>
                <a:cs typeface="Simplified Arabic" panose="02020603050405020304" pitchFamily="18" charset="-78"/>
              </a:rPr>
              <a:t>0.2</a:t>
            </a:r>
            <a:r>
              <a:rPr lang="fr-FR" sz="2000" b="1" dirty="0" smtClean="0">
                <a:latin typeface="Simplified Arabic" panose="02020603050405020304" pitchFamily="18" charset="-78"/>
                <a:cs typeface="Simplified Arabic" panose="02020603050405020304" pitchFamily="18" charset="-78"/>
              </a:rPr>
              <a:t> </a:t>
            </a:r>
            <a:r>
              <a:rPr lang="ar-TN" sz="2000" b="1" dirty="0" smtClean="0">
                <a:latin typeface="Simplified Arabic" panose="02020603050405020304" pitchFamily="18" charset="-78"/>
                <a:cs typeface="Simplified Arabic" panose="02020603050405020304" pitchFamily="18" charset="-78"/>
              </a:rPr>
              <a:t> النقاط.</a:t>
            </a:r>
            <a:endParaRPr lang="ar-TN" sz="2000" b="1" dirty="0">
              <a:latin typeface="Simplified Arabic" panose="02020603050405020304" pitchFamily="18" charset="-78"/>
              <a:cs typeface="Simplified Arabic" panose="02020603050405020304" pitchFamily="18" charset="-78"/>
            </a:endParaRPr>
          </a:p>
          <a:p>
            <a:pPr marL="1235075" lvl="1" indent="-342900" algn="r" rtl="1">
              <a:lnSpc>
                <a:spcPct val="150000"/>
              </a:lnSpc>
              <a:spcBef>
                <a:spcPts val="600"/>
              </a:spcBef>
              <a:spcAft>
                <a:spcPts val="600"/>
              </a:spcAft>
              <a:buClr>
                <a:srgbClr val="C00000"/>
              </a:buClr>
              <a:buSzPct val="80000"/>
              <a:buFont typeface="Symbol" panose="05050102010706020507" pitchFamily="18" charset="2"/>
              <a:buChar char="-"/>
            </a:pPr>
            <a:r>
              <a:rPr lang="ar-TN" sz="2000" b="1" dirty="0">
                <a:latin typeface="Simplified Arabic" panose="02020603050405020304" pitchFamily="18" charset="-78"/>
                <a:cs typeface="Simplified Arabic" panose="02020603050405020304" pitchFamily="18" charset="-78"/>
              </a:rPr>
              <a:t>تراجع </a:t>
            </a:r>
            <a:r>
              <a:rPr lang="ar-TN" sz="2000" b="1" dirty="0" smtClean="0">
                <a:latin typeface="Simplified Arabic" panose="02020603050405020304" pitchFamily="18" charset="-78"/>
                <a:cs typeface="Simplified Arabic" panose="02020603050405020304" pitchFamily="18" charset="-78"/>
              </a:rPr>
              <a:t>نشاط قطاع </a:t>
            </a:r>
            <a:r>
              <a:rPr lang="ar-TN" sz="2000" b="1" dirty="0">
                <a:latin typeface="Simplified Arabic" panose="02020603050405020304" pitchFamily="18" charset="-78"/>
                <a:cs typeface="Simplified Arabic" panose="02020603050405020304" pitchFamily="18" charset="-78"/>
              </a:rPr>
              <a:t>النقل</a:t>
            </a:r>
            <a:r>
              <a:rPr lang="ar-TN" sz="2000" dirty="0">
                <a:latin typeface="Simplified Arabic" panose="02020603050405020304" pitchFamily="18" charset="-78"/>
                <a:cs typeface="Simplified Arabic" panose="02020603050405020304" pitchFamily="18" charset="-78"/>
              </a:rPr>
              <a:t> </a:t>
            </a:r>
            <a:r>
              <a:rPr lang="ar-TN" sz="2000" dirty="0" smtClean="0">
                <a:latin typeface="Simplified Arabic" panose="02020603050405020304" pitchFamily="18" charset="-78"/>
                <a:cs typeface="Simplified Arabic" panose="02020603050405020304" pitchFamily="18" charset="-78"/>
              </a:rPr>
              <a:t>بكامل مكوناته</a:t>
            </a:r>
            <a:r>
              <a:rPr lang="ar-TN" sz="2000" b="1" dirty="0" smtClean="0">
                <a:latin typeface="Simplified Arabic" panose="02020603050405020304" pitchFamily="18" charset="-78"/>
                <a:cs typeface="Simplified Arabic" panose="02020603050405020304" pitchFamily="18" charset="-78"/>
              </a:rPr>
              <a:t>: تقلص النمو </a:t>
            </a:r>
            <a:r>
              <a:rPr lang="ar-TN" sz="2000" b="1" dirty="0">
                <a:latin typeface="Simplified Arabic" panose="02020603050405020304" pitchFamily="18" charset="-78"/>
                <a:cs typeface="Simplified Arabic" panose="02020603050405020304" pitchFamily="18" charset="-78"/>
              </a:rPr>
              <a:t>بنحو </a:t>
            </a:r>
            <a:r>
              <a:rPr lang="fr-FR" b="1" dirty="0">
                <a:latin typeface="Simplified Arabic" panose="02020603050405020304" pitchFamily="18" charset="-78"/>
                <a:cs typeface="Simplified Arabic" panose="02020603050405020304" pitchFamily="18" charset="-78"/>
              </a:rPr>
              <a:t>0.4</a:t>
            </a:r>
            <a:r>
              <a:rPr lang="ar-TN" sz="2000" b="1" dirty="0">
                <a:latin typeface="Simplified Arabic" panose="02020603050405020304" pitchFamily="18" charset="-78"/>
                <a:cs typeface="Simplified Arabic" panose="02020603050405020304" pitchFamily="18" charset="-78"/>
              </a:rPr>
              <a:t> من النقاط</a:t>
            </a:r>
            <a:r>
              <a:rPr lang="fr-FR" sz="2000" b="1" dirty="0">
                <a:latin typeface="Simplified Arabic" panose="02020603050405020304" pitchFamily="18" charset="-78"/>
                <a:cs typeface="Simplified Arabic" panose="02020603050405020304" pitchFamily="18" charset="-78"/>
              </a:rPr>
              <a:t>.</a:t>
            </a:r>
            <a:r>
              <a:rPr lang="ar-TN" sz="2000" b="1" dirty="0">
                <a:latin typeface="Simplified Arabic" panose="02020603050405020304" pitchFamily="18" charset="-78"/>
                <a:cs typeface="Simplified Arabic" panose="02020603050405020304" pitchFamily="18" charset="-78"/>
              </a:rPr>
              <a:t> </a:t>
            </a:r>
          </a:p>
          <a:p>
            <a:pPr marL="268288" algn="r" rtl="1">
              <a:lnSpc>
                <a:spcPct val="150000"/>
              </a:lnSpc>
              <a:spcAft>
                <a:spcPts val="800"/>
              </a:spcAft>
              <a:buClr>
                <a:srgbClr val="FF0000"/>
              </a:buClr>
              <a:buSzPct val="80000"/>
            </a:pPr>
            <a:endParaRPr lang="ar-TN" b="1" dirty="0" smtClean="0">
              <a:latin typeface="Simplified Arabic" panose="02020603050405020304" pitchFamily="18" charset="-78"/>
              <a:cs typeface="Simplified Arabic" panose="02020603050405020304" pitchFamily="18" charset="-78"/>
            </a:endParaRPr>
          </a:p>
        </p:txBody>
      </p:sp>
    </p:spTree>
    <p:custDataLst>
      <p:tags r:id="rId2"/>
    </p:custDataLst>
    <p:extLst>
      <p:ext uri="{BB962C8B-B14F-4D97-AF65-F5344CB8AC3E}">
        <p14:creationId xmlns:p14="http://schemas.microsoft.com/office/powerpoint/2010/main" xmlns="" val="31275922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0" y="201373"/>
            <a:ext cx="9110790" cy="707886"/>
          </a:xfrm>
          <a:prstGeom prst="rect">
            <a:avLst/>
          </a:prstGeom>
          <a:noFill/>
        </p:spPr>
        <p:txBody>
          <a:bodyPr wrap="square" rtlCol="0">
            <a:spAutoFit/>
          </a:bodyPr>
          <a:lstStyle/>
          <a:p>
            <a:pPr algn="r" rtl="1"/>
            <a:r>
              <a:rPr lang="ar-TN" sz="2200" b="1" dirty="0" smtClean="0">
                <a:solidFill>
                  <a:srgbClr val="E51B2E"/>
                </a:solidFill>
                <a:latin typeface="Simplified Arabic" pitchFamily="18" charset="-78"/>
                <a:cs typeface="Simplified Arabic" pitchFamily="18" charset="-78"/>
              </a:rPr>
              <a:t>الظرف الاقتصادي الوطني</a:t>
            </a:r>
            <a:endParaRPr lang="fr-FR" sz="2200" b="1" dirty="0" smtClean="0">
              <a:solidFill>
                <a:srgbClr val="E51B2E"/>
              </a:solidFill>
              <a:latin typeface="Simplified Arabic" pitchFamily="18" charset="-78"/>
              <a:cs typeface="Simplified Arabic" pitchFamily="18" charset="-78"/>
            </a:endParaRPr>
          </a:p>
          <a:p>
            <a:pPr rtl="1"/>
            <a:r>
              <a:rPr lang="ar-TN" b="1" dirty="0">
                <a:latin typeface="Simplified Arabic" pitchFamily="18" charset="-78"/>
                <a:cs typeface="Simplified Arabic" pitchFamily="18" charset="-78"/>
              </a:rPr>
              <a:t>ضعف المجهود </a:t>
            </a:r>
            <a:r>
              <a:rPr lang="ar-TN" b="1" dirty="0" smtClean="0">
                <a:latin typeface="Simplified Arabic" pitchFamily="18" charset="-78"/>
                <a:cs typeface="Simplified Arabic" pitchFamily="18" charset="-78"/>
              </a:rPr>
              <a:t>الاستثماري الخاص</a:t>
            </a:r>
            <a:endParaRPr lang="en-US" b="1" dirty="0">
              <a:latin typeface="Simplified Arabic" pitchFamily="18" charset="-78"/>
              <a:cs typeface="Simplified Arabic" pitchFamily="18" charset="-78"/>
            </a:endParaRPr>
          </a:p>
        </p:txBody>
      </p:sp>
      <p:graphicFrame>
        <p:nvGraphicFramePr>
          <p:cNvPr id="9" name="Graphique 8"/>
          <p:cNvGraphicFramePr>
            <a:graphicFrameLocks/>
          </p:cNvGraphicFramePr>
          <p:nvPr>
            <p:extLst>
              <p:ext uri="{D42A27DB-BD31-4B8C-83A1-F6EECF244321}">
                <p14:modId xmlns:p14="http://schemas.microsoft.com/office/powerpoint/2010/main" xmlns="" val="1939100508"/>
              </p:ext>
            </p:extLst>
          </p:nvPr>
        </p:nvGraphicFramePr>
        <p:xfrm>
          <a:off x="600364" y="1180143"/>
          <a:ext cx="7850909" cy="2874621"/>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à coins arrondis 9"/>
          <p:cNvSpPr/>
          <p:nvPr/>
        </p:nvSpPr>
        <p:spPr>
          <a:xfrm>
            <a:off x="600364" y="4449399"/>
            <a:ext cx="7850909" cy="1440873"/>
          </a:xfrm>
          <a:prstGeom prst="round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77825" lvl="1" indent="-285750" algn="r" rtl="1">
              <a:lnSpc>
                <a:spcPct val="150000"/>
              </a:lnSpc>
              <a:buClr>
                <a:srgbClr val="C00000"/>
              </a:buClr>
              <a:buSzPct val="75000"/>
              <a:buFont typeface="Arial" panose="020B0604020202020204" pitchFamily="34" charset="0"/>
              <a:buChar char="•"/>
            </a:pPr>
            <a:r>
              <a:rPr lang="ar-TN" b="1" dirty="0" smtClean="0">
                <a:solidFill>
                  <a:schemeClr val="tx1"/>
                </a:solidFill>
                <a:latin typeface="Simplified Arabic" panose="02020603050405020304" pitchFamily="18" charset="-78"/>
                <a:cs typeface="Simplified Arabic" panose="02020603050405020304" pitchFamily="18" charset="-78"/>
              </a:rPr>
              <a:t>تدفق الاستثمارات الخارجية بنسق دون الأهداف مع:</a:t>
            </a:r>
          </a:p>
          <a:p>
            <a:pPr marL="835025" lvl="2" indent="-285750" algn="r" rtl="1">
              <a:lnSpc>
                <a:spcPct val="150000"/>
              </a:lnSpc>
              <a:buClr>
                <a:srgbClr val="C00000"/>
              </a:buClr>
              <a:buSzPct val="75000"/>
              <a:buFont typeface="Symbol" panose="05050102010706020507" pitchFamily="18" charset="2"/>
              <a:buChar char="-"/>
            </a:pPr>
            <a:r>
              <a:rPr lang="ar-TN" b="1" dirty="0" smtClean="0">
                <a:solidFill>
                  <a:schemeClr val="tx1"/>
                </a:solidFill>
                <a:latin typeface="Simplified Arabic" panose="02020603050405020304" pitchFamily="18" charset="-78"/>
                <a:cs typeface="Simplified Arabic" panose="02020603050405020304" pitchFamily="18" charset="-78"/>
              </a:rPr>
              <a:t>تركز الاستثمارات الجديدة على عمليات التوسعة.</a:t>
            </a:r>
          </a:p>
          <a:p>
            <a:pPr marL="835025" lvl="2" indent="-285750" algn="r" rtl="1">
              <a:lnSpc>
                <a:spcPct val="150000"/>
              </a:lnSpc>
              <a:buClr>
                <a:srgbClr val="C00000"/>
              </a:buClr>
              <a:buSzPct val="75000"/>
              <a:buFont typeface="Symbol" panose="05050102010706020507" pitchFamily="18" charset="2"/>
              <a:buChar char="-"/>
            </a:pPr>
            <a:r>
              <a:rPr lang="ar-TN" b="1" dirty="0" smtClean="0">
                <a:solidFill>
                  <a:schemeClr val="tx1"/>
                </a:solidFill>
                <a:latin typeface="Simplified Arabic" panose="02020603050405020304" pitchFamily="18" charset="-78"/>
                <a:cs typeface="Simplified Arabic" panose="02020603050405020304" pitchFamily="18" charset="-78"/>
              </a:rPr>
              <a:t>تراجع الاستثمارات في قطاع الطاقة الذي يمثل القسط الأكبر من الاستثمار الخارجي.</a:t>
            </a:r>
            <a:endParaRPr lang="ar-TN" b="1" dirty="0">
              <a:solidFill>
                <a:schemeClr val="tx1"/>
              </a:solidFill>
              <a:latin typeface="Simplified Arabic" panose="02020603050405020304" pitchFamily="18" charset="-78"/>
              <a:cs typeface="Simplified Arabic" panose="02020603050405020304" pitchFamily="18" charset="-78"/>
            </a:endParaRPr>
          </a:p>
        </p:txBody>
      </p:sp>
    </p:spTree>
    <p:extLst>
      <p:ext uri="{BB962C8B-B14F-4D97-AF65-F5344CB8AC3E}">
        <p14:creationId xmlns:p14="http://schemas.microsoft.com/office/powerpoint/2010/main" xmlns="" val="42083329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0" y="201373"/>
            <a:ext cx="9110790" cy="707886"/>
          </a:xfrm>
          <a:prstGeom prst="rect">
            <a:avLst/>
          </a:prstGeom>
          <a:noFill/>
        </p:spPr>
        <p:txBody>
          <a:bodyPr wrap="square" rtlCol="0">
            <a:spAutoFit/>
          </a:bodyPr>
          <a:lstStyle/>
          <a:p>
            <a:pPr algn="r" rtl="1"/>
            <a:r>
              <a:rPr lang="ar-TN" sz="2200" b="1" dirty="0" smtClean="0">
                <a:solidFill>
                  <a:srgbClr val="E51B2E"/>
                </a:solidFill>
                <a:latin typeface="Simplified Arabic" pitchFamily="18" charset="-78"/>
                <a:cs typeface="Simplified Arabic" pitchFamily="18" charset="-78"/>
              </a:rPr>
              <a:t>الظرف الاقتصادي الوطني</a:t>
            </a:r>
            <a:endParaRPr lang="fr-FR" sz="2200" b="1" dirty="0" smtClean="0">
              <a:solidFill>
                <a:srgbClr val="E51B2E"/>
              </a:solidFill>
              <a:latin typeface="Simplified Arabic" pitchFamily="18" charset="-78"/>
              <a:cs typeface="Simplified Arabic" pitchFamily="18" charset="-78"/>
            </a:endParaRPr>
          </a:p>
          <a:p>
            <a:pPr rtl="1"/>
            <a:r>
              <a:rPr lang="ar-TN" b="1" dirty="0">
                <a:latin typeface="Simplified Arabic" pitchFamily="18" charset="-78"/>
                <a:cs typeface="Simplified Arabic" pitchFamily="18" charset="-78"/>
              </a:rPr>
              <a:t>ضعف المجهود </a:t>
            </a:r>
            <a:r>
              <a:rPr lang="ar-TN" b="1" dirty="0" smtClean="0">
                <a:latin typeface="Simplified Arabic" pitchFamily="18" charset="-78"/>
                <a:cs typeface="Simplified Arabic" pitchFamily="18" charset="-78"/>
              </a:rPr>
              <a:t>الاستثماري الخاص</a:t>
            </a:r>
            <a:endParaRPr lang="en-US" b="1" dirty="0">
              <a:latin typeface="Simplified Arabic" pitchFamily="18" charset="-78"/>
              <a:cs typeface="Simplified Arabic" pitchFamily="18" charset="-78"/>
            </a:endParaRPr>
          </a:p>
        </p:txBody>
      </p:sp>
      <p:graphicFrame>
        <p:nvGraphicFramePr>
          <p:cNvPr id="11" name="Graphique 10"/>
          <p:cNvGraphicFramePr>
            <a:graphicFrameLocks/>
          </p:cNvGraphicFramePr>
          <p:nvPr>
            <p:extLst>
              <p:ext uri="{D42A27DB-BD31-4B8C-83A1-F6EECF244321}">
                <p14:modId xmlns:p14="http://schemas.microsoft.com/office/powerpoint/2010/main" xmlns="" val="2076978793"/>
              </p:ext>
            </p:extLst>
          </p:nvPr>
        </p:nvGraphicFramePr>
        <p:xfrm>
          <a:off x="600364" y="1131324"/>
          <a:ext cx="7786254" cy="2941912"/>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à coins arrondis 11"/>
          <p:cNvSpPr/>
          <p:nvPr/>
        </p:nvSpPr>
        <p:spPr>
          <a:xfrm>
            <a:off x="600364" y="4479636"/>
            <a:ext cx="7786254" cy="154669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77825" lvl="1" indent="-285750" algn="just" rtl="1">
              <a:lnSpc>
                <a:spcPct val="150000"/>
              </a:lnSpc>
              <a:spcAft>
                <a:spcPts val="300"/>
              </a:spcAft>
              <a:buClr>
                <a:srgbClr val="C00000"/>
              </a:buClr>
              <a:buSzPct val="75000"/>
              <a:buFont typeface="Arial" panose="020B0604020202020204" pitchFamily="34" charset="0"/>
              <a:buChar char="•"/>
            </a:pPr>
            <a:r>
              <a:rPr lang="ar-TN" b="1" dirty="0" smtClean="0">
                <a:solidFill>
                  <a:schemeClr val="tx1"/>
                </a:solidFill>
                <a:latin typeface="Simplified Arabic" panose="02020603050405020304" pitchFamily="18" charset="-78"/>
                <a:cs typeface="Simplified Arabic" panose="02020603050405020304" pitchFamily="18" charset="-78"/>
              </a:rPr>
              <a:t>تراجع نوايا </a:t>
            </a:r>
            <a:r>
              <a:rPr lang="ar-TN" b="1" dirty="0">
                <a:solidFill>
                  <a:schemeClr val="tx1"/>
                </a:solidFill>
                <a:latin typeface="Simplified Arabic" panose="02020603050405020304" pitchFamily="18" charset="-78"/>
                <a:cs typeface="Simplified Arabic" panose="02020603050405020304" pitchFamily="18" charset="-78"/>
              </a:rPr>
              <a:t>الاستثمار وتداعياته على </a:t>
            </a:r>
            <a:r>
              <a:rPr lang="ar-TN" b="1" dirty="0" smtClean="0">
                <a:solidFill>
                  <a:schemeClr val="tx1"/>
                </a:solidFill>
                <a:latin typeface="Simplified Arabic" panose="02020603050405020304" pitchFamily="18" charset="-78"/>
                <a:cs typeface="Simplified Arabic" panose="02020603050405020304" pitchFamily="18" charset="-78"/>
              </a:rPr>
              <a:t>تدفقات الاستثمار الخاص خلال الفترة القادمة رغم تعدد الإصلاحات لتحسين مناخ الاعمال.</a:t>
            </a:r>
          </a:p>
        </p:txBody>
      </p:sp>
    </p:spTree>
    <p:extLst>
      <p:ext uri="{BB962C8B-B14F-4D97-AF65-F5344CB8AC3E}">
        <p14:creationId xmlns:p14="http://schemas.microsoft.com/office/powerpoint/2010/main" xmlns="" val="237359528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0" y="201373"/>
            <a:ext cx="9110790" cy="707886"/>
          </a:xfrm>
          <a:prstGeom prst="rect">
            <a:avLst/>
          </a:prstGeom>
          <a:noFill/>
        </p:spPr>
        <p:txBody>
          <a:bodyPr wrap="square" rtlCol="0">
            <a:spAutoFit/>
          </a:bodyPr>
          <a:lstStyle/>
          <a:p>
            <a:pPr algn="r" rtl="1"/>
            <a:r>
              <a:rPr lang="ar-TN" sz="2200" b="1" dirty="0" smtClean="0">
                <a:solidFill>
                  <a:srgbClr val="E51B2E"/>
                </a:solidFill>
                <a:latin typeface="Simplified Arabic" pitchFamily="18" charset="-78"/>
                <a:cs typeface="Simplified Arabic" pitchFamily="18" charset="-78"/>
              </a:rPr>
              <a:t>الظرف الاقتصادي الوطني</a:t>
            </a:r>
            <a:endParaRPr lang="fr-FR" sz="2200" b="1" dirty="0" smtClean="0">
              <a:solidFill>
                <a:srgbClr val="E51B2E"/>
              </a:solidFill>
              <a:latin typeface="Simplified Arabic" pitchFamily="18" charset="-78"/>
              <a:cs typeface="Simplified Arabic" pitchFamily="18" charset="-78"/>
            </a:endParaRPr>
          </a:p>
          <a:p>
            <a:pPr algn="l" rtl="1"/>
            <a:r>
              <a:rPr lang="ar-TN" b="1" dirty="0" smtClean="0">
                <a:latin typeface="Simplified Arabic" pitchFamily="18" charset="-78"/>
                <a:cs typeface="Simplified Arabic" pitchFamily="18" charset="-78"/>
              </a:rPr>
              <a:t>محدودية المحتوى التشغيلي للنموّ</a:t>
            </a:r>
            <a:endParaRPr lang="en-US" b="1" dirty="0">
              <a:latin typeface="Simplified Arabic" pitchFamily="18" charset="-78"/>
              <a:cs typeface="Simplified Arabic" pitchFamily="18" charset="-78"/>
            </a:endParaRPr>
          </a:p>
        </p:txBody>
      </p:sp>
      <p:graphicFrame>
        <p:nvGraphicFramePr>
          <p:cNvPr id="5" name="Graphique 4"/>
          <p:cNvGraphicFramePr>
            <a:graphicFrameLocks/>
          </p:cNvGraphicFramePr>
          <p:nvPr>
            <p:extLst>
              <p:ext uri="{D42A27DB-BD31-4B8C-83A1-F6EECF244321}">
                <p14:modId xmlns:p14="http://schemas.microsoft.com/office/powerpoint/2010/main" xmlns="" val="2514209009"/>
              </p:ext>
            </p:extLst>
          </p:nvPr>
        </p:nvGraphicFramePr>
        <p:xfrm>
          <a:off x="794326" y="1193072"/>
          <a:ext cx="7813965" cy="301871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à coins arrondis 6"/>
          <p:cNvSpPr/>
          <p:nvPr/>
        </p:nvSpPr>
        <p:spPr>
          <a:xfrm>
            <a:off x="794327" y="4682836"/>
            <a:ext cx="7813965" cy="1136073"/>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1" indent="-285750" algn="just" rtl="1">
              <a:lnSpc>
                <a:spcPct val="150000"/>
              </a:lnSpc>
              <a:spcAft>
                <a:spcPts val="600"/>
              </a:spcAft>
              <a:buClr>
                <a:srgbClr val="C00000"/>
              </a:buClr>
              <a:buSzPct val="80000"/>
              <a:buFont typeface="Arial" panose="020B0604020202020204" pitchFamily="34" charset="0"/>
              <a:buChar char="•"/>
            </a:pPr>
            <a:r>
              <a:rPr lang="ar-TN" b="1" spc="-70" dirty="0" smtClean="0">
                <a:solidFill>
                  <a:schemeClr val="tx1"/>
                </a:solidFill>
                <a:latin typeface="Simplified Arabic" panose="02020603050405020304" pitchFamily="18" charset="-78"/>
                <a:cs typeface="Simplified Arabic" panose="02020603050405020304" pitchFamily="18" charset="-78"/>
              </a:rPr>
              <a:t>تحسن طفيف لمعدل البطالة مع تفاوت البطالة </a:t>
            </a:r>
            <a:r>
              <a:rPr lang="ar-TN" b="1" spc="-70" dirty="0">
                <a:solidFill>
                  <a:schemeClr val="tx1"/>
                </a:solidFill>
                <a:latin typeface="Simplified Arabic" panose="02020603050405020304" pitchFamily="18" charset="-78"/>
                <a:cs typeface="Simplified Arabic" panose="02020603050405020304" pitchFamily="18" charset="-78"/>
              </a:rPr>
              <a:t>حسب الفئات </a:t>
            </a:r>
            <a:r>
              <a:rPr lang="ar-TN" b="1" spc="-70" dirty="0" smtClean="0">
                <a:solidFill>
                  <a:schemeClr val="tx1"/>
                </a:solidFill>
                <a:latin typeface="Simplified Arabic" panose="02020603050405020304" pitchFamily="18" charset="-78"/>
                <a:cs typeface="Simplified Arabic" panose="02020603050405020304" pitchFamily="18" charset="-78"/>
              </a:rPr>
              <a:t>والجهات (ارتفاع بطالة </a:t>
            </a:r>
            <a:r>
              <a:rPr lang="ar-TN" b="1" spc="-70" dirty="0">
                <a:solidFill>
                  <a:schemeClr val="tx1"/>
                </a:solidFill>
                <a:latin typeface="Simplified Arabic" panose="02020603050405020304" pitchFamily="18" charset="-78"/>
                <a:cs typeface="Simplified Arabic" panose="02020603050405020304" pitchFamily="18" charset="-78"/>
              </a:rPr>
              <a:t>الاناث مقارنة </a:t>
            </a:r>
            <a:r>
              <a:rPr lang="ar-TN" b="1" spc="-70" dirty="0" smtClean="0">
                <a:solidFill>
                  <a:schemeClr val="tx1"/>
                </a:solidFill>
                <a:latin typeface="Simplified Arabic" panose="02020603050405020304" pitchFamily="18" charset="-78"/>
                <a:cs typeface="Simplified Arabic" panose="02020603050405020304" pitchFamily="18" charset="-78"/>
              </a:rPr>
              <a:t>بالذكور وارتفاع نسبي </a:t>
            </a:r>
            <a:r>
              <a:rPr lang="ar-TN" b="1" spc="-70" dirty="0">
                <a:solidFill>
                  <a:schemeClr val="tx1"/>
                </a:solidFill>
                <a:latin typeface="Simplified Arabic" panose="02020603050405020304" pitchFamily="18" charset="-78"/>
                <a:cs typeface="Simplified Arabic" panose="02020603050405020304" pitchFamily="18" charset="-78"/>
              </a:rPr>
              <a:t>للبطالة في الجهات </a:t>
            </a:r>
            <a:r>
              <a:rPr lang="ar-TN" b="1" spc="-70" dirty="0" smtClean="0">
                <a:solidFill>
                  <a:schemeClr val="tx1"/>
                </a:solidFill>
                <a:latin typeface="Simplified Arabic" panose="02020603050405020304" pitchFamily="18" charset="-78"/>
                <a:cs typeface="Simplified Arabic" panose="02020603050405020304" pitchFamily="18" charset="-78"/>
              </a:rPr>
              <a:t>الداخلية).</a:t>
            </a:r>
            <a:endParaRPr lang="ar-TN" b="1" spc="-70" dirty="0">
              <a:solidFill>
                <a:schemeClr val="tx1"/>
              </a:solidFill>
              <a:latin typeface="Simplified Arabic" panose="02020603050405020304" pitchFamily="18" charset="-78"/>
              <a:cs typeface="Simplified Arabic" panose="02020603050405020304" pitchFamily="18" charset="-78"/>
            </a:endParaRPr>
          </a:p>
        </p:txBody>
      </p:sp>
    </p:spTree>
    <p:extLst>
      <p:ext uri="{BB962C8B-B14F-4D97-AF65-F5344CB8AC3E}">
        <p14:creationId xmlns:p14="http://schemas.microsoft.com/office/powerpoint/2010/main" xmlns="" val="256403102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p:cNvSpPr txBox="1"/>
          <p:nvPr/>
        </p:nvSpPr>
        <p:spPr>
          <a:xfrm>
            <a:off x="0" y="201373"/>
            <a:ext cx="9110790" cy="707886"/>
          </a:xfrm>
          <a:prstGeom prst="rect">
            <a:avLst/>
          </a:prstGeom>
          <a:noFill/>
        </p:spPr>
        <p:txBody>
          <a:bodyPr wrap="square" rtlCol="0">
            <a:spAutoFit/>
          </a:bodyPr>
          <a:lstStyle/>
          <a:p>
            <a:pPr marL="0" marR="0" lvl="0" indent="0" algn="r" defTabSz="457200" rtl="1" eaLnBrk="1" fontAlgn="base" latinLnBrk="0" hangingPunct="1">
              <a:lnSpc>
                <a:spcPct val="100000"/>
              </a:lnSpc>
              <a:spcBef>
                <a:spcPct val="0"/>
              </a:spcBef>
              <a:spcAft>
                <a:spcPct val="0"/>
              </a:spcAft>
              <a:buClrTx/>
              <a:buSzTx/>
              <a:buFontTx/>
              <a:buNone/>
              <a:tabLst/>
              <a:defRPr/>
            </a:pPr>
            <a:r>
              <a:rPr kumimoji="0" lang="ar-TN" sz="2200" b="1" i="0" u="none" strike="noStrike" kern="1200" cap="none" spc="0" normalizeH="0" baseline="0" noProof="0" dirty="0" smtClean="0">
                <a:ln>
                  <a:noFill/>
                </a:ln>
                <a:solidFill>
                  <a:srgbClr val="E51B2E"/>
                </a:solidFill>
                <a:effectLst/>
                <a:uLnTx/>
                <a:uFillTx/>
                <a:latin typeface="Simplified Arabic" pitchFamily="18" charset="-78"/>
                <a:ea typeface="ＭＳ Ｐゴシック" pitchFamily="34" charset="-128"/>
                <a:cs typeface="Simplified Arabic" pitchFamily="18" charset="-78"/>
              </a:rPr>
              <a:t>الظرف الاقتصادي الوطني</a:t>
            </a:r>
            <a:endParaRPr kumimoji="0" lang="fr-FR" sz="2200" b="1" i="0" u="none" strike="noStrike" kern="1200" cap="none" spc="0" normalizeH="0" baseline="0" noProof="0" dirty="0" smtClean="0">
              <a:ln>
                <a:noFill/>
              </a:ln>
              <a:solidFill>
                <a:srgbClr val="E51B2E"/>
              </a:solidFill>
              <a:effectLst/>
              <a:uLnTx/>
              <a:uFillTx/>
              <a:latin typeface="Simplified Arabic" pitchFamily="18" charset="-78"/>
              <a:ea typeface="ＭＳ Ｐゴシック" pitchFamily="34" charset="-128"/>
              <a:cs typeface="Simplified Arabic" pitchFamily="18" charset="-78"/>
            </a:endParaRPr>
          </a:p>
          <a:p>
            <a:pPr marL="0" marR="0" lvl="0" indent="0" algn="l" defTabSz="457200" rtl="1" eaLnBrk="1" fontAlgn="base" latinLnBrk="0" hangingPunct="1">
              <a:lnSpc>
                <a:spcPct val="100000"/>
              </a:lnSpc>
              <a:spcBef>
                <a:spcPct val="0"/>
              </a:spcBef>
              <a:spcAft>
                <a:spcPct val="0"/>
              </a:spcAft>
              <a:buClrTx/>
              <a:buSzTx/>
              <a:buFontTx/>
              <a:buNone/>
              <a:tabLst/>
              <a:defRPr/>
            </a:pPr>
            <a:r>
              <a:rPr kumimoji="0" lang="ar-TN" b="1" i="0" u="none" strike="noStrike" kern="1200" cap="none" spc="0" normalizeH="0" baseline="0" noProof="0" dirty="0" smtClean="0">
                <a:ln>
                  <a:noFill/>
                </a:ln>
                <a:solidFill>
                  <a:srgbClr val="000000"/>
                </a:solidFill>
                <a:effectLst/>
                <a:uLnTx/>
                <a:uFillTx/>
                <a:latin typeface="Simplified Arabic" pitchFamily="18" charset="-78"/>
                <a:ea typeface="ＭＳ Ｐゴシック" pitchFamily="34" charset="-128"/>
                <a:cs typeface="Simplified Arabic" pitchFamily="18" charset="-78"/>
              </a:rPr>
              <a:t>تراجع العجز الجاري وتحسن المدخرات من العملة</a:t>
            </a:r>
            <a:endParaRPr kumimoji="0" lang="en-US" b="1" i="0" u="none" strike="noStrike" kern="1200" cap="none" spc="0" normalizeH="0" baseline="0" noProof="0" dirty="0">
              <a:ln>
                <a:noFill/>
              </a:ln>
              <a:solidFill>
                <a:srgbClr val="000000"/>
              </a:solidFill>
              <a:effectLst/>
              <a:uLnTx/>
              <a:uFillTx/>
              <a:latin typeface="Simplified Arabic" pitchFamily="18" charset="-78"/>
              <a:ea typeface="ＭＳ Ｐゴシック" pitchFamily="34" charset="-128"/>
              <a:cs typeface="Simplified Arabic" pitchFamily="18" charset="-78"/>
            </a:endParaRPr>
          </a:p>
        </p:txBody>
      </p:sp>
      <p:sp>
        <p:nvSpPr>
          <p:cNvPr id="7" name="Rectangle à coins arrondis 6"/>
          <p:cNvSpPr/>
          <p:nvPr/>
        </p:nvSpPr>
        <p:spPr>
          <a:xfrm>
            <a:off x="155275" y="4633945"/>
            <a:ext cx="8824826" cy="131121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77825" lvl="1" indent="-285750" algn="just" rtl="1">
              <a:lnSpc>
                <a:spcPct val="150000"/>
              </a:lnSpc>
              <a:spcAft>
                <a:spcPts val="600"/>
              </a:spcAft>
              <a:buClr>
                <a:srgbClr val="006E00"/>
              </a:buClr>
              <a:buSzPct val="80000"/>
              <a:buFont typeface="Simplified Arabic" panose="02020603050405020304" pitchFamily="18" charset="-78"/>
              <a:buChar char="•"/>
            </a:pPr>
            <a:r>
              <a:rPr lang="ar-TN" b="1" spc="-70" dirty="0">
                <a:solidFill>
                  <a:srgbClr val="000000"/>
                </a:solidFill>
                <a:latin typeface="Simplified Arabic" panose="02020603050405020304" pitchFamily="18" charset="-78"/>
                <a:cs typeface="Simplified Arabic" panose="02020603050405020304" pitchFamily="18" charset="-78"/>
              </a:rPr>
              <a:t>تراجع نسبة العجز الجاري من الناتج  ليبلغ </a:t>
            </a:r>
            <a:r>
              <a:rPr lang="ar-TN" b="1" spc="-70" dirty="0">
                <a:solidFill>
                  <a:srgbClr val="000000"/>
                </a:solidFill>
                <a:latin typeface="Times New Roman" panose="02020603050405020304" pitchFamily="18" charset="0"/>
                <a:cs typeface="Times New Roman" panose="02020603050405020304" pitchFamily="18" charset="0"/>
              </a:rPr>
              <a:t>7,2</a:t>
            </a:r>
            <a:r>
              <a:rPr lang="fr-FR" b="1" spc="-70" dirty="0">
                <a:solidFill>
                  <a:srgbClr val="000000"/>
                </a:solidFill>
                <a:latin typeface="Times New Roman" panose="02020603050405020304" pitchFamily="18" charset="0"/>
                <a:cs typeface="Times New Roman" panose="02020603050405020304" pitchFamily="18" charset="0"/>
              </a:rPr>
              <a:t>%</a:t>
            </a:r>
            <a:r>
              <a:rPr lang="ar-TN" b="1" spc="-70" dirty="0">
                <a:solidFill>
                  <a:srgbClr val="000000"/>
                </a:solidFill>
                <a:latin typeface="Simplified Arabic" panose="02020603050405020304" pitchFamily="18" charset="-78"/>
                <a:cs typeface="Simplified Arabic" panose="02020603050405020304" pitchFamily="18" charset="-78"/>
              </a:rPr>
              <a:t> </a:t>
            </a:r>
            <a:r>
              <a:rPr lang="ar-TN" b="1" spc="-70" dirty="0" smtClean="0">
                <a:solidFill>
                  <a:srgbClr val="000000"/>
                </a:solidFill>
                <a:latin typeface="Simplified Arabic" panose="02020603050405020304" pitchFamily="18" charset="-78"/>
                <a:cs typeface="Simplified Arabic" panose="02020603050405020304" pitchFamily="18" charset="-78"/>
              </a:rPr>
              <a:t>إلى موفى أكتوبر مقابل </a:t>
            </a:r>
            <a:r>
              <a:rPr lang="ar-TN" b="1" spc="-70" dirty="0" smtClean="0">
                <a:solidFill>
                  <a:srgbClr val="000000"/>
                </a:solidFill>
                <a:latin typeface="Times New Roman" panose="02020603050405020304" pitchFamily="18" charset="0"/>
                <a:cs typeface="Times New Roman" panose="02020603050405020304" pitchFamily="18" charset="0"/>
              </a:rPr>
              <a:t>9,1</a:t>
            </a:r>
            <a:r>
              <a:rPr lang="fr-FR" b="1" spc="-70" dirty="0">
                <a:solidFill>
                  <a:srgbClr val="000000"/>
                </a:solidFill>
                <a:latin typeface="Simplified Arabic" panose="02020603050405020304" pitchFamily="18" charset="-78"/>
                <a:cs typeface="Simplified Arabic" panose="02020603050405020304" pitchFamily="18" charset="-78"/>
              </a:rPr>
              <a:t> </a:t>
            </a:r>
            <a:r>
              <a:rPr lang="fr-FR" b="1" spc="-70" dirty="0">
                <a:solidFill>
                  <a:srgbClr val="000000"/>
                </a:solidFill>
                <a:latin typeface="Times New Roman" panose="02020603050405020304" pitchFamily="18" charset="0"/>
                <a:cs typeface="Times New Roman" panose="02020603050405020304" pitchFamily="18" charset="0"/>
              </a:rPr>
              <a:t>%</a:t>
            </a:r>
            <a:r>
              <a:rPr lang="ar-TN" b="1" spc="-70" dirty="0" smtClean="0">
                <a:solidFill>
                  <a:srgbClr val="000000"/>
                </a:solidFill>
                <a:latin typeface="Simplified Arabic" panose="02020603050405020304" pitchFamily="18" charset="-78"/>
                <a:cs typeface="Simplified Arabic" panose="02020603050405020304" pitchFamily="18" charset="-78"/>
              </a:rPr>
              <a:t> سنة </a:t>
            </a:r>
            <a:r>
              <a:rPr lang="ar-TN" b="1" spc="-70" dirty="0" smtClean="0">
                <a:solidFill>
                  <a:srgbClr val="000000"/>
                </a:solidFill>
                <a:latin typeface="Times New Roman" panose="02020603050405020304" pitchFamily="18" charset="0"/>
                <a:cs typeface="Times New Roman" panose="02020603050405020304" pitchFamily="18" charset="0"/>
              </a:rPr>
              <a:t>2018</a:t>
            </a:r>
            <a:r>
              <a:rPr lang="fr-FR" b="1" spc="-70" dirty="0" smtClean="0">
                <a:solidFill>
                  <a:srgbClr val="000000"/>
                </a:solidFill>
                <a:latin typeface="Simplified Arabic" panose="02020603050405020304" pitchFamily="18" charset="-78"/>
                <a:cs typeface="Simplified Arabic" panose="02020603050405020304" pitchFamily="18" charset="-78"/>
              </a:rPr>
              <a:t>.</a:t>
            </a:r>
            <a:endParaRPr lang="ar-TN" b="1" spc="-70" dirty="0" smtClean="0">
              <a:solidFill>
                <a:srgbClr val="000000"/>
              </a:solidFill>
              <a:latin typeface="Simplified Arabic" panose="02020603050405020304" pitchFamily="18" charset="-78"/>
              <a:cs typeface="Simplified Arabic" panose="02020603050405020304" pitchFamily="18" charset="-78"/>
            </a:endParaRPr>
          </a:p>
          <a:p>
            <a:pPr marL="377825" lvl="1" indent="-285750" algn="just" rtl="1">
              <a:lnSpc>
                <a:spcPct val="150000"/>
              </a:lnSpc>
              <a:spcAft>
                <a:spcPts val="600"/>
              </a:spcAft>
              <a:buClr>
                <a:srgbClr val="006E00"/>
              </a:buClr>
              <a:buSzPct val="80000"/>
              <a:buFont typeface="Simplified Arabic" panose="02020603050405020304" pitchFamily="18" charset="-78"/>
              <a:buChar char="•"/>
            </a:pPr>
            <a:r>
              <a:rPr lang="ar-TN" b="1" spc="-70" dirty="0">
                <a:solidFill>
                  <a:schemeClr val="tx1"/>
                </a:solidFill>
                <a:latin typeface="Simplified Arabic" panose="02020603050405020304" pitchFamily="18" charset="-78"/>
                <a:cs typeface="Simplified Arabic" panose="02020603050405020304" pitchFamily="18" charset="-78"/>
              </a:rPr>
              <a:t>بلغ احتياطي العملة </a:t>
            </a:r>
            <a:r>
              <a:rPr lang="ar-TN" b="1" spc="-70" dirty="0" smtClean="0">
                <a:solidFill>
                  <a:schemeClr val="tx1"/>
                </a:solidFill>
                <a:latin typeface="Times New Roman" panose="02020603050405020304" pitchFamily="18" charset="0"/>
                <a:cs typeface="Times New Roman" panose="02020603050405020304" pitchFamily="18" charset="0"/>
              </a:rPr>
              <a:t>18894,6</a:t>
            </a:r>
            <a:r>
              <a:rPr lang="ar-TN" b="1" spc="-70" dirty="0" smtClean="0">
                <a:solidFill>
                  <a:schemeClr val="tx1"/>
                </a:solidFill>
                <a:latin typeface="Simplified Arabic" panose="02020603050405020304" pitchFamily="18" charset="-78"/>
                <a:cs typeface="Simplified Arabic" panose="02020603050405020304" pitchFamily="18" charset="-78"/>
              </a:rPr>
              <a:t> </a:t>
            </a:r>
            <a:r>
              <a:rPr lang="ar-TN" b="1" spc="-70" dirty="0">
                <a:solidFill>
                  <a:schemeClr val="tx1"/>
                </a:solidFill>
                <a:latin typeface="Simplified Arabic" panose="02020603050405020304" pitchFamily="18" charset="-78"/>
                <a:cs typeface="Simplified Arabic" panose="02020603050405020304" pitchFamily="18" charset="-78"/>
              </a:rPr>
              <a:t>م د </a:t>
            </a:r>
            <a:r>
              <a:rPr lang="ar-TN" b="1" spc="-70" dirty="0" smtClean="0">
                <a:solidFill>
                  <a:schemeClr val="tx1"/>
                </a:solidFill>
                <a:latin typeface="Simplified Arabic" panose="02020603050405020304" pitchFamily="18" charset="-78"/>
                <a:cs typeface="Simplified Arabic" panose="02020603050405020304" pitchFamily="18" charset="-78"/>
              </a:rPr>
              <a:t>ما يعادل </a:t>
            </a:r>
            <a:r>
              <a:rPr lang="ar-TN" b="1" spc="-70" dirty="0" smtClean="0">
                <a:solidFill>
                  <a:schemeClr val="tx1"/>
                </a:solidFill>
                <a:latin typeface="Times New Roman" panose="02020603050405020304" pitchFamily="18" charset="0"/>
                <a:cs typeface="Times New Roman" panose="02020603050405020304" pitchFamily="18" charset="0"/>
              </a:rPr>
              <a:t>106</a:t>
            </a:r>
            <a:r>
              <a:rPr lang="ar-TN" b="1" spc="-70" dirty="0" smtClean="0">
                <a:solidFill>
                  <a:schemeClr val="tx1"/>
                </a:solidFill>
                <a:latin typeface="Simplified Arabic" panose="02020603050405020304" pitchFamily="18" charset="-78"/>
                <a:cs typeface="Simplified Arabic" panose="02020603050405020304" pitchFamily="18" charset="-78"/>
              </a:rPr>
              <a:t> </a:t>
            </a:r>
            <a:r>
              <a:rPr lang="ar-TN" b="1" spc="-70" dirty="0">
                <a:solidFill>
                  <a:schemeClr val="tx1"/>
                </a:solidFill>
                <a:latin typeface="Simplified Arabic" panose="02020603050405020304" pitchFamily="18" charset="-78"/>
                <a:cs typeface="Simplified Arabic" panose="02020603050405020304" pitchFamily="18" charset="-78"/>
              </a:rPr>
              <a:t>يوم توريد في </a:t>
            </a:r>
            <a:r>
              <a:rPr lang="ar-TN" b="1" spc="-70" dirty="0" smtClean="0">
                <a:solidFill>
                  <a:schemeClr val="tx1"/>
                </a:solidFill>
                <a:latin typeface="Times New Roman" panose="02020603050405020304" pitchFamily="18" charset="0"/>
                <a:cs typeface="Times New Roman" panose="02020603050405020304" pitchFamily="18" charset="0"/>
              </a:rPr>
              <a:t>20</a:t>
            </a:r>
            <a:r>
              <a:rPr lang="ar-TN" sz="1600" b="1" spc="-70" dirty="0" smtClean="0">
                <a:solidFill>
                  <a:schemeClr val="tx1"/>
                </a:solidFill>
                <a:latin typeface="Simplified Arabic" panose="02020603050405020304" pitchFamily="18" charset="-78"/>
                <a:cs typeface="Simplified Arabic" panose="02020603050405020304" pitchFamily="18" charset="-78"/>
              </a:rPr>
              <a:t> </a:t>
            </a:r>
            <a:r>
              <a:rPr lang="ar-TN" sz="1600" b="1" spc="-70" dirty="0">
                <a:solidFill>
                  <a:schemeClr val="tx1"/>
                </a:solidFill>
                <a:latin typeface="Simplified Arabic" panose="02020603050405020304" pitchFamily="18" charset="-78"/>
                <a:cs typeface="Simplified Arabic" panose="02020603050405020304" pitchFamily="18" charset="-78"/>
              </a:rPr>
              <a:t>نوفمبر </a:t>
            </a:r>
            <a:r>
              <a:rPr lang="ar-TN" b="1" spc="-70" dirty="0">
                <a:solidFill>
                  <a:schemeClr val="tx1"/>
                </a:solidFill>
                <a:latin typeface="Times New Roman" panose="02020603050405020304" pitchFamily="18" charset="0"/>
                <a:cs typeface="Times New Roman" panose="02020603050405020304" pitchFamily="18" charset="0"/>
              </a:rPr>
              <a:t>2019</a:t>
            </a:r>
            <a:r>
              <a:rPr lang="ar-TN" b="1" spc="-70" dirty="0">
                <a:solidFill>
                  <a:schemeClr val="tx1"/>
                </a:solidFill>
                <a:latin typeface="Simplified Arabic" panose="02020603050405020304" pitchFamily="18" charset="-78"/>
                <a:cs typeface="Simplified Arabic" panose="02020603050405020304" pitchFamily="18" charset="-78"/>
              </a:rPr>
              <a:t> </a:t>
            </a:r>
            <a:r>
              <a:rPr lang="ar-TN" b="1" spc="-70" dirty="0" smtClean="0">
                <a:solidFill>
                  <a:schemeClr val="tx1"/>
                </a:solidFill>
                <a:latin typeface="Simplified Arabic" panose="02020603050405020304" pitchFamily="18" charset="-78"/>
                <a:cs typeface="Simplified Arabic" panose="02020603050405020304" pitchFamily="18" charset="-78"/>
              </a:rPr>
              <a:t>مقابل على التوالي </a:t>
            </a:r>
            <a:r>
              <a:rPr lang="ar-TN" b="1" spc="-70" dirty="0" smtClean="0">
                <a:solidFill>
                  <a:schemeClr val="tx1"/>
                </a:solidFill>
                <a:latin typeface="Times New Roman" panose="02020603050405020304" pitchFamily="18" charset="0"/>
                <a:cs typeface="Times New Roman" panose="02020603050405020304" pitchFamily="18" charset="0"/>
              </a:rPr>
              <a:t>12665</a:t>
            </a:r>
            <a:r>
              <a:rPr lang="ar-TN" b="1" spc="-70" dirty="0" smtClean="0">
                <a:solidFill>
                  <a:schemeClr val="tx1"/>
                </a:solidFill>
                <a:latin typeface="Simplified Arabic" panose="02020603050405020304" pitchFamily="18" charset="-78"/>
                <a:cs typeface="Simplified Arabic" panose="02020603050405020304" pitchFamily="18" charset="-78"/>
              </a:rPr>
              <a:t>  </a:t>
            </a:r>
            <a:r>
              <a:rPr lang="ar-TN" b="1" spc="-70" dirty="0">
                <a:solidFill>
                  <a:schemeClr val="tx1"/>
                </a:solidFill>
                <a:latin typeface="Simplified Arabic" panose="02020603050405020304" pitchFamily="18" charset="-78"/>
                <a:cs typeface="Simplified Arabic" panose="02020603050405020304" pitchFamily="18" charset="-78"/>
              </a:rPr>
              <a:t>م د </a:t>
            </a:r>
            <a:r>
              <a:rPr lang="ar-TN" b="1" spc="-70" dirty="0" smtClean="0">
                <a:solidFill>
                  <a:schemeClr val="tx1"/>
                </a:solidFill>
                <a:latin typeface="Simplified Arabic" panose="02020603050405020304" pitchFamily="18" charset="-78"/>
                <a:cs typeface="Simplified Arabic" panose="02020603050405020304" pitchFamily="18" charset="-78"/>
              </a:rPr>
              <a:t/>
            </a:r>
            <a:br>
              <a:rPr lang="ar-TN" b="1" spc="-70" dirty="0" smtClean="0">
                <a:solidFill>
                  <a:schemeClr val="tx1"/>
                </a:solidFill>
                <a:latin typeface="Simplified Arabic" panose="02020603050405020304" pitchFamily="18" charset="-78"/>
                <a:cs typeface="Simplified Arabic" panose="02020603050405020304" pitchFamily="18" charset="-78"/>
              </a:rPr>
            </a:br>
            <a:r>
              <a:rPr lang="ar-TN" b="1" spc="-70" dirty="0" smtClean="0">
                <a:solidFill>
                  <a:schemeClr val="tx1"/>
                </a:solidFill>
                <a:latin typeface="Simplified Arabic" panose="02020603050405020304" pitchFamily="18" charset="-78"/>
                <a:cs typeface="Simplified Arabic" panose="02020603050405020304" pitchFamily="18" charset="-78"/>
              </a:rPr>
              <a:t>و</a:t>
            </a:r>
            <a:r>
              <a:rPr lang="ar-TN" b="1" spc="-70" dirty="0" smtClean="0">
                <a:solidFill>
                  <a:schemeClr val="tx1"/>
                </a:solidFill>
                <a:latin typeface="Times New Roman" panose="02020603050405020304" pitchFamily="18" charset="0"/>
                <a:cs typeface="Times New Roman" panose="02020603050405020304" pitchFamily="18" charset="0"/>
              </a:rPr>
              <a:t>78</a:t>
            </a:r>
            <a:r>
              <a:rPr lang="ar-TN" b="1" spc="-70" dirty="0" smtClean="0">
                <a:solidFill>
                  <a:schemeClr val="tx1"/>
                </a:solidFill>
                <a:latin typeface="Simplified Arabic" panose="02020603050405020304" pitchFamily="18" charset="-78"/>
                <a:cs typeface="Simplified Arabic" panose="02020603050405020304" pitchFamily="18" charset="-78"/>
              </a:rPr>
              <a:t> </a:t>
            </a:r>
            <a:r>
              <a:rPr lang="ar-TN" b="1" spc="-70" dirty="0">
                <a:solidFill>
                  <a:schemeClr val="tx1"/>
                </a:solidFill>
                <a:latin typeface="Simplified Arabic" panose="02020603050405020304" pitchFamily="18" charset="-78"/>
                <a:cs typeface="Simplified Arabic" panose="02020603050405020304" pitchFamily="18" charset="-78"/>
              </a:rPr>
              <a:t>يوم توريد </a:t>
            </a:r>
            <a:r>
              <a:rPr lang="ar-TN" b="1" spc="-70" dirty="0" smtClean="0">
                <a:solidFill>
                  <a:schemeClr val="tx1"/>
                </a:solidFill>
                <a:latin typeface="Simplified Arabic" panose="02020603050405020304" pitchFamily="18" charset="-78"/>
                <a:cs typeface="Simplified Arabic" panose="02020603050405020304" pitchFamily="18" charset="-78"/>
              </a:rPr>
              <a:t>خلال </a:t>
            </a:r>
            <a:r>
              <a:rPr lang="ar-TN" b="1" spc="-70" dirty="0">
                <a:solidFill>
                  <a:schemeClr val="tx1"/>
                </a:solidFill>
                <a:latin typeface="Simplified Arabic" panose="02020603050405020304" pitchFamily="18" charset="-78"/>
                <a:cs typeface="Simplified Arabic" panose="02020603050405020304" pitchFamily="18" charset="-78"/>
              </a:rPr>
              <a:t>نفس الفترة من سنة </a:t>
            </a:r>
            <a:r>
              <a:rPr lang="ar-TN" b="1" spc="-70" dirty="0">
                <a:solidFill>
                  <a:schemeClr val="tx1"/>
                </a:solidFill>
                <a:latin typeface="Times New Roman" panose="02020603050405020304" pitchFamily="18" charset="0"/>
                <a:cs typeface="Times New Roman" panose="02020603050405020304" pitchFamily="18" charset="0"/>
              </a:rPr>
              <a:t>2018</a:t>
            </a:r>
            <a:r>
              <a:rPr lang="fr-FR" b="1" spc="-70" dirty="0" smtClean="0">
                <a:solidFill>
                  <a:schemeClr val="tx1"/>
                </a:solidFill>
                <a:latin typeface="Simplified Arabic" panose="02020603050405020304" pitchFamily="18" charset="-78"/>
                <a:cs typeface="Simplified Arabic" panose="02020603050405020304" pitchFamily="18" charset="-78"/>
              </a:rPr>
              <a:t>.</a:t>
            </a:r>
            <a:endParaRPr lang="ar-TN" b="1" spc="-70" dirty="0">
              <a:solidFill>
                <a:schemeClr val="tx1"/>
              </a:solidFill>
              <a:latin typeface="Simplified Arabic" panose="02020603050405020304" pitchFamily="18" charset="-78"/>
              <a:cs typeface="Simplified Arabic" panose="02020603050405020304" pitchFamily="18" charset="-78"/>
            </a:endParaRPr>
          </a:p>
        </p:txBody>
      </p:sp>
      <p:graphicFrame>
        <p:nvGraphicFramePr>
          <p:cNvPr id="5" name="Graphique 4"/>
          <p:cNvGraphicFramePr>
            <a:graphicFrameLocks/>
          </p:cNvGraphicFramePr>
          <p:nvPr>
            <p:extLst>
              <p:ext uri="{D42A27DB-BD31-4B8C-83A1-F6EECF244321}">
                <p14:modId xmlns:p14="http://schemas.microsoft.com/office/powerpoint/2010/main" xmlns="" val="4051686658"/>
              </p:ext>
            </p:extLst>
          </p:nvPr>
        </p:nvGraphicFramePr>
        <p:xfrm>
          <a:off x="3510952" y="1043943"/>
          <a:ext cx="5469148" cy="34159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Graphique 8"/>
          <p:cNvGraphicFramePr>
            <a:graphicFrameLocks/>
          </p:cNvGraphicFramePr>
          <p:nvPr>
            <p:extLst>
              <p:ext uri="{D42A27DB-BD31-4B8C-83A1-F6EECF244321}">
                <p14:modId xmlns:p14="http://schemas.microsoft.com/office/powerpoint/2010/main" xmlns="" val="1474473558"/>
              </p:ext>
            </p:extLst>
          </p:nvPr>
        </p:nvGraphicFramePr>
        <p:xfrm>
          <a:off x="155274" y="950615"/>
          <a:ext cx="3278039" cy="33265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xmlns="" val="57767724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p:cNvSpPr txBox="1"/>
          <p:nvPr/>
        </p:nvSpPr>
        <p:spPr>
          <a:xfrm>
            <a:off x="0" y="201373"/>
            <a:ext cx="9110790" cy="707886"/>
          </a:xfrm>
          <a:prstGeom prst="rect">
            <a:avLst/>
          </a:prstGeom>
          <a:noFill/>
        </p:spPr>
        <p:txBody>
          <a:bodyPr wrap="square" rtlCol="0">
            <a:spAutoFit/>
          </a:bodyPr>
          <a:lstStyle/>
          <a:p>
            <a:pPr algn="r" rtl="1"/>
            <a:r>
              <a:rPr lang="ar-TN" sz="2200" b="1" dirty="0" smtClean="0">
                <a:solidFill>
                  <a:srgbClr val="E51B2E"/>
                </a:solidFill>
                <a:latin typeface="Simplified Arabic" pitchFamily="18" charset="-78"/>
                <a:cs typeface="Simplified Arabic" pitchFamily="18" charset="-78"/>
              </a:rPr>
              <a:t>الظرف الاقتصادي الوطني</a:t>
            </a:r>
            <a:endParaRPr lang="fr-FR" sz="2200" b="1" dirty="0" smtClean="0">
              <a:solidFill>
                <a:srgbClr val="E51B2E"/>
              </a:solidFill>
              <a:latin typeface="Simplified Arabic" pitchFamily="18" charset="-78"/>
              <a:cs typeface="Simplified Arabic" pitchFamily="18" charset="-78"/>
            </a:endParaRPr>
          </a:p>
          <a:p>
            <a:pPr algn="l" rtl="1"/>
            <a:r>
              <a:rPr lang="ar-TN" b="1" dirty="0" smtClean="0">
                <a:latin typeface="Simplified Arabic" pitchFamily="18" charset="-78"/>
                <a:cs typeface="Simplified Arabic" pitchFamily="18" charset="-78"/>
              </a:rPr>
              <a:t>تحسن نسبي لسعر صرف الدينار</a:t>
            </a:r>
            <a:endParaRPr lang="en-US" b="1" dirty="0">
              <a:latin typeface="Simplified Arabic" pitchFamily="18" charset="-78"/>
              <a:cs typeface="Simplified Arabic" pitchFamily="18" charset="-78"/>
            </a:endParaRPr>
          </a:p>
        </p:txBody>
      </p:sp>
      <p:sp>
        <p:nvSpPr>
          <p:cNvPr id="5" name="Rectangle à coins arrondis 4"/>
          <p:cNvSpPr/>
          <p:nvPr/>
        </p:nvSpPr>
        <p:spPr>
          <a:xfrm>
            <a:off x="759125" y="5236234"/>
            <a:ext cx="7384211" cy="785004"/>
          </a:xfrm>
          <a:prstGeom prst="round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lvl="1" algn="just" rtl="1">
              <a:lnSpc>
                <a:spcPct val="150000"/>
              </a:lnSpc>
              <a:spcAft>
                <a:spcPts val="600"/>
              </a:spcAft>
              <a:buClr>
                <a:srgbClr val="0D0D0D"/>
              </a:buClr>
              <a:buSzPct val="75000"/>
            </a:pPr>
            <a:endParaRPr lang="ar-TN" sz="1600" spc="-70" dirty="0" smtClean="0">
              <a:solidFill>
                <a:schemeClr val="tx1"/>
              </a:solidFill>
              <a:latin typeface="Simplified Arabic" panose="02020603050405020304" pitchFamily="18" charset="-78"/>
              <a:cs typeface="Simplified Arabic" panose="02020603050405020304" pitchFamily="18" charset="-78"/>
            </a:endParaRPr>
          </a:p>
          <a:p>
            <a:pPr marL="377825" lvl="1" indent="-285750" algn="just" rtl="1">
              <a:lnSpc>
                <a:spcPct val="150000"/>
              </a:lnSpc>
              <a:spcAft>
                <a:spcPts val="600"/>
              </a:spcAft>
              <a:buClr>
                <a:srgbClr val="006E00"/>
              </a:buClr>
              <a:buSzPct val="75000"/>
              <a:buFont typeface="Arial" panose="020B0604020202020204" pitchFamily="34" charset="0"/>
              <a:buChar char="•"/>
            </a:pPr>
            <a:r>
              <a:rPr lang="ar-TN" b="1" spc="-70" dirty="0">
                <a:solidFill>
                  <a:schemeClr val="tx1"/>
                </a:solidFill>
                <a:latin typeface="Simplified Arabic" panose="02020603050405020304" pitchFamily="18" charset="-78"/>
                <a:cs typeface="Simplified Arabic" panose="02020603050405020304" pitchFamily="18" charset="-78"/>
              </a:rPr>
              <a:t>تعبئة موارد تمويل خارجي هامة خاصة بعنوان برامج دعم </a:t>
            </a:r>
            <a:r>
              <a:rPr lang="ar-TN" b="1" spc="-70" dirty="0" smtClean="0">
                <a:solidFill>
                  <a:schemeClr val="tx1"/>
                </a:solidFill>
                <a:latin typeface="Simplified Arabic" panose="02020603050405020304" pitchFamily="18" charset="-78"/>
                <a:cs typeface="Simplified Arabic" panose="02020603050405020304" pitchFamily="18" charset="-78"/>
              </a:rPr>
              <a:t>الميزانية ومن السوق المالية العالمية.</a:t>
            </a:r>
            <a:endParaRPr lang="ar-TN" b="1" spc="-70" dirty="0">
              <a:solidFill>
                <a:schemeClr val="tx1"/>
              </a:solidFill>
              <a:latin typeface="Simplified Arabic" panose="02020603050405020304" pitchFamily="18" charset="-78"/>
              <a:cs typeface="Simplified Arabic" panose="02020603050405020304" pitchFamily="18" charset="-78"/>
            </a:endParaRPr>
          </a:p>
          <a:p>
            <a:pPr marL="268288" lvl="1" indent="-176213" algn="just" rtl="1">
              <a:lnSpc>
                <a:spcPct val="150000"/>
              </a:lnSpc>
              <a:spcAft>
                <a:spcPts val="600"/>
              </a:spcAft>
              <a:buClr>
                <a:srgbClr val="0D0D0D"/>
              </a:buClr>
              <a:buSzPct val="75000"/>
              <a:buFont typeface="Wingdings" panose="05000000000000000000" pitchFamily="2" charset="2"/>
              <a:buChar char="§"/>
            </a:pPr>
            <a:endParaRPr lang="ar-TN" sz="1600" spc="-70" dirty="0" smtClean="0">
              <a:solidFill>
                <a:schemeClr val="tx1"/>
              </a:solidFill>
              <a:latin typeface="Simplified Arabic" panose="02020603050405020304" pitchFamily="18" charset="-78"/>
              <a:cs typeface="Simplified Arabic" panose="02020603050405020304" pitchFamily="18" charset="-78"/>
            </a:endParaRPr>
          </a:p>
        </p:txBody>
      </p:sp>
      <p:graphicFrame>
        <p:nvGraphicFramePr>
          <p:cNvPr id="9" name="Graphique 8"/>
          <p:cNvGraphicFramePr>
            <a:graphicFrameLocks noGrp="1"/>
          </p:cNvGraphicFramePr>
          <p:nvPr>
            <p:extLst>
              <p:ext uri="{D42A27DB-BD31-4B8C-83A1-F6EECF244321}">
                <p14:modId xmlns:p14="http://schemas.microsoft.com/office/powerpoint/2010/main" xmlns="" val="4164201727"/>
              </p:ext>
            </p:extLst>
          </p:nvPr>
        </p:nvGraphicFramePr>
        <p:xfrm>
          <a:off x="836762" y="973844"/>
          <a:ext cx="7306574" cy="40726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22350769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p:cNvSpPr txBox="1"/>
          <p:nvPr/>
        </p:nvSpPr>
        <p:spPr>
          <a:xfrm>
            <a:off x="33210" y="269414"/>
            <a:ext cx="9110790" cy="707886"/>
          </a:xfrm>
          <a:prstGeom prst="rect">
            <a:avLst/>
          </a:prstGeom>
          <a:noFill/>
        </p:spPr>
        <p:txBody>
          <a:bodyPr wrap="square" rtlCol="0">
            <a:spAutoFit/>
          </a:bodyPr>
          <a:lstStyle/>
          <a:p>
            <a:pPr algn="r" rtl="1"/>
            <a:r>
              <a:rPr lang="ar-TN" sz="2200" b="1" dirty="0" smtClean="0">
                <a:solidFill>
                  <a:srgbClr val="E51B2E"/>
                </a:solidFill>
                <a:latin typeface="Simplified Arabic" pitchFamily="18" charset="-78"/>
                <a:cs typeface="Simplified Arabic" pitchFamily="18" charset="-78"/>
              </a:rPr>
              <a:t>تطور الوضع الاقتصادي الوطني</a:t>
            </a:r>
            <a:endParaRPr lang="fr-FR" sz="2200" b="1" dirty="0" smtClean="0">
              <a:solidFill>
                <a:srgbClr val="E51B2E"/>
              </a:solidFill>
              <a:latin typeface="Simplified Arabic" pitchFamily="18" charset="-78"/>
              <a:cs typeface="Simplified Arabic" pitchFamily="18" charset="-78"/>
            </a:endParaRPr>
          </a:p>
          <a:p>
            <a:pPr algn="l" rtl="1"/>
            <a:r>
              <a:rPr lang="ar-TN" b="1" dirty="0" smtClean="0">
                <a:latin typeface="Simplified Arabic" pitchFamily="18" charset="-78"/>
                <a:cs typeface="Simplified Arabic" pitchFamily="18" charset="-78"/>
              </a:rPr>
              <a:t>تراجع مؤشر الأسعار عند الاستهلاك</a:t>
            </a:r>
            <a:endParaRPr lang="en-US" b="1" dirty="0">
              <a:latin typeface="Simplified Arabic" pitchFamily="18" charset="-78"/>
              <a:cs typeface="Simplified Arabic" pitchFamily="18" charset="-78"/>
            </a:endParaRPr>
          </a:p>
        </p:txBody>
      </p:sp>
      <p:graphicFrame>
        <p:nvGraphicFramePr>
          <p:cNvPr id="17" name="Tableau 16"/>
          <p:cNvGraphicFramePr>
            <a:graphicFrameLocks noGrp="1"/>
          </p:cNvGraphicFramePr>
          <p:nvPr>
            <p:extLst>
              <p:ext uri="{D42A27DB-BD31-4B8C-83A1-F6EECF244321}">
                <p14:modId xmlns:p14="http://schemas.microsoft.com/office/powerpoint/2010/main" xmlns="" val="1625663863"/>
              </p:ext>
            </p:extLst>
          </p:nvPr>
        </p:nvGraphicFramePr>
        <p:xfrm>
          <a:off x="358735" y="1790480"/>
          <a:ext cx="3291555" cy="1432560"/>
        </p:xfrm>
        <a:graphic>
          <a:graphicData uri="http://schemas.openxmlformats.org/drawingml/2006/table">
            <a:tbl>
              <a:tblPr firstRow="1" bandRow="1">
                <a:tableStyleId>{5C22544A-7EE6-4342-B048-85BDC9FD1C3A}</a:tableStyleId>
              </a:tblPr>
              <a:tblGrid>
                <a:gridCol w="1097185">
                  <a:extLst>
                    <a:ext uri="{9D8B030D-6E8A-4147-A177-3AD203B41FA5}">
                      <a16:colId xmlns="" xmlns:a16="http://schemas.microsoft.com/office/drawing/2014/main" val="808563967"/>
                    </a:ext>
                  </a:extLst>
                </a:gridCol>
                <a:gridCol w="1097185">
                  <a:extLst>
                    <a:ext uri="{9D8B030D-6E8A-4147-A177-3AD203B41FA5}">
                      <a16:colId xmlns="" xmlns:a16="http://schemas.microsoft.com/office/drawing/2014/main" val="3670880677"/>
                    </a:ext>
                  </a:extLst>
                </a:gridCol>
                <a:gridCol w="1097185">
                  <a:extLst>
                    <a:ext uri="{9D8B030D-6E8A-4147-A177-3AD203B41FA5}">
                      <a16:colId xmlns="" xmlns:a16="http://schemas.microsoft.com/office/drawing/2014/main" val="1536100386"/>
                    </a:ext>
                  </a:extLst>
                </a:gridCol>
              </a:tblGrid>
              <a:tr h="0">
                <a:tc>
                  <a:txBody>
                    <a:bodyPr/>
                    <a:lstStyle/>
                    <a:p>
                      <a:pPr algn="ctr"/>
                      <a:r>
                        <a:rPr lang="ar-TN" sz="1800" b="1" dirty="0" smtClean="0">
                          <a:latin typeface="Simplified Arabic" panose="02020603050405020304" pitchFamily="18" charset="-78"/>
                          <a:cs typeface="Simplified Arabic" panose="02020603050405020304" pitchFamily="18" charset="-78"/>
                        </a:rPr>
                        <a:t>أكتوبر</a:t>
                      </a:r>
                      <a:r>
                        <a:rPr lang="ar-TN" sz="2400" b="1" dirty="0" smtClean="0"/>
                        <a:t> </a:t>
                      </a:r>
                      <a:r>
                        <a:rPr lang="ar-TN" sz="1600" b="1" dirty="0" smtClean="0">
                          <a:latin typeface="Times New Roman" panose="02020603050405020304" pitchFamily="18" charset="0"/>
                          <a:cs typeface="Times New Roman" panose="02020603050405020304" pitchFamily="18" charset="0"/>
                        </a:rPr>
                        <a:t>2019</a:t>
                      </a:r>
                      <a:endParaRPr lang="fr-FR" sz="2400" b="1" dirty="0">
                        <a:latin typeface="Times New Roman" panose="02020603050405020304" pitchFamily="18" charset="0"/>
                        <a:cs typeface="Times New Roman" panose="02020603050405020304" pitchFamily="18" charset="0"/>
                      </a:endParaRPr>
                    </a:p>
                  </a:txBody>
                  <a:tcPr anchor="ctr"/>
                </a:tc>
                <a:tc>
                  <a:txBody>
                    <a:bodyPr/>
                    <a:lstStyle/>
                    <a:p>
                      <a:pPr algn="ctr"/>
                      <a:r>
                        <a:rPr lang="ar-TN" sz="1800" b="1" dirty="0" smtClean="0">
                          <a:latin typeface="Simplified Arabic" panose="02020603050405020304" pitchFamily="18" charset="-78"/>
                          <a:cs typeface="Simplified Arabic" panose="02020603050405020304" pitchFamily="18" charset="-78"/>
                        </a:rPr>
                        <a:t>أكتوبر</a:t>
                      </a:r>
                      <a:r>
                        <a:rPr lang="ar-TN" sz="2400" b="1" dirty="0" smtClean="0"/>
                        <a:t> </a:t>
                      </a:r>
                      <a:r>
                        <a:rPr lang="ar-TN" sz="1600" b="1" dirty="0" smtClean="0">
                          <a:latin typeface="Times New Roman" panose="02020603050405020304" pitchFamily="18" charset="0"/>
                          <a:cs typeface="Times New Roman" panose="02020603050405020304" pitchFamily="18" charset="0"/>
                        </a:rPr>
                        <a:t>2018</a:t>
                      </a:r>
                      <a:endParaRPr lang="fr-FR" sz="2400" b="1" dirty="0">
                        <a:latin typeface="Times New Roman" panose="02020603050405020304" pitchFamily="18" charset="0"/>
                        <a:cs typeface="Times New Roman" panose="02020603050405020304" pitchFamily="18" charset="0"/>
                      </a:endParaRPr>
                    </a:p>
                  </a:txBody>
                  <a:tcPr anchor="ctr"/>
                </a:tc>
                <a:tc>
                  <a:txBody>
                    <a:bodyPr/>
                    <a:lstStyle/>
                    <a:p>
                      <a:pPr algn="r"/>
                      <a:r>
                        <a:rPr lang="ar-TN" sz="1600" b="1" dirty="0" smtClean="0">
                          <a:solidFill>
                            <a:schemeClr val="bg1"/>
                          </a:solidFill>
                          <a:latin typeface="Simplified Arabic" panose="02020603050405020304" pitchFamily="18" charset="-78"/>
                          <a:cs typeface="Simplified Arabic" panose="02020603050405020304" pitchFamily="18" charset="-78"/>
                        </a:rPr>
                        <a:t>انزلاق سنوي</a:t>
                      </a:r>
                      <a:endParaRPr lang="fr-FR" sz="1600" b="1" dirty="0">
                        <a:solidFill>
                          <a:schemeClr val="bg1"/>
                        </a:solidFill>
                        <a:latin typeface="Simplified Arabic" panose="02020603050405020304" pitchFamily="18" charset="-78"/>
                        <a:cs typeface="Simplified Arabic" panose="02020603050405020304" pitchFamily="18" charset="-78"/>
                      </a:endParaRPr>
                    </a:p>
                  </a:txBody>
                  <a:tcPr/>
                </a:tc>
                <a:extLst>
                  <a:ext uri="{0D108BD9-81ED-4DB2-BD59-A6C34878D82A}">
                    <a16:rowId xmlns="" xmlns:a16="http://schemas.microsoft.com/office/drawing/2014/main" val="30876209"/>
                  </a:ext>
                </a:extLst>
              </a:tr>
              <a:tr h="0">
                <a:tc>
                  <a:txBody>
                    <a:bodyPr/>
                    <a:lstStyle/>
                    <a:p>
                      <a:pPr algn="ctr"/>
                      <a:r>
                        <a:rPr lang="fr-FR" sz="1600" b="1" dirty="0" smtClean="0">
                          <a:latin typeface="Times New Roman" panose="02020603050405020304" pitchFamily="18" charset="0"/>
                          <a:cs typeface="Times New Roman" panose="02020603050405020304" pitchFamily="18" charset="0"/>
                        </a:rPr>
                        <a:t>%</a:t>
                      </a:r>
                      <a:r>
                        <a:rPr lang="ar-TN" sz="1600" b="1" dirty="0" smtClean="0">
                          <a:latin typeface="Times New Roman" panose="02020603050405020304" pitchFamily="18" charset="0"/>
                          <a:cs typeface="Times New Roman" panose="02020603050405020304" pitchFamily="18" charset="0"/>
                        </a:rPr>
                        <a:t>6,9</a:t>
                      </a:r>
                      <a:endParaRPr lang="fr-FR" sz="1600" b="1" dirty="0">
                        <a:latin typeface="Times New Roman" panose="02020603050405020304" pitchFamily="18" charset="0"/>
                        <a:cs typeface="Times New Roman" panose="02020603050405020304" pitchFamily="18" charset="0"/>
                      </a:endParaRPr>
                    </a:p>
                  </a:txBody>
                  <a:tcPr anchor="ctr"/>
                </a:tc>
                <a:tc>
                  <a:txBody>
                    <a:bodyPr/>
                    <a:lstStyle/>
                    <a:p>
                      <a:pPr algn="ctr"/>
                      <a:r>
                        <a:rPr lang="fr-FR" sz="1600" b="1" dirty="0" smtClean="0">
                          <a:latin typeface="Times New Roman" panose="02020603050405020304" pitchFamily="18" charset="0"/>
                          <a:cs typeface="Times New Roman" panose="02020603050405020304" pitchFamily="18" charset="0"/>
                        </a:rPr>
                        <a:t>%</a:t>
                      </a:r>
                      <a:r>
                        <a:rPr lang="ar-TN" sz="1600" b="1" dirty="0" smtClean="0">
                          <a:latin typeface="Times New Roman" panose="02020603050405020304" pitchFamily="18" charset="0"/>
                          <a:cs typeface="Times New Roman" panose="02020603050405020304" pitchFamily="18" charset="0"/>
                        </a:rPr>
                        <a:t>8,2</a:t>
                      </a:r>
                      <a:endParaRPr lang="fr-FR" sz="1600" b="1" dirty="0">
                        <a:latin typeface="Times New Roman" panose="02020603050405020304" pitchFamily="18" charset="0"/>
                        <a:cs typeface="Times New Roman" panose="02020603050405020304" pitchFamily="18" charset="0"/>
                      </a:endParaRPr>
                    </a:p>
                  </a:txBody>
                  <a:tcPr anchor="ctr"/>
                </a:tc>
                <a:tc>
                  <a:txBody>
                    <a:bodyPr/>
                    <a:lstStyle/>
                    <a:p>
                      <a:pPr algn="r"/>
                      <a:r>
                        <a:rPr lang="ar-TN" sz="1800" b="1" dirty="0" smtClean="0">
                          <a:latin typeface="Simplified Arabic" panose="02020603050405020304" pitchFamily="18" charset="-78"/>
                          <a:cs typeface="Simplified Arabic" panose="02020603050405020304" pitchFamily="18" charset="-78"/>
                        </a:rPr>
                        <a:t>مواد حرة</a:t>
                      </a:r>
                      <a:endParaRPr lang="fr-FR" sz="1800" b="1" dirty="0">
                        <a:latin typeface="Simplified Arabic" panose="02020603050405020304" pitchFamily="18" charset="-78"/>
                        <a:cs typeface="Simplified Arabic" panose="02020603050405020304" pitchFamily="18" charset="-78"/>
                      </a:endParaRPr>
                    </a:p>
                  </a:txBody>
                  <a:tcPr anchor="ctr"/>
                </a:tc>
                <a:extLst>
                  <a:ext uri="{0D108BD9-81ED-4DB2-BD59-A6C34878D82A}">
                    <a16:rowId xmlns="" xmlns:a16="http://schemas.microsoft.com/office/drawing/2014/main" val="1538759459"/>
                  </a:ext>
                </a:extLst>
              </a:tr>
              <a:tr h="0">
                <a:tc>
                  <a:txBody>
                    <a:bodyPr/>
                    <a:lstStyle/>
                    <a:p>
                      <a:pPr algn="ctr"/>
                      <a:r>
                        <a:rPr lang="fr-FR" sz="1600" b="1" dirty="0" smtClean="0">
                          <a:latin typeface="Times New Roman" panose="02020603050405020304" pitchFamily="18" charset="0"/>
                          <a:cs typeface="Times New Roman" panose="02020603050405020304" pitchFamily="18" charset="0"/>
                        </a:rPr>
                        <a:t>%</a:t>
                      </a:r>
                      <a:r>
                        <a:rPr lang="ar-TN" sz="1600" b="1" dirty="0" smtClean="0">
                          <a:latin typeface="Times New Roman" panose="02020603050405020304" pitchFamily="18" charset="0"/>
                          <a:cs typeface="Times New Roman" panose="02020603050405020304" pitchFamily="18" charset="0"/>
                        </a:rPr>
                        <a:t>4,9</a:t>
                      </a:r>
                      <a:endParaRPr lang="fr-FR" sz="1600" b="1" dirty="0">
                        <a:latin typeface="Times New Roman" panose="02020603050405020304" pitchFamily="18" charset="0"/>
                        <a:cs typeface="Times New Roman" panose="02020603050405020304" pitchFamily="18" charset="0"/>
                      </a:endParaRPr>
                    </a:p>
                  </a:txBody>
                  <a:tcPr anchor="ctr"/>
                </a:tc>
                <a:tc>
                  <a:txBody>
                    <a:bodyPr/>
                    <a:lstStyle/>
                    <a:p>
                      <a:pPr algn="ctr"/>
                      <a:r>
                        <a:rPr lang="fr-FR" sz="1600" b="1" dirty="0" smtClean="0">
                          <a:latin typeface="Times New Roman" panose="02020603050405020304" pitchFamily="18" charset="0"/>
                          <a:cs typeface="Times New Roman" panose="02020603050405020304" pitchFamily="18" charset="0"/>
                        </a:rPr>
                        <a:t>%</a:t>
                      </a:r>
                      <a:r>
                        <a:rPr lang="ar-TN" sz="1600" b="1" dirty="0" smtClean="0">
                          <a:latin typeface="Times New Roman" panose="02020603050405020304" pitchFamily="18" charset="0"/>
                          <a:cs typeface="Times New Roman" panose="02020603050405020304" pitchFamily="18" charset="0"/>
                        </a:rPr>
                        <a:t>5,0</a:t>
                      </a:r>
                      <a:endParaRPr lang="fr-FR" sz="1600" b="1" dirty="0">
                        <a:latin typeface="Times New Roman" panose="02020603050405020304" pitchFamily="18" charset="0"/>
                        <a:cs typeface="Times New Roman" panose="02020603050405020304" pitchFamily="18" charset="0"/>
                      </a:endParaRPr>
                    </a:p>
                  </a:txBody>
                  <a:tcPr anchor="ctr"/>
                </a:tc>
                <a:tc>
                  <a:txBody>
                    <a:bodyPr/>
                    <a:lstStyle/>
                    <a:p>
                      <a:pPr algn="r"/>
                      <a:r>
                        <a:rPr lang="ar-TN" sz="1800" b="1" dirty="0" smtClean="0">
                          <a:latin typeface="Simplified Arabic" panose="02020603050405020304" pitchFamily="18" charset="-78"/>
                          <a:cs typeface="Simplified Arabic" panose="02020603050405020304" pitchFamily="18" charset="-78"/>
                        </a:rPr>
                        <a:t>مواد </a:t>
                      </a:r>
                      <a:r>
                        <a:rPr lang="ar-TN" sz="1800" b="1" dirty="0" err="1" smtClean="0">
                          <a:latin typeface="Simplified Arabic" panose="02020603050405020304" pitchFamily="18" charset="-78"/>
                          <a:cs typeface="Simplified Arabic" panose="02020603050405020304" pitchFamily="18" charset="-78"/>
                        </a:rPr>
                        <a:t>مؤطرة</a:t>
                      </a:r>
                      <a:endParaRPr lang="fr-FR" sz="1800" b="1" dirty="0">
                        <a:latin typeface="Simplified Arabic" panose="02020603050405020304" pitchFamily="18" charset="-78"/>
                        <a:cs typeface="Simplified Arabic" panose="02020603050405020304" pitchFamily="18" charset="-78"/>
                      </a:endParaRPr>
                    </a:p>
                  </a:txBody>
                  <a:tcPr anchor="ctr"/>
                </a:tc>
                <a:extLst>
                  <a:ext uri="{0D108BD9-81ED-4DB2-BD59-A6C34878D82A}">
                    <a16:rowId xmlns="" xmlns:a16="http://schemas.microsoft.com/office/drawing/2014/main" val="500255658"/>
                  </a:ext>
                </a:extLst>
              </a:tr>
            </a:tbl>
          </a:graphicData>
        </a:graphic>
      </p:graphicFrame>
      <p:graphicFrame>
        <p:nvGraphicFramePr>
          <p:cNvPr id="11" name="Graphique 10"/>
          <p:cNvGraphicFramePr/>
          <p:nvPr>
            <p:extLst>
              <p:ext uri="{D42A27DB-BD31-4B8C-83A1-F6EECF244321}">
                <p14:modId xmlns:p14="http://schemas.microsoft.com/office/powerpoint/2010/main" xmlns="" val="3282142872"/>
              </p:ext>
            </p:extLst>
          </p:nvPr>
        </p:nvGraphicFramePr>
        <p:xfrm>
          <a:off x="4166558" y="1091953"/>
          <a:ext cx="4922293" cy="2738175"/>
        </p:xfrm>
        <a:graphic>
          <a:graphicData uri="http://schemas.openxmlformats.org/drawingml/2006/chart">
            <c:chart xmlns:c="http://schemas.openxmlformats.org/drawingml/2006/chart" xmlns:r="http://schemas.openxmlformats.org/officeDocument/2006/relationships" r:id="rId3"/>
          </a:graphicData>
        </a:graphic>
      </p:graphicFrame>
      <p:cxnSp>
        <p:nvCxnSpPr>
          <p:cNvPr id="28" name="Connecteur droit 27"/>
          <p:cNvCxnSpPr/>
          <p:nvPr/>
        </p:nvCxnSpPr>
        <p:spPr>
          <a:xfrm flipH="1" flipV="1">
            <a:off x="6305110" y="1833688"/>
            <a:ext cx="2341740" cy="727650"/>
          </a:xfrm>
          <a:prstGeom prst="line">
            <a:avLst/>
          </a:prstGeom>
          <a:ln w="2857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31" name="Connecteur droit 30"/>
          <p:cNvCxnSpPr/>
          <p:nvPr/>
        </p:nvCxnSpPr>
        <p:spPr>
          <a:xfrm flipH="1" flipV="1">
            <a:off x="5934852" y="1013040"/>
            <a:ext cx="2769096" cy="872195"/>
          </a:xfrm>
          <a:prstGeom prst="line">
            <a:avLst/>
          </a:prstGeom>
          <a:ln w="2857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33" name="Connecteur droit 32"/>
          <p:cNvCxnSpPr/>
          <p:nvPr/>
        </p:nvCxnSpPr>
        <p:spPr>
          <a:xfrm flipV="1">
            <a:off x="4195510" y="994999"/>
            <a:ext cx="1739342" cy="1156214"/>
          </a:xfrm>
          <a:prstGeom prst="line">
            <a:avLst/>
          </a:prstGeom>
          <a:ln w="28575">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35" name="Connecteur droit 34"/>
          <p:cNvCxnSpPr/>
          <p:nvPr/>
        </p:nvCxnSpPr>
        <p:spPr>
          <a:xfrm flipV="1">
            <a:off x="4907075" y="1824363"/>
            <a:ext cx="1424432" cy="1023992"/>
          </a:xfrm>
          <a:prstGeom prst="line">
            <a:avLst/>
          </a:prstGeom>
          <a:ln w="28575">
            <a:solidFill>
              <a:srgbClr val="00B050"/>
            </a:solidFill>
            <a:prstDash val="dash"/>
          </a:ln>
        </p:spPr>
        <p:style>
          <a:lnRef idx="1">
            <a:schemeClr val="accent1"/>
          </a:lnRef>
          <a:fillRef idx="0">
            <a:schemeClr val="accent1"/>
          </a:fillRef>
          <a:effectRef idx="0">
            <a:schemeClr val="accent1"/>
          </a:effectRef>
          <a:fontRef idx="minor">
            <a:schemeClr val="tx1"/>
          </a:fontRef>
        </p:style>
      </p:cxnSp>
      <p:sp>
        <p:nvSpPr>
          <p:cNvPr id="21" name="Rectangle à coins arrondis 20"/>
          <p:cNvSpPr/>
          <p:nvPr/>
        </p:nvSpPr>
        <p:spPr>
          <a:xfrm>
            <a:off x="262253" y="3927082"/>
            <a:ext cx="8605702" cy="218041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lvl="1" algn="just" rtl="1">
              <a:lnSpc>
                <a:spcPct val="150000"/>
              </a:lnSpc>
              <a:spcAft>
                <a:spcPts val="600"/>
              </a:spcAft>
              <a:buClr>
                <a:srgbClr val="0D0D0D"/>
              </a:buClr>
              <a:buSzPct val="75000"/>
            </a:pPr>
            <a:endParaRPr lang="ar-TN" sz="1600" spc="-70" dirty="0" smtClean="0">
              <a:solidFill>
                <a:schemeClr val="tx1"/>
              </a:solidFill>
              <a:latin typeface="Simplified Arabic" panose="02020603050405020304" pitchFamily="18" charset="-78"/>
              <a:cs typeface="Simplified Arabic" panose="02020603050405020304" pitchFamily="18" charset="-78"/>
            </a:endParaRPr>
          </a:p>
          <a:p>
            <a:pPr marL="377825" lvl="1" indent="-285750" algn="just" rtl="1">
              <a:lnSpc>
                <a:spcPct val="150000"/>
              </a:lnSpc>
              <a:spcBef>
                <a:spcPts val="0"/>
              </a:spcBef>
              <a:spcAft>
                <a:spcPts val="0"/>
              </a:spcAft>
              <a:buClr>
                <a:srgbClr val="006E00"/>
              </a:buClr>
              <a:buSzPct val="75000"/>
              <a:buFont typeface="Arial" panose="020B0604020202020204" pitchFamily="34" charset="0"/>
              <a:buChar char="•"/>
            </a:pPr>
            <a:r>
              <a:rPr lang="ar-TN" b="1" spc="-70" dirty="0">
                <a:solidFill>
                  <a:schemeClr val="tx1"/>
                </a:solidFill>
                <a:latin typeface="Simplified Arabic" panose="02020603050405020304" pitchFamily="18" charset="-78"/>
                <a:cs typeface="Simplified Arabic" panose="02020603050405020304" pitchFamily="18" charset="-78"/>
              </a:rPr>
              <a:t>تراجع </a:t>
            </a:r>
            <a:r>
              <a:rPr lang="ar-TN" b="1" spc="-70" dirty="0" smtClean="0">
                <a:solidFill>
                  <a:schemeClr val="tx1"/>
                </a:solidFill>
                <a:latin typeface="Simplified Arabic" panose="02020603050405020304" pitchFamily="18" charset="-78"/>
                <a:cs typeface="Simplified Arabic" panose="02020603050405020304" pitchFamily="18" charset="-78"/>
              </a:rPr>
              <a:t>مستوى الأسعار إلى حدود </a:t>
            </a:r>
            <a:r>
              <a:rPr lang="ar-TN" b="1" spc="-70" dirty="0" smtClean="0">
                <a:solidFill>
                  <a:schemeClr val="tx1"/>
                </a:solidFill>
                <a:latin typeface="Times New Roman" panose="02020603050405020304" pitchFamily="18" charset="0"/>
                <a:cs typeface="Times New Roman" panose="02020603050405020304" pitchFamily="18" charset="0"/>
              </a:rPr>
              <a:t>6,5</a:t>
            </a:r>
            <a:r>
              <a:rPr lang="ar-TN" b="1" spc="-70" dirty="0">
                <a:solidFill>
                  <a:schemeClr val="tx1"/>
                </a:solidFill>
                <a:latin typeface="Times New Roman" panose="02020603050405020304" pitchFamily="18" charset="0"/>
                <a:cs typeface="Times New Roman" panose="02020603050405020304" pitchFamily="18" charset="0"/>
              </a:rPr>
              <a:t>% </a:t>
            </a:r>
            <a:r>
              <a:rPr lang="ar-TN" b="1" spc="-70" dirty="0">
                <a:solidFill>
                  <a:schemeClr val="tx1"/>
                </a:solidFill>
                <a:latin typeface="Simplified Arabic" panose="02020603050405020304" pitchFamily="18" charset="-78"/>
                <a:cs typeface="Simplified Arabic" panose="02020603050405020304" pitchFamily="18" charset="-78"/>
              </a:rPr>
              <a:t>خلال شهر أكتوبر </a:t>
            </a:r>
            <a:r>
              <a:rPr lang="ar-TN" b="1" spc="-70" dirty="0" smtClean="0">
                <a:solidFill>
                  <a:schemeClr val="tx1"/>
                </a:solidFill>
                <a:latin typeface="Simplified Arabic" panose="02020603050405020304" pitchFamily="18" charset="-78"/>
                <a:cs typeface="Simplified Arabic" panose="02020603050405020304" pitchFamily="18" charset="-78"/>
              </a:rPr>
              <a:t>مقابل </a:t>
            </a:r>
            <a:r>
              <a:rPr lang="fr-FR" b="1" spc="-70" dirty="0" smtClean="0">
                <a:solidFill>
                  <a:schemeClr val="tx1"/>
                </a:solidFill>
                <a:latin typeface="Times New Roman" panose="02020603050405020304" pitchFamily="18" charset="0"/>
                <a:cs typeface="Times New Roman" panose="02020603050405020304" pitchFamily="18" charset="0"/>
              </a:rPr>
              <a:t>7.5</a:t>
            </a:r>
            <a:r>
              <a:rPr lang="ar-TN" b="1" spc="-70" dirty="0" smtClean="0">
                <a:solidFill>
                  <a:schemeClr val="tx1"/>
                </a:solidFill>
                <a:latin typeface="Times New Roman" panose="02020603050405020304" pitchFamily="18" charset="0"/>
                <a:cs typeface="Times New Roman" panose="02020603050405020304" pitchFamily="18" charset="0"/>
              </a:rPr>
              <a:t>% </a:t>
            </a:r>
            <a:r>
              <a:rPr lang="ar-TN" b="1" spc="-70" dirty="0" smtClean="0">
                <a:solidFill>
                  <a:schemeClr val="tx1"/>
                </a:solidFill>
                <a:latin typeface="Simplified Arabic" panose="02020603050405020304" pitchFamily="18" charset="-78"/>
                <a:cs typeface="Simplified Arabic" panose="02020603050405020304" pitchFamily="18" charset="-78"/>
              </a:rPr>
              <a:t>سنة </a:t>
            </a:r>
            <a:r>
              <a:rPr lang="ar-TN" b="1" spc="-70" dirty="0">
                <a:solidFill>
                  <a:schemeClr val="tx1"/>
                </a:solidFill>
                <a:latin typeface="Times New Roman" panose="02020603050405020304" pitchFamily="18" charset="0"/>
                <a:cs typeface="Times New Roman" panose="02020603050405020304" pitchFamily="18" charset="0"/>
              </a:rPr>
              <a:t>2018</a:t>
            </a:r>
            <a:r>
              <a:rPr lang="ar-TN" b="1" spc="-70" dirty="0">
                <a:solidFill>
                  <a:schemeClr val="tx1"/>
                </a:solidFill>
                <a:latin typeface="Simplified Arabic" panose="02020603050405020304" pitchFamily="18" charset="-78"/>
                <a:cs typeface="Simplified Arabic" panose="02020603050405020304" pitchFamily="18" charset="-78"/>
              </a:rPr>
              <a:t> بعلاقة أساسا مع:</a:t>
            </a:r>
          </a:p>
          <a:p>
            <a:pPr marL="835025" lvl="2" indent="-285750" algn="r" rtl="1">
              <a:lnSpc>
                <a:spcPct val="150000"/>
              </a:lnSpc>
              <a:spcBef>
                <a:spcPts val="0"/>
              </a:spcBef>
              <a:spcAft>
                <a:spcPts val="0"/>
              </a:spcAft>
              <a:buClr>
                <a:srgbClr val="006E00"/>
              </a:buClr>
              <a:buSzPct val="80000"/>
              <a:buFont typeface="Symbol" panose="05050102010706020507" pitchFamily="18" charset="2"/>
              <a:buChar char="-"/>
            </a:pPr>
            <a:r>
              <a:rPr lang="ar-TN" b="1" spc="-70" dirty="0">
                <a:solidFill>
                  <a:schemeClr val="tx1"/>
                </a:solidFill>
                <a:latin typeface="Simplified Arabic" panose="02020603050405020304" pitchFamily="18" charset="-78"/>
                <a:cs typeface="Simplified Arabic" panose="02020603050405020304" pitchFamily="18" charset="-78"/>
              </a:rPr>
              <a:t>التراجع الملحوظ لنسق تطور التضخم الضمني (التضخم دون التغذية والطاقة) ليبلغ </a:t>
            </a:r>
            <a:r>
              <a:rPr lang="ar-TN" b="1" spc="-70" dirty="0">
                <a:solidFill>
                  <a:schemeClr val="tx1"/>
                </a:solidFill>
                <a:latin typeface="Times New Roman" panose="02020603050405020304" pitchFamily="18" charset="0"/>
                <a:cs typeface="Times New Roman" panose="02020603050405020304" pitchFamily="18" charset="0"/>
              </a:rPr>
              <a:t>6,8% </a:t>
            </a:r>
            <a:r>
              <a:rPr lang="ar-TN" b="1" spc="-70" dirty="0">
                <a:solidFill>
                  <a:schemeClr val="tx1"/>
                </a:solidFill>
                <a:latin typeface="Simplified Arabic" panose="02020603050405020304" pitchFamily="18" charset="-78"/>
                <a:cs typeface="Simplified Arabic" panose="02020603050405020304" pitchFamily="18" charset="-78"/>
              </a:rPr>
              <a:t>مقابل نسبة </a:t>
            </a:r>
            <a:r>
              <a:rPr lang="ar-TN" b="1" spc="-70" dirty="0">
                <a:solidFill>
                  <a:schemeClr val="tx1"/>
                </a:solidFill>
                <a:latin typeface="Times New Roman" panose="02020603050405020304" pitchFamily="18" charset="0"/>
                <a:cs typeface="Times New Roman" panose="02020603050405020304" pitchFamily="18" charset="0"/>
              </a:rPr>
              <a:t>7,6% </a:t>
            </a:r>
            <a:r>
              <a:rPr lang="ar-TN" b="1" spc="-70" dirty="0">
                <a:solidFill>
                  <a:schemeClr val="tx1"/>
                </a:solidFill>
                <a:latin typeface="Simplified Arabic" panose="02020603050405020304" pitchFamily="18" charset="-78"/>
                <a:cs typeface="Simplified Arabic" panose="02020603050405020304" pitchFamily="18" charset="-78"/>
              </a:rPr>
              <a:t>(مفعول إجراءات تشديد السياسة النقدية للبنك المركزي لاستهداف التضخم </a:t>
            </a:r>
            <a:r>
              <a:rPr lang="ar-TN" b="1" spc="-70" dirty="0" smtClean="0">
                <a:solidFill>
                  <a:schemeClr val="tx1"/>
                </a:solidFill>
                <a:latin typeface="Simplified Arabic" panose="02020603050405020304" pitchFamily="18" charset="-78"/>
                <a:cs typeface="Simplified Arabic" panose="02020603050405020304" pitchFamily="18" charset="-78"/>
              </a:rPr>
              <a:t>وخاصة على مستوى تباطئ </a:t>
            </a:r>
            <a:r>
              <a:rPr lang="ar-TN" b="1" spc="-70" dirty="0">
                <a:solidFill>
                  <a:schemeClr val="tx1"/>
                </a:solidFill>
                <a:latin typeface="Simplified Arabic" panose="02020603050405020304" pitchFamily="18" charset="-78"/>
                <a:cs typeface="Simplified Arabic" panose="02020603050405020304" pitchFamily="18" charset="-78"/>
              </a:rPr>
              <a:t>نسق قروض </a:t>
            </a:r>
            <a:r>
              <a:rPr lang="ar-TN" b="1" spc="-70" dirty="0" smtClean="0">
                <a:solidFill>
                  <a:schemeClr val="tx1"/>
                </a:solidFill>
                <a:latin typeface="Simplified Arabic" panose="02020603050405020304" pitchFamily="18" charset="-78"/>
                <a:cs typeface="Simplified Arabic" panose="02020603050405020304" pitchFamily="18" charset="-78"/>
              </a:rPr>
              <a:t>الاستهلاك.</a:t>
            </a:r>
            <a:endParaRPr lang="ar-TN" b="1" spc="-70" dirty="0">
              <a:solidFill>
                <a:schemeClr val="tx1"/>
              </a:solidFill>
              <a:latin typeface="Simplified Arabic" panose="02020603050405020304" pitchFamily="18" charset="-78"/>
              <a:cs typeface="Simplified Arabic" panose="02020603050405020304" pitchFamily="18" charset="-78"/>
            </a:endParaRPr>
          </a:p>
          <a:p>
            <a:pPr marL="835025" lvl="2" indent="-285750" algn="r" rtl="1">
              <a:lnSpc>
                <a:spcPct val="150000"/>
              </a:lnSpc>
              <a:spcBef>
                <a:spcPts val="0"/>
              </a:spcBef>
              <a:spcAft>
                <a:spcPts val="0"/>
              </a:spcAft>
              <a:buClr>
                <a:srgbClr val="006E00"/>
              </a:buClr>
              <a:buSzPct val="80000"/>
              <a:buFont typeface="Symbol" panose="05050102010706020507" pitchFamily="18" charset="2"/>
              <a:buChar char="-"/>
            </a:pPr>
            <a:r>
              <a:rPr lang="ar-TN" b="1" spc="-70" dirty="0">
                <a:solidFill>
                  <a:schemeClr val="tx1"/>
                </a:solidFill>
                <a:latin typeface="Simplified Arabic" panose="02020603050405020304" pitchFamily="18" charset="-78"/>
                <a:cs typeface="Simplified Arabic" panose="02020603050405020304" pitchFamily="18" charset="-78"/>
              </a:rPr>
              <a:t>التحكم في نسق تطور أسعار المواد الحرة </a:t>
            </a:r>
            <a:r>
              <a:rPr lang="ar-TN" b="1" spc="-70" dirty="0" smtClean="0">
                <a:solidFill>
                  <a:schemeClr val="tx1"/>
                </a:solidFill>
                <a:latin typeface="Simplified Arabic" panose="02020603050405020304" pitchFamily="18" charset="-78"/>
                <a:cs typeface="Simplified Arabic" panose="02020603050405020304" pitchFamily="18" charset="-78"/>
              </a:rPr>
              <a:t>(</a:t>
            </a:r>
            <a:r>
              <a:rPr lang="ar-TN" b="1" spc="-70" dirty="0">
                <a:solidFill>
                  <a:schemeClr val="tx1"/>
                </a:solidFill>
                <a:latin typeface="Simplified Arabic" panose="02020603050405020304" pitchFamily="18" charset="-78"/>
                <a:cs typeface="Simplified Arabic" panose="02020603050405020304" pitchFamily="18" charset="-78"/>
              </a:rPr>
              <a:t>ت</a:t>
            </a:r>
            <a:r>
              <a:rPr lang="ar-TN" b="1" spc="-70" dirty="0" smtClean="0">
                <a:solidFill>
                  <a:schemeClr val="tx1"/>
                </a:solidFill>
                <a:latin typeface="Simplified Arabic" panose="02020603050405020304" pitchFamily="18" charset="-78"/>
                <a:cs typeface="Simplified Arabic" panose="02020603050405020304" pitchFamily="18" charset="-78"/>
              </a:rPr>
              <a:t>دعيم </a:t>
            </a:r>
            <a:r>
              <a:rPr lang="ar-TN" b="1" spc="-70" dirty="0">
                <a:solidFill>
                  <a:schemeClr val="tx1"/>
                </a:solidFill>
                <a:latin typeface="Simplified Arabic" panose="02020603050405020304" pitchFamily="18" charset="-78"/>
                <a:cs typeface="Simplified Arabic" panose="02020603050405020304" pitchFamily="18" charset="-78"/>
              </a:rPr>
              <a:t>المراقبة الاقتصادية والتحكم في مسالك </a:t>
            </a:r>
            <a:r>
              <a:rPr lang="ar-TN" b="1" spc="-70" dirty="0" smtClean="0">
                <a:solidFill>
                  <a:schemeClr val="tx1"/>
                </a:solidFill>
                <a:latin typeface="Simplified Arabic" panose="02020603050405020304" pitchFamily="18" charset="-78"/>
                <a:cs typeface="Simplified Arabic" panose="02020603050405020304" pitchFamily="18" charset="-78"/>
              </a:rPr>
              <a:t>التوزيع).</a:t>
            </a:r>
          </a:p>
          <a:p>
            <a:pPr marL="268288" lvl="1" indent="-176213" algn="just" rtl="1">
              <a:lnSpc>
                <a:spcPct val="150000"/>
              </a:lnSpc>
              <a:spcAft>
                <a:spcPts val="600"/>
              </a:spcAft>
              <a:buClr>
                <a:srgbClr val="0D0D0D"/>
              </a:buClr>
              <a:buSzPct val="75000"/>
              <a:buFont typeface="Wingdings" panose="05000000000000000000" pitchFamily="2" charset="2"/>
              <a:buChar char="§"/>
            </a:pPr>
            <a:endParaRPr lang="ar-TN" sz="1600" spc="-70" dirty="0" smtClean="0">
              <a:solidFill>
                <a:schemeClr val="tx1"/>
              </a:solidFill>
              <a:latin typeface="Simplified Arabic" panose="02020603050405020304" pitchFamily="18" charset="-78"/>
              <a:cs typeface="Simplified Arabic" panose="02020603050405020304" pitchFamily="18" charset="-78"/>
            </a:endParaRPr>
          </a:p>
        </p:txBody>
      </p:sp>
    </p:spTree>
    <p:extLst>
      <p:ext uri="{BB962C8B-B14F-4D97-AF65-F5344CB8AC3E}">
        <p14:creationId xmlns:p14="http://schemas.microsoft.com/office/powerpoint/2010/main" xmlns="" val="36753599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a:spLocks noGrp="1"/>
          </p:cNvSpPr>
          <p:nvPr>
            <p:ph type="ctrTitle" idx="4294967295"/>
          </p:nvPr>
        </p:nvSpPr>
        <p:spPr>
          <a:xfrm>
            <a:off x="0" y="1770063"/>
            <a:ext cx="9144000" cy="3284537"/>
          </a:xfrm>
        </p:spPr>
        <p:txBody>
          <a:bodyPr anchor="ctr">
            <a:normAutofit/>
          </a:bodyPr>
          <a:lstStyle/>
          <a:p>
            <a:pPr algn="ctr" defTabSz="457200" eaLnBrk="0" hangingPunct="0">
              <a:defRPr/>
            </a:pPr>
            <a:r>
              <a:rPr lang="ar-TN" sz="3200" dirty="0" smtClean="0">
                <a:solidFill>
                  <a:srgbClr val="FF0000"/>
                </a:solidFill>
                <a:latin typeface="Simplified Arabic" pitchFamily="18" charset="-78"/>
                <a:ea typeface="+mn-ea"/>
                <a:cs typeface="Simplified Arabic" pitchFamily="18" charset="-78"/>
              </a:rPr>
              <a:t>تطور الوضع الاقتصادي خلال سنة </a:t>
            </a:r>
            <a:r>
              <a:rPr lang="ar-TN" sz="2800" dirty="0" smtClean="0">
                <a:solidFill>
                  <a:srgbClr val="FF0000"/>
                </a:solidFill>
                <a:latin typeface="Times New Roman" panose="02020603050405020304" pitchFamily="18" charset="0"/>
                <a:ea typeface="+mn-ea"/>
                <a:cs typeface="Times New Roman" panose="02020603050405020304" pitchFamily="18" charset="0"/>
              </a:rPr>
              <a:t>2019</a:t>
            </a:r>
            <a:endParaRPr lang="fr-FR" sz="3200" dirty="0">
              <a:solidFill>
                <a:srgbClr val="FF0000"/>
              </a:solidFill>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xmlns="" val="332901339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nvPr>
        </p:nvGraphicFramePr>
        <p:xfrm>
          <a:off x="1589" y="1590"/>
          <a:ext cx="1587" cy="1587"/>
        </p:xfrm>
        <a:graphic>
          <a:graphicData uri="http://schemas.openxmlformats.org/presentationml/2006/ole">
            <p:oleObj spid="_x0000_s128142" name="think-cell Slide" r:id="rId6" imgW="360" imgH="360" progId="">
              <p:embed/>
            </p:oleObj>
          </a:graphicData>
        </a:graphic>
      </p:graphicFrame>
      <p:sp>
        <p:nvSpPr>
          <p:cNvPr id="9218" name="FilePath" hidden="1"/>
          <p:cNvSpPr txBox="1">
            <a:spLocks noChangeArrowheads="1"/>
          </p:cNvSpPr>
          <p:nvPr/>
        </p:nvSpPr>
        <p:spPr bwMode="auto">
          <a:xfrm>
            <a:off x="4103079" y="127000"/>
            <a:ext cx="4689231" cy="146258"/>
          </a:xfrm>
          <a:prstGeom prst="rect">
            <a:avLst/>
          </a:prstGeom>
          <a:noFill/>
          <a:ln w="3175" algn="ctr">
            <a:noFill/>
            <a:miter lim="800000"/>
            <a:headEnd/>
            <a:tailEnd/>
          </a:ln>
        </p:spPr>
        <p:txBody>
          <a:bodyPr lIns="17996" tIns="17996" rIns="17996" bIns="17996">
            <a:spAutoFit/>
          </a:bodyPr>
          <a:lstStyle/>
          <a:p>
            <a:pPr algn="r"/>
            <a:r>
              <a:rPr lang="en-GB" sz="700" dirty="0">
                <a:solidFill>
                  <a:srgbClr val="BEBEBE"/>
                </a:solidFill>
              </a:rPr>
              <a:t>G:\1022_TEMELIN_11264\03 Presentations\120118 Kick-off\2012 01 26 </a:t>
            </a:r>
            <a:r>
              <a:rPr lang="en-GB" sz="700" dirty="0" err="1">
                <a:solidFill>
                  <a:srgbClr val="BEBEBE"/>
                </a:solidFill>
              </a:rPr>
              <a:t>Temelin</a:t>
            </a:r>
            <a:r>
              <a:rPr lang="en-GB" sz="700" dirty="0">
                <a:solidFill>
                  <a:srgbClr val="BEBEBE"/>
                </a:solidFill>
              </a:rPr>
              <a:t> - kick-off_v6.ppt</a:t>
            </a:r>
          </a:p>
        </p:txBody>
      </p:sp>
      <p:sp>
        <p:nvSpPr>
          <p:cNvPr id="8" name="Rectangle 7"/>
          <p:cNvSpPr/>
          <p:nvPr/>
        </p:nvSpPr>
        <p:spPr>
          <a:xfrm>
            <a:off x="350982" y="1069675"/>
            <a:ext cx="8441328" cy="4968815"/>
          </a:xfrm>
          <a:prstGeom prst="rect">
            <a:avLst/>
          </a:prstGeom>
          <a:ln w="12700">
            <a:solidFill>
              <a:srgbClr val="C00000"/>
            </a:solidFill>
          </a:ln>
        </p:spPr>
        <p:style>
          <a:lnRef idx="2">
            <a:schemeClr val="accent4"/>
          </a:lnRef>
          <a:fillRef idx="1">
            <a:schemeClr val="lt1"/>
          </a:fillRef>
          <a:effectRef idx="0">
            <a:schemeClr val="accent4"/>
          </a:effectRef>
          <a:fontRef idx="minor">
            <a:schemeClr val="dk1"/>
          </a:fontRef>
        </p:style>
        <p:txBody>
          <a:bodyPr lIns="0" tIns="45711" rIns="0" bIns="45711" rtlCol="0" anchor="ctr"/>
          <a:lstStyle/>
          <a:p>
            <a:pPr marL="611188" indent="-342900" algn="r" rtl="1">
              <a:lnSpc>
                <a:spcPct val="150000"/>
              </a:lnSpc>
              <a:spcBef>
                <a:spcPts val="0"/>
              </a:spcBef>
              <a:spcAft>
                <a:spcPts val="1200"/>
              </a:spcAft>
              <a:buClr>
                <a:srgbClr val="FF0000"/>
              </a:buClr>
              <a:buSzPct val="80000"/>
              <a:buFont typeface="Wingdings" panose="05000000000000000000" pitchFamily="2" charset="2"/>
              <a:buChar char="q"/>
            </a:pPr>
            <a:r>
              <a:rPr lang="ar-TN" sz="2000" b="1" dirty="0" smtClean="0">
                <a:latin typeface="Simplified Arabic" panose="02020603050405020304" pitchFamily="18" charset="-78"/>
                <a:cs typeface="Simplified Arabic" panose="02020603050405020304" pitchFamily="18" charset="-78"/>
              </a:rPr>
              <a:t>ضعف الأداء الاقتصادي مقارنة بالإمكانات المتاحة والتأثر الملحوظ بالمتغيّرات غير الملائمة المسجلة خلال السنة.</a:t>
            </a:r>
          </a:p>
          <a:p>
            <a:pPr marL="611188" indent="-342900" algn="r" rtl="1">
              <a:lnSpc>
                <a:spcPct val="150000"/>
              </a:lnSpc>
              <a:spcBef>
                <a:spcPts val="0"/>
              </a:spcBef>
              <a:spcAft>
                <a:spcPts val="1200"/>
              </a:spcAft>
              <a:buClr>
                <a:srgbClr val="006E00"/>
              </a:buClr>
              <a:buSzPct val="80000"/>
              <a:buFont typeface="Wingdings" panose="05000000000000000000" pitchFamily="2" charset="2"/>
              <a:buChar char="q"/>
            </a:pPr>
            <a:r>
              <a:rPr lang="ar-TN" sz="2000" b="1" dirty="0" smtClean="0">
                <a:latin typeface="Simplified Arabic" panose="02020603050405020304" pitchFamily="18" charset="-78"/>
                <a:cs typeface="Simplified Arabic" panose="02020603050405020304" pitchFamily="18" charset="-78"/>
              </a:rPr>
              <a:t>تحسن نسبي للتوازنات المالية بفضل السياسات المالية والنقدية المتبعة.</a:t>
            </a:r>
          </a:p>
          <a:p>
            <a:pPr marL="611188" indent="-342900" algn="r" rtl="1">
              <a:lnSpc>
                <a:spcPct val="150000"/>
              </a:lnSpc>
              <a:spcBef>
                <a:spcPts val="0"/>
              </a:spcBef>
              <a:spcAft>
                <a:spcPts val="1200"/>
              </a:spcAft>
              <a:buClr>
                <a:srgbClr val="006E00"/>
              </a:buClr>
              <a:buSzPct val="80000"/>
              <a:buFont typeface="Wingdings" panose="05000000000000000000" pitchFamily="2" charset="2"/>
              <a:buChar char="q"/>
            </a:pPr>
            <a:r>
              <a:rPr lang="ar-TN" sz="2000" b="1" dirty="0" smtClean="0">
                <a:latin typeface="Simplified Arabic" panose="02020603050405020304" pitchFamily="18" charset="-78"/>
                <a:cs typeface="Simplified Arabic" panose="02020603050405020304" pitchFamily="18" charset="-78"/>
              </a:rPr>
              <a:t>تحسن ترتيب تونس حسب التقارير الدولية: تقرير ممارسة الأعمال الصادر عن البنك الدولي، دافوس...</a:t>
            </a:r>
          </a:p>
          <a:p>
            <a:pPr marL="611188" indent="-342900" algn="r" rtl="1">
              <a:lnSpc>
                <a:spcPct val="150000"/>
              </a:lnSpc>
              <a:spcBef>
                <a:spcPts val="0"/>
              </a:spcBef>
              <a:spcAft>
                <a:spcPts val="1200"/>
              </a:spcAft>
              <a:buClr>
                <a:srgbClr val="006E00"/>
              </a:buClr>
              <a:buSzPct val="80000"/>
              <a:buFont typeface="Wingdings" panose="05000000000000000000" pitchFamily="2" charset="2"/>
              <a:buChar char="q"/>
            </a:pPr>
            <a:r>
              <a:rPr lang="ar-TN" sz="2000" b="1" dirty="0" smtClean="0">
                <a:latin typeface="Simplified Arabic" panose="02020603050405020304" pitchFamily="18" charset="-78"/>
                <a:cs typeface="Simplified Arabic" panose="02020603050405020304" pitchFamily="18" charset="-78"/>
              </a:rPr>
              <a:t>استقرار الترقيم السيادي بعد المراجعات المتتالية نحو التخفيض</a:t>
            </a:r>
            <a:r>
              <a:rPr lang="fr-FR" sz="2000" b="1" dirty="0" smtClean="0">
                <a:latin typeface="Simplified Arabic" panose="02020603050405020304" pitchFamily="18" charset="-78"/>
                <a:cs typeface="Simplified Arabic" panose="02020603050405020304" pitchFamily="18" charset="-78"/>
              </a:rPr>
              <a:t>.</a:t>
            </a:r>
            <a:endParaRPr lang="ar-TN" sz="2000" b="1" dirty="0" smtClean="0">
              <a:latin typeface="Simplified Arabic" panose="02020603050405020304" pitchFamily="18" charset="-78"/>
              <a:cs typeface="Simplified Arabic" panose="02020603050405020304" pitchFamily="18" charset="-78"/>
            </a:endParaRPr>
          </a:p>
          <a:p>
            <a:pPr marL="611188" indent="-342900" algn="r" rtl="1">
              <a:lnSpc>
                <a:spcPct val="150000"/>
              </a:lnSpc>
              <a:spcBef>
                <a:spcPts val="0"/>
              </a:spcBef>
              <a:spcAft>
                <a:spcPts val="1200"/>
              </a:spcAft>
              <a:buClr>
                <a:srgbClr val="FF0000"/>
              </a:buClr>
              <a:buSzPct val="80000"/>
              <a:buFont typeface="Wingdings" panose="05000000000000000000" pitchFamily="2" charset="2"/>
              <a:buChar char="q"/>
            </a:pPr>
            <a:r>
              <a:rPr lang="ar-TN" sz="2000" b="1" dirty="0" smtClean="0">
                <a:latin typeface="Simplified Arabic" panose="02020603050405020304" pitchFamily="18" charset="-78"/>
                <a:cs typeface="Simplified Arabic" panose="02020603050405020304" pitchFamily="18" charset="-78"/>
              </a:rPr>
              <a:t>تواصل الضغوط على سوق الشغل نتيجة محدودية </a:t>
            </a:r>
            <a:r>
              <a:rPr lang="ar-TN" sz="2000" b="1" dirty="0" err="1" smtClean="0">
                <a:latin typeface="Simplified Arabic" panose="02020603050405020304" pitchFamily="18" charset="-78"/>
                <a:cs typeface="Simplified Arabic" panose="02020603050405020304" pitchFamily="18" charset="-78"/>
              </a:rPr>
              <a:t>الاحداثات</a:t>
            </a:r>
            <a:r>
              <a:rPr lang="ar-TN" sz="2000" b="1" dirty="0" smtClean="0">
                <a:latin typeface="Simplified Arabic" panose="02020603050405020304" pitchFamily="18" charset="-78"/>
                <a:cs typeface="Simplified Arabic" panose="02020603050405020304" pitchFamily="18" charset="-78"/>
              </a:rPr>
              <a:t> الجديدة والطابع الهيكلي للبطالة.</a:t>
            </a:r>
          </a:p>
          <a:p>
            <a:pPr marL="611188" indent="-342900" algn="r" rtl="1">
              <a:lnSpc>
                <a:spcPct val="150000"/>
              </a:lnSpc>
              <a:spcBef>
                <a:spcPts val="0"/>
              </a:spcBef>
              <a:spcAft>
                <a:spcPts val="1200"/>
              </a:spcAft>
              <a:buClr>
                <a:srgbClr val="006E00"/>
              </a:buClr>
              <a:buSzPct val="80000"/>
              <a:buFont typeface="Wingdings" panose="05000000000000000000" pitchFamily="2" charset="2"/>
              <a:buChar char="q"/>
            </a:pPr>
            <a:r>
              <a:rPr lang="ar-TN" sz="2000" b="1" dirty="0" smtClean="0">
                <a:latin typeface="Simplified Arabic" panose="02020603050405020304" pitchFamily="18" charset="-78"/>
                <a:cs typeface="Simplified Arabic" panose="02020603050405020304" pitchFamily="18" charset="-78"/>
              </a:rPr>
              <a:t>تقدّم مسار الإصلاحات الاقتصادية والاجتماعية وإن لم يتمّ تسجيل أثر ملموس لها نظرا لعدم استكمالها.</a:t>
            </a:r>
          </a:p>
        </p:txBody>
      </p:sp>
      <p:sp>
        <p:nvSpPr>
          <p:cNvPr id="6" name="ZoneTexte 5"/>
          <p:cNvSpPr txBox="1"/>
          <p:nvPr/>
        </p:nvSpPr>
        <p:spPr>
          <a:xfrm>
            <a:off x="33210" y="269414"/>
            <a:ext cx="9110790" cy="430887"/>
          </a:xfrm>
          <a:prstGeom prst="rect">
            <a:avLst/>
          </a:prstGeom>
          <a:noFill/>
        </p:spPr>
        <p:txBody>
          <a:bodyPr wrap="square" rtlCol="0">
            <a:spAutoFit/>
          </a:bodyPr>
          <a:lstStyle/>
          <a:p>
            <a:pPr algn="r" rtl="1"/>
            <a:r>
              <a:rPr lang="ar-TN" sz="2200" b="1" dirty="0">
                <a:solidFill>
                  <a:srgbClr val="E51B2E"/>
                </a:solidFill>
                <a:latin typeface="Simplified Arabic" pitchFamily="18" charset="-78"/>
                <a:cs typeface="Simplified Arabic" pitchFamily="18" charset="-78"/>
              </a:rPr>
              <a:t>أهم استنتاجات سنة </a:t>
            </a:r>
            <a:r>
              <a:rPr lang="ar-TN" sz="2000" b="1" dirty="0" smtClean="0">
                <a:solidFill>
                  <a:srgbClr val="E51B2E"/>
                </a:solidFill>
                <a:latin typeface="Times New Roman" panose="02020603050405020304" pitchFamily="18" charset="0"/>
                <a:cs typeface="Times New Roman" panose="02020603050405020304" pitchFamily="18" charset="0"/>
              </a:rPr>
              <a:t>2019</a:t>
            </a:r>
          </a:p>
        </p:txBody>
      </p:sp>
    </p:spTree>
    <p:custDataLst>
      <p:tags r:id="rId2"/>
    </p:custDataLst>
    <p:extLst>
      <p:ext uri="{BB962C8B-B14F-4D97-AF65-F5344CB8AC3E}">
        <p14:creationId xmlns:p14="http://schemas.microsoft.com/office/powerpoint/2010/main" xmlns="" val="281645272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a:spLocks noGrp="1"/>
          </p:cNvSpPr>
          <p:nvPr>
            <p:ph type="ctrTitle" idx="4294967295"/>
          </p:nvPr>
        </p:nvSpPr>
        <p:spPr>
          <a:xfrm>
            <a:off x="0" y="1770063"/>
            <a:ext cx="9144000" cy="3284537"/>
          </a:xfrm>
        </p:spPr>
        <p:txBody>
          <a:bodyPr anchor="ctr">
            <a:normAutofit/>
          </a:bodyPr>
          <a:lstStyle/>
          <a:p>
            <a:pPr algn="ctr" defTabSz="457200" eaLnBrk="0" hangingPunct="0">
              <a:defRPr/>
            </a:pPr>
            <a:r>
              <a:rPr lang="ar-TN" sz="3200" dirty="0">
                <a:solidFill>
                  <a:srgbClr val="FF0000"/>
                </a:solidFill>
                <a:latin typeface="Simplified Arabic" pitchFamily="18" charset="-78"/>
                <a:ea typeface="+mn-ea"/>
                <a:cs typeface="Simplified Arabic" pitchFamily="18" charset="-78"/>
              </a:rPr>
              <a:t>الإصلاحات المتعلقة بمناخ </a:t>
            </a:r>
            <a:r>
              <a:rPr lang="ar-TN" sz="3200" dirty="0" smtClean="0">
                <a:solidFill>
                  <a:srgbClr val="FF0000"/>
                </a:solidFill>
                <a:latin typeface="Simplified Arabic" pitchFamily="18" charset="-78"/>
                <a:ea typeface="+mn-ea"/>
                <a:cs typeface="Simplified Arabic" pitchFamily="18" charset="-78"/>
              </a:rPr>
              <a:t>الأعمال لسنة 2019 </a:t>
            </a:r>
            <a:endParaRPr lang="ar-TN" sz="3600" dirty="0">
              <a:solidFill>
                <a:srgbClr val="FF0000"/>
              </a:solidFill>
              <a:latin typeface="Simplified Arabic" pitchFamily="18" charset="-78"/>
              <a:ea typeface="+mn-ea"/>
              <a:cs typeface="Simplified Arabic" pitchFamily="18" charset="-78"/>
            </a:endParaRPr>
          </a:p>
        </p:txBody>
      </p:sp>
    </p:spTree>
    <p:extLst>
      <p:ext uri="{BB962C8B-B14F-4D97-AF65-F5344CB8AC3E}">
        <p14:creationId xmlns:p14="http://schemas.microsoft.com/office/powerpoint/2010/main" xmlns="" val="94600279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a:spLocks noGrp="1"/>
          </p:cNvSpPr>
          <p:nvPr>
            <p:ph type="ctrTitle" idx="4294967295"/>
          </p:nvPr>
        </p:nvSpPr>
        <p:spPr>
          <a:xfrm>
            <a:off x="126519" y="2626121"/>
            <a:ext cx="6937827" cy="2390941"/>
          </a:xfrm>
        </p:spPr>
        <p:txBody>
          <a:bodyPr anchor="ctr">
            <a:noAutofit/>
          </a:bodyPr>
          <a:lstStyle/>
          <a:p>
            <a:pPr algn="r" defTabSz="457200" rtl="1" eaLnBrk="0" hangingPunct="0">
              <a:lnSpc>
                <a:spcPct val="150000"/>
              </a:lnSpc>
              <a:spcBef>
                <a:spcPts val="1800"/>
              </a:spcBef>
              <a:spcAft>
                <a:spcPts val="1800"/>
              </a:spcAft>
              <a:defRPr/>
            </a:pPr>
            <a:r>
              <a:rPr lang="ar-TN" sz="2200" dirty="0" smtClean="0">
                <a:solidFill>
                  <a:schemeClr val="tx1"/>
                </a:solidFill>
                <a:latin typeface="Sakkal Majalla" pitchFamily="2" charset="-78"/>
                <a:ea typeface="+mn-ea"/>
                <a:cs typeface="Sakkal Majalla" pitchFamily="2" charset="-78"/>
              </a:rPr>
              <a:t/>
            </a:r>
            <a:br>
              <a:rPr lang="ar-TN" sz="2200" dirty="0" smtClean="0">
                <a:solidFill>
                  <a:schemeClr val="tx1"/>
                </a:solidFill>
                <a:latin typeface="Sakkal Majalla" pitchFamily="2" charset="-78"/>
                <a:ea typeface="+mn-ea"/>
                <a:cs typeface="Sakkal Majalla" pitchFamily="2" charset="-78"/>
              </a:rPr>
            </a:br>
            <a:r>
              <a:rPr lang="fr-FR" sz="2200" dirty="0" smtClean="0">
                <a:solidFill>
                  <a:schemeClr val="tx1"/>
                </a:solidFill>
                <a:latin typeface="Sakkal Majalla" pitchFamily="2" charset="-78"/>
                <a:ea typeface="+mn-ea"/>
                <a:cs typeface="Sakkal Majalla" pitchFamily="2" charset="-78"/>
              </a:rPr>
              <a:t> -</a:t>
            </a:r>
            <a:r>
              <a:rPr lang="ar-TN" sz="2200" dirty="0" smtClean="0">
                <a:solidFill>
                  <a:schemeClr val="tx1"/>
                </a:solidFill>
                <a:latin typeface="Sakkal Majalla" pitchFamily="2" charset="-78"/>
                <a:ea typeface="+mn-ea"/>
                <a:cs typeface="Sakkal Majalla" pitchFamily="2" charset="-78"/>
              </a:rPr>
              <a:t>تقدم تونس في تقرير ممارسة أنشطة الاعمال</a:t>
            </a:r>
            <a:r>
              <a:rPr lang="fr-FR" sz="2200" dirty="0" smtClean="0">
                <a:solidFill>
                  <a:schemeClr val="tx1"/>
                </a:solidFill>
                <a:latin typeface="Sakkal Majalla" pitchFamily="2" charset="-78"/>
                <a:ea typeface="+mn-ea"/>
                <a:cs typeface="Sakkal Majalla" pitchFamily="2" charset="-78"/>
              </a:rPr>
              <a:t> </a:t>
            </a:r>
            <a:r>
              <a:rPr lang="fr-FR" sz="2200" dirty="0" err="1" smtClean="0">
                <a:solidFill>
                  <a:schemeClr val="tx1"/>
                </a:solidFill>
                <a:latin typeface="Sakkal Majalla" pitchFamily="2" charset="-78"/>
                <a:ea typeface="+mn-ea"/>
                <a:cs typeface="Sakkal Majalla" pitchFamily="2" charset="-78"/>
              </a:rPr>
              <a:t>Doing</a:t>
            </a:r>
            <a:r>
              <a:rPr lang="fr-FR" sz="2200" dirty="0" smtClean="0">
                <a:solidFill>
                  <a:schemeClr val="tx1"/>
                </a:solidFill>
                <a:latin typeface="Sakkal Majalla" pitchFamily="2" charset="-78"/>
                <a:ea typeface="+mn-ea"/>
                <a:cs typeface="Sakkal Majalla" pitchFamily="2" charset="-78"/>
              </a:rPr>
              <a:t> Business 2020 </a:t>
            </a:r>
            <a:r>
              <a:rPr lang="ar-TN" sz="2200" dirty="0" smtClean="0">
                <a:solidFill>
                  <a:schemeClr val="tx1"/>
                </a:solidFill>
                <a:latin typeface="Sakkal Majalla" pitchFamily="2" charset="-78"/>
                <a:ea typeface="+mn-ea"/>
                <a:cs typeface="Sakkal Majalla" pitchFamily="2" charset="-78"/>
              </a:rPr>
              <a:t> </a:t>
            </a:r>
            <a:r>
              <a:rPr lang="fr-FR" sz="2200" dirty="0" smtClean="0">
                <a:solidFill>
                  <a:schemeClr val="tx1"/>
                </a:solidFill>
                <a:latin typeface="Sakkal Majalla" pitchFamily="2" charset="-78"/>
                <a:ea typeface="+mn-ea"/>
                <a:cs typeface="Sakkal Majalla" pitchFamily="2" charset="-78"/>
              </a:rPr>
              <a:t/>
            </a:r>
            <a:br>
              <a:rPr lang="fr-FR" sz="2200" dirty="0" smtClean="0">
                <a:solidFill>
                  <a:schemeClr val="tx1"/>
                </a:solidFill>
                <a:latin typeface="Sakkal Majalla" pitchFamily="2" charset="-78"/>
                <a:ea typeface="+mn-ea"/>
                <a:cs typeface="Sakkal Majalla" pitchFamily="2" charset="-78"/>
              </a:rPr>
            </a:br>
            <a:r>
              <a:rPr lang="ar-TN" sz="2200" dirty="0" smtClean="0">
                <a:solidFill>
                  <a:schemeClr val="tx1"/>
                </a:solidFill>
                <a:latin typeface="Sakkal Majalla" pitchFamily="2" charset="-78"/>
                <a:ea typeface="+mn-ea"/>
                <a:cs typeface="Sakkal Majalla" pitchFamily="2" charset="-78"/>
              </a:rPr>
              <a:t>- اصدار </a:t>
            </a:r>
            <a:r>
              <a:rPr lang="ar-TN" sz="2200" dirty="0">
                <a:solidFill>
                  <a:schemeClr val="tx1"/>
                </a:solidFill>
                <a:latin typeface="Sakkal Majalla" pitchFamily="2" charset="-78"/>
                <a:ea typeface="+mn-ea"/>
                <a:cs typeface="Sakkal Majalla" pitchFamily="2" charset="-78"/>
              </a:rPr>
              <a:t>القانون الافقي لتحسين مناخ </a:t>
            </a:r>
            <a:r>
              <a:rPr lang="ar-TN" sz="2200" dirty="0" smtClean="0">
                <a:solidFill>
                  <a:schemeClr val="tx1"/>
                </a:solidFill>
                <a:latin typeface="Sakkal Majalla" pitchFamily="2" charset="-78"/>
                <a:ea typeface="+mn-ea"/>
                <a:cs typeface="Sakkal Majalla" pitchFamily="2" charset="-78"/>
              </a:rPr>
              <a:t>الاستثمار</a:t>
            </a:r>
            <a:r>
              <a:rPr lang="fr-FR" sz="2200" dirty="0">
                <a:solidFill>
                  <a:schemeClr val="tx1"/>
                </a:solidFill>
                <a:latin typeface="Sakkal Majalla" pitchFamily="2" charset="-78"/>
                <a:cs typeface="Sakkal Majalla" pitchFamily="2" charset="-78"/>
              </a:rPr>
              <a:t/>
            </a:r>
            <a:br>
              <a:rPr lang="fr-FR" sz="2200" dirty="0">
                <a:solidFill>
                  <a:schemeClr val="tx1"/>
                </a:solidFill>
                <a:latin typeface="Sakkal Majalla" pitchFamily="2" charset="-78"/>
                <a:cs typeface="Sakkal Majalla" pitchFamily="2" charset="-78"/>
              </a:rPr>
            </a:br>
            <a:r>
              <a:rPr lang="fr-FR" sz="2200" dirty="0" smtClean="0">
                <a:solidFill>
                  <a:schemeClr val="tx1"/>
                </a:solidFill>
                <a:latin typeface="Sakkal Majalla" pitchFamily="2" charset="-78"/>
                <a:ea typeface="+mn-ea"/>
                <a:cs typeface="Sakkal Majalla" pitchFamily="2" charset="-78"/>
              </a:rPr>
              <a:t> -</a:t>
            </a:r>
            <a:r>
              <a:rPr lang="ar-TN" sz="2200" dirty="0" smtClean="0">
                <a:solidFill>
                  <a:schemeClr val="tx1"/>
                </a:solidFill>
                <a:latin typeface="Sakkal Majalla" pitchFamily="2" charset="-78"/>
                <a:ea typeface="+mn-ea"/>
                <a:cs typeface="Sakkal Majalla" pitchFamily="2" charset="-78"/>
              </a:rPr>
              <a:t>الأمر </a:t>
            </a:r>
            <a:r>
              <a:rPr lang="ar-TN" sz="2200" dirty="0">
                <a:solidFill>
                  <a:schemeClr val="tx1"/>
                </a:solidFill>
                <a:latin typeface="Sakkal Majalla" pitchFamily="2" charset="-78"/>
                <a:ea typeface="+mn-ea"/>
                <a:cs typeface="Sakkal Majalla" pitchFamily="2" charset="-78"/>
              </a:rPr>
              <a:t>الحكومي عدد 417 لسنة </a:t>
            </a:r>
            <a:r>
              <a:rPr lang="ar-TN" sz="2200" dirty="0" smtClean="0">
                <a:solidFill>
                  <a:schemeClr val="tx1"/>
                </a:solidFill>
                <a:latin typeface="Sakkal Majalla" pitchFamily="2" charset="-78"/>
                <a:ea typeface="+mn-ea"/>
                <a:cs typeface="Sakkal Majalla" pitchFamily="2" charset="-78"/>
              </a:rPr>
              <a:t>2018 المتعلّق بإصدار القائمة </a:t>
            </a:r>
            <a:r>
              <a:rPr lang="ar-TN" sz="2200" dirty="0" err="1" smtClean="0">
                <a:solidFill>
                  <a:schemeClr val="tx1"/>
                </a:solidFill>
                <a:latin typeface="Sakkal Majalla" pitchFamily="2" charset="-78"/>
                <a:ea typeface="+mn-ea"/>
                <a:cs typeface="Sakkal Majalla" pitchFamily="2" charset="-78"/>
              </a:rPr>
              <a:t>الحصرية</a:t>
            </a:r>
            <a:r>
              <a:rPr lang="ar-TN" sz="2200" dirty="0" smtClean="0">
                <a:solidFill>
                  <a:schemeClr val="tx1"/>
                </a:solidFill>
                <a:latin typeface="Sakkal Majalla" pitchFamily="2" charset="-78"/>
                <a:ea typeface="+mn-ea"/>
                <a:cs typeface="Sakkal Majalla" pitchFamily="2" charset="-78"/>
              </a:rPr>
              <a:t> للأنشطة الاقتصادية الخاضعة لترخيص وقائمة التراخيص الإدارية لإنجاز مشروع وضبط الأحكام ذات الصلة وتبسيطها </a:t>
            </a:r>
            <a:r>
              <a:rPr lang="ar-TN" sz="2200" dirty="0">
                <a:solidFill>
                  <a:schemeClr val="tx1"/>
                </a:solidFill>
                <a:latin typeface="Sakkal Majalla" pitchFamily="2" charset="-78"/>
                <a:cs typeface="Sakkal Majalla" pitchFamily="2" charset="-78"/>
              </a:rPr>
              <a:t/>
            </a:r>
            <a:br>
              <a:rPr lang="ar-TN" sz="2200" dirty="0">
                <a:solidFill>
                  <a:schemeClr val="tx1"/>
                </a:solidFill>
                <a:latin typeface="Sakkal Majalla" pitchFamily="2" charset="-78"/>
                <a:cs typeface="Sakkal Majalla" pitchFamily="2" charset="-78"/>
              </a:rPr>
            </a:br>
            <a:endParaRPr lang="ar-TN" sz="2200" dirty="0">
              <a:solidFill>
                <a:schemeClr val="tx1"/>
              </a:solidFill>
              <a:latin typeface="Sakkal Majalla" pitchFamily="2" charset="-78"/>
              <a:ea typeface="+mn-ea"/>
              <a:cs typeface="Sakkal Majalla" pitchFamily="2" charset="-78"/>
            </a:endParaRPr>
          </a:p>
        </p:txBody>
      </p:sp>
      <p:sp>
        <p:nvSpPr>
          <p:cNvPr id="4" name="Titre 1"/>
          <p:cNvSpPr txBox="1">
            <a:spLocks/>
          </p:cNvSpPr>
          <p:nvPr/>
        </p:nvSpPr>
        <p:spPr bwMode="gray">
          <a:xfrm>
            <a:off x="126520" y="2079653"/>
            <a:ext cx="9144000" cy="54646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lgn="l" defTabSz="913235" rtl="0" eaLnBrk="1" fontAlgn="base" hangingPunct="1">
              <a:spcBef>
                <a:spcPct val="0"/>
              </a:spcBef>
              <a:spcAft>
                <a:spcPct val="0"/>
              </a:spcAft>
              <a:tabLst>
                <a:tab pos="275266" algn="l"/>
              </a:tabLst>
              <a:defRPr sz="1900" b="1" baseline="0">
                <a:solidFill>
                  <a:schemeClr val="accent1"/>
                </a:solidFill>
                <a:latin typeface="+mj-lt"/>
                <a:ea typeface="+mj-ea"/>
                <a:cs typeface="+mj-cs"/>
              </a:defRPr>
            </a:lvl1pPr>
            <a:lvl2pPr algn="l" defTabSz="913235" rtl="0" eaLnBrk="1" fontAlgn="base" hangingPunct="1">
              <a:spcBef>
                <a:spcPct val="0"/>
              </a:spcBef>
              <a:spcAft>
                <a:spcPct val="0"/>
              </a:spcAft>
              <a:defRPr sz="1900" b="1">
                <a:solidFill>
                  <a:schemeClr val="tx2"/>
                </a:solidFill>
                <a:latin typeface="Arial" charset="0"/>
              </a:defRPr>
            </a:lvl2pPr>
            <a:lvl3pPr algn="l" defTabSz="913235" rtl="0" eaLnBrk="1" fontAlgn="base" hangingPunct="1">
              <a:spcBef>
                <a:spcPct val="0"/>
              </a:spcBef>
              <a:spcAft>
                <a:spcPct val="0"/>
              </a:spcAft>
              <a:defRPr sz="1900" b="1">
                <a:solidFill>
                  <a:schemeClr val="tx2"/>
                </a:solidFill>
                <a:latin typeface="Arial" charset="0"/>
              </a:defRPr>
            </a:lvl3pPr>
            <a:lvl4pPr algn="l" defTabSz="913235" rtl="0" eaLnBrk="1" fontAlgn="base" hangingPunct="1">
              <a:spcBef>
                <a:spcPct val="0"/>
              </a:spcBef>
              <a:spcAft>
                <a:spcPct val="0"/>
              </a:spcAft>
              <a:defRPr sz="1900" b="1">
                <a:solidFill>
                  <a:schemeClr val="tx2"/>
                </a:solidFill>
                <a:latin typeface="Arial" charset="0"/>
              </a:defRPr>
            </a:lvl4pPr>
            <a:lvl5pPr algn="l" defTabSz="913235" rtl="0" eaLnBrk="1" fontAlgn="base" hangingPunct="1">
              <a:spcBef>
                <a:spcPct val="0"/>
              </a:spcBef>
              <a:spcAft>
                <a:spcPct val="0"/>
              </a:spcAft>
              <a:defRPr sz="1900" b="1">
                <a:solidFill>
                  <a:schemeClr val="tx2"/>
                </a:solidFill>
                <a:latin typeface="Arial" charset="0"/>
              </a:defRPr>
            </a:lvl5pPr>
            <a:lvl6pPr marL="466331" algn="l" defTabSz="913235" rtl="0" eaLnBrk="1" fontAlgn="base" hangingPunct="1">
              <a:spcBef>
                <a:spcPct val="0"/>
              </a:spcBef>
              <a:spcAft>
                <a:spcPct val="0"/>
              </a:spcAft>
              <a:defRPr sz="1900" b="1">
                <a:solidFill>
                  <a:schemeClr val="tx2"/>
                </a:solidFill>
                <a:latin typeface="Arial" charset="0"/>
              </a:defRPr>
            </a:lvl6pPr>
            <a:lvl7pPr marL="932665" algn="l" defTabSz="913235" rtl="0" eaLnBrk="1" fontAlgn="base" hangingPunct="1">
              <a:spcBef>
                <a:spcPct val="0"/>
              </a:spcBef>
              <a:spcAft>
                <a:spcPct val="0"/>
              </a:spcAft>
              <a:defRPr sz="1900" b="1">
                <a:solidFill>
                  <a:schemeClr val="tx2"/>
                </a:solidFill>
                <a:latin typeface="Arial" charset="0"/>
              </a:defRPr>
            </a:lvl7pPr>
            <a:lvl8pPr marL="1398999" algn="l" defTabSz="913235" rtl="0" eaLnBrk="1" fontAlgn="base" hangingPunct="1">
              <a:spcBef>
                <a:spcPct val="0"/>
              </a:spcBef>
              <a:spcAft>
                <a:spcPct val="0"/>
              </a:spcAft>
              <a:defRPr sz="1900" b="1">
                <a:solidFill>
                  <a:schemeClr val="tx2"/>
                </a:solidFill>
                <a:latin typeface="Arial" charset="0"/>
              </a:defRPr>
            </a:lvl8pPr>
            <a:lvl9pPr marL="1865332" algn="l" defTabSz="913235" rtl="0" eaLnBrk="1" fontAlgn="base" hangingPunct="1">
              <a:spcBef>
                <a:spcPct val="0"/>
              </a:spcBef>
              <a:spcAft>
                <a:spcPct val="0"/>
              </a:spcAft>
              <a:defRPr sz="1900" b="1">
                <a:solidFill>
                  <a:schemeClr val="tx2"/>
                </a:solidFill>
                <a:latin typeface="Arial" charset="0"/>
              </a:defRPr>
            </a:lvl9pPr>
          </a:lstStyle>
          <a:p>
            <a:pPr algn="ctr" defTabSz="457200" rtl="1" eaLnBrk="0" hangingPunct="0">
              <a:defRPr/>
            </a:pPr>
            <a:r>
              <a:rPr lang="ar-TN" sz="3600" kern="0" dirty="0" smtClean="0">
                <a:solidFill>
                  <a:srgbClr val="FF0000"/>
                </a:solidFill>
                <a:latin typeface="Sakkal Majalla" pitchFamily="2" charset="-78"/>
                <a:ea typeface="+mn-ea"/>
                <a:cs typeface="Sakkal Majalla" pitchFamily="2" charset="-78"/>
              </a:rPr>
              <a:t>الإصلاحات المتعلقة بمناخ الأعمال لسنة 2019</a:t>
            </a:r>
            <a:endParaRPr lang="ar-TN" sz="3600" kern="0" dirty="0">
              <a:solidFill>
                <a:srgbClr val="FF0000"/>
              </a:solidFill>
              <a:latin typeface="Sakkal Majalla" pitchFamily="2" charset="-78"/>
              <a:ea typeface="+mn-ea"/>
              <a:cs typeface="Sakkal Majalla" pitchFamily="2" charset="-78"/>
            </a:endParaRPr>
          </a:p>
        </p:txBody>
      </p:sp>
    </p:spTree>
    <p:extLst>
      <p:ext uri="{BB962C8B-B14F-4D97-AF65-F5344CB8AC3E}">
        <p14:creationId xmlns:p14="http://schemas.microsoft.com/office/powerpoint/2010/main" xmlns="" val="297649043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11209" y="381652"/>
            <a:ext cx="9144000" cy="430887"/>
          </a:xfrm>
          <a:prstGeom prst="rect">
            <a:avLst/>
          </a:prstGeom>
          <a:noFill/>
        </p:spPr>
        <p:txBody>
          <a:bodyPr wrap="square" rtlCol="0">
            <a:spAutoFit/>
          </a:bodyPr>
          <a:lstStyle/>
          <a:p>
            <a:pPr algn="ctr" rtl="1"/>
            <a:r>
              <a:rPr lang="ar-TN" sz="2200" b="1" dirty="0" smtClean="0">
                <a:solidFill>
                  <a:srgbClr val="E51B2E"/>
                </a:solidFill>
                <a:latin typeface="Simplified Arabic" pitchFamily="18" charset="-78"/>
                <a:cs typeface="Simplified Arabic" pitchFamily="18" charset="-78"/>
              </a:rPr>
              <a:t>تقدم في تقرير ممارسة أنشطة الاعمال </a:t>
            </a:r>
            <a:r>
              <a:rPr lang="fr-FR" sz="2200" b="1" dirty="0" smtClean="0">
                <a:solidFill>
                  <a:srgbClr val="E51B2E"/>
                </a:solidFill>
                <a:latin typeface="Simplified Arabic" pitchFamily="18" charset="-78"/>
                <a:cs typeface="Simplified Arabic" pitchFamily="18" charset="-78"/>
              </a:rPr>
              <a:t>DB2020</a:t>
            </a:r>
            <a:endParaRPr lang="ar-TN" sz="2200" b="1" dirty="0" smtClean="0">
              <a:solidFill>
                <a:srgbClr val="E51B2E"/>
              </a:solidFill>
              <a:latin typeface="Simplified Arabic" pitchFamily="18" charset="-78"/>
              <a:cs typeface="Simplified Arabic" pitchFamily="18" charset="-78"/>
            </a:endParaRPr>
          </a:p>
        </p:txBody>
      </p:sp>
      <p:sp>
        <p:nvSpPr>
          <p:cNvPr id="9" name="ZoneTexte 8"/>
          <p:cNvSpPr txBox="1"/>
          <p:nvPr/>
        </p:nvSpPr>
        <p:spPr>
          <a:xfrm>
            <a:off x="4805265" y="3340359"/>
            <a:ext cx="1754155" cy="382555"/>
          </a:xfrm>
          <a:prstGeom prst="rect">
            <a:avLst/>
          </a:prstGeom>
          <a:noFill/>
          <a:ln w="9525">
            <a:solidFill>
              <a:schemeClr val="bg1"/>
            </a:solidFill>
            <a:miter lim="800000"/>
            <a:headEnd/>
            <a:tailEnd/>
          </a:ln>
          <a:effectLst/>
          <a:extLst/>
        </p:spPr>
        <p:txBody>
          <a:bodyPr vert="horz" wrap="square" lIns="76200" tIns="76200" rIns="76200" bIns="76200" numCol="1" rtlCol="0" anchor="t" anchorCtr="0" compatLnSpc="1">
            <a:prstTxWarp prst="textNoShape">
              <a:avLst/>
            </a:prstTxWarp>
            <a:noAutofit/>
          </a:bodyPr>
          <a:lstStyle/>
          <a:p>
            <a:endParaRPr lang="fr-FR" sz="1200" dirty="0" err="1" smtClean="0">
              <a:solidFill>
                <a:schemeClr val="bg1"/>
              </a:solidFill>
            </a:endParaRPr>
          </a:p>
        </p:txBody>
      </p:sp>
      <p:sp>
        <p:nvSpPr>
          <p:cNvPr id="13" name="ZoneTexte 12"/>
          <p:cNvSpPr txBox="1"/>
          <p:nvPr/>
        </p:nvSpPr>
        <p:spPr>
          <a:xfrm>
            <a:off x="8051990" y="2699135"/>
            <a:ext cx="956555" cy="885259"/>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ctr"/>
            <a:r>
              <a:rPr lang="ar-SA" sz="1400" b="1" spc="-70" dirty="0">
                <a:solidFill>
                  <a:schemeClr val="bg1"/>
                </a:solidFill>
                <a:latin typeface="Simplified Arabic" panose="02020603050405020304" pitchFamily="18" charset="-78"/>
                <a:ea typeface="+mn-ea"/>
                <a:cs typeface="Simplified Arabic" panose="02020603050405020304" pitchFamily="18" charset="-78"/>
              </a:rPr>
              <a:t>السجل الوطني للمؤسسات</a:t>
            </a:r>
            <a:endParaRPr lang="fr-FR" sz="1400" b="1" spc="-70" dirty="0" err="1">
              <a:solidFill>
                <a:schemeClr val="bg1"/>
              </a:solidFill>
              <a:latin typeface="Simplified Arabic" panose="02020603050405020304" pitchFamily="18" charset="-78"/>
              <a:ea typeface="+mn-ea"/>
              <a:cs typeface="Simplified Arabic" panose="02020603050405020304" pitchFamily="18" charset="-78"/>
            </a:endParaRPr>
          </a:p>
        </p:txBody>
      </p:sp>
      <p:sp>
        <p:nvSpPr>
          <p:cNvPr id="20" name="ZoneTexte 19"/>
          <p:cNvSpPr txBox="1"/>
          <p:nvPr/>
        </p:nvSpPr>
        <p:spPr>
          <a:xfrm>
            <a:off x="7935686" y="3874321"/>
            <a:ext cx="956555" cy="880871"/>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ctr"/>
            <a:r>
              <a:rPr lang="ar-SA" sz="1400" b="1" spc="-70" dirty="0">
                <a:solidFill>
                  <a:schemeClr val="bg1"/>
                </a:solidFill>
                <a:latin typeface="Simplified Arabic" panose="02020603050405020304" pitchFamily="18" charset="-78"/>
                <a:ea typeface="+mn-ea"/>
                <a:cs typeface="Simplified Arabic" panose="02020603050405020304" pitchFamily="18" charset="-78"/>
              </a:rPr>
              <a:t>القانون المتعلق بالمؤسسات الناشئة</a:t>
            </a:r>
            <a:endParaRPr lang="fr-FR" sz="1400" b="1" spc="-70" dirty="0" err="1">
              <a:solidFill>
                <a:schemeClr val="bg1"/>
              </a:solidFill>
              <a:latin typeface="Simplified Arabic" panose="02020603050405020304" pitchFamily="18" charset="-78"/>
              <a:ea typeface="+mn-ea"/>
              <a:cs typeface="Simplified Arabic" panose="02020603050405020304" pitchFamily="18" charset="-78"/>
            </a:endParaRPr>
          </a:p>
        </p:txBody>
      </p:sp>
      <p:sp>
        <p:nvSpPr>
          <p:cNvPr id="33" name="ZoneTexte 32"/>
          <p:cNvSpPr txBox="1"/>
          <p:nvPr/>
        </p:nvSpPr>
        <p:spPr>
          <a:xfrm>
            <a:off x="7875436" y="5342006"/>
            <a:ext cx="1049861" cy="595778"/>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defPPr>
              <a:defRPr lang="en-US"/>
            </a:defPPr>
            <a:lvl1pPr algn="r">
              <a:defRPr sz="1400" b="1" spc="-70">
                <a:latin typeface="Simplified Arabic" panose="02020603050405020304" pitchFamily="18" charset="-78"/>
                <a:ea typeface="+mn-ea"/>
                <a:cs typeface="Simplified Arabic" panose="02020603050405020304" pitchFamily="18" charset="-78"/>
              </a:defRPr>
            </a:lvl1pPr>
          </a:lstStyle>
          <a:p>
            <a:pPr algn="ctr"/>
            <a:r>
              <a:rPr lang="ar-SA" dirty="0">
                <a:solidFill>
                  <a:schemeClr val="bg1"/>
                </a:solidFill>
              </a:rPr>
              <a:t>القانون الأساسي للميزانية</a:t>
            </a:r>
            <a:endParaRPr lang="fr-FR" dirty="0" err="1">
              <a:solidFill>
                <a:schemeClr val="bg1"/>
              </a:solidFill>
            </a:endParaRPr>
          </a:p>
        </p:txBody>
      </p:sp>
      <p:sp>
        <p:nvSpPr>
          <p:cNvPr id="42" name="ZoneTexte 41"/>
          <p:cNvSpPr txBox="1"/>
          <p:nvPr/>
        </p:nvSpPr>
        <p:spPr>
          <a:xfrm>
            <a:off x="3346592" y="2882134"/>
            <a:ext cx="1113135" cy="595778"/>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defPPr>
              <a:defRPr lang="en-US"/>
            </a:defPPr>
            <a:lvl1pPr algn="r">
              <a:defRPr sz="1400" b="1" spc="-70">
                <a:latin typeface="Simplified Arabic" panose="02020603050405020304" pitchFamily="18" charset="-78"/>
                <a:ea typeface="+mn-ea"/>
                <a:cs typeface="Simplified Arabic" panose="02020603050405020304" pitchFamily="18" charset="-78"/>
              </a:defRPr>
            </a:lvl1pPr>
          </a:lstStyle>
          <a:p>
            <a:pPr algn="ctr"/>
            <a:r>
              <a:rPr lang="ar-SA" dirty="0" smtClean="0">
                <a:solidFill>
                  <a:schemeClr val="bg1"/>
                </a:solidFill>
              </a:rPr>
              <a:t>المخطط الشمسي التونسي</a:t>
            </a:r>
            <a:endParaRPr lang="fr-FR" dirty="0" err="1">
              <a:solidFill>
                <a:schemeClr val="bg1"/>
              </a:solidFill>
            </a:endParaRPr>
          </a:p>
        </p:txBody>
      </p:sp>
      <p:sp>
        <p:nvSpPr>
          <p:cNvPr id="49" name="ZoneTexte 48"/>
          <p:cNvSpPr txBox="1"/>
          <p:nvPr/>
        </p:nvSpPr>
        <p:spPr>
          <a:xfrm>
            <a:off x="7950298" y="1222350"/>
            <a:ext cx="956555" cy="885259"/>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ctr"/>
            <a:r>
              <a:rPr lang="ar-TN" sz="1400" b="1" spc="-70" dirty="0" smtClean="0">
                <a:solidFill>
                  <a:schemeClr val="bg1"/>
                </a:solidFill>
                <a:latin typeface="Simplified Arabic" panose="02020603050405020304" pitchFamily="18" charset="-78"/>
                <a:ea typeface="+mn-ea"/>
                <a:cs typeface="Simplified Arabic" panose="02020603050405020304" pitchFamily="18" charset="-78"/>
              </a:rPr>
              <a:t>الامر الحكومي 417</a:t>
            </a:r>
            <a:endParaRPr lang="fr-FR" sz="1400" b="1" spc="-70" dirty="0" err="1">
              <a:solidFill>
                <a:schemeClr val="bg1"/>
              </a:solidFill>
              <a:latin typeface="Simplified Arabic" panose="02020603050405020304" pitchFamily="18" charset="-78"/>
              <a:ea typeface="+mn-ea"/>
              <a:cs typeface="Simplified Arabic" panose="02020603050405020304" pitchFamily="18" charset="-78"/>
            </a:endParaRPr>
          </a:p>
        </p:txBody>
      </p:sp>
      <p:pic>
        <p:nvPicPr>
          <p:cNvPr id="4" name="Image 3"/>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130060" y="1514329"/>
            <a:ext cx="6921930" cy="4248116"/>
          </a:xfrm>
          <a:prstGeom prst="rect">
            <a:avLst/>
          </a:prstGeom>
          <a:ln>
            <a:noFill/>
          </a:ln>
          <a:effectLst>
            <a:softEdge rad="112500"/>
          </a:effectLst>
        </p:spPr>
      </p:pic>
    </p:spTree>
    <p:extLst>
      <p:ext uri="{BB962C8B-B14F-4D97-AF65-F5344CB8AC3E}">
        <p14:creationId xmlns:p14="http://schemas.microsoft.com/office/powerpoint/2010/main" xmlns="" val="17527195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p:cNvGraphicFramePr>
          <p:nvPr>
            <p:custDataLst>
              <p:tags r:id="rId2"/>
            </p:custDataLst>
            <p:extLst/>
          </p:nvPr>
        </p:nvGraphicFramePr>
        <p:xfrm>
          <a:off x="1587" y="1588"/>
          <a:ext cx="1587" cy="1587"/>
        </p:xfrm>
        <a:graphic>
          <a:graphicData uri="http://schemas.openxmlformats.org/presentationml/2006/ole">
            <p:oleObj spid="_x0000_s181266" name="think-cell Slide" r:id="rId5" imgW="360" imgH="360" progId="">
              <p:embed/>
            </p:oleObj>
          </a:graphicData>
        </a:graphic>
      </p:graphicFrame>
      <p:sp>
        <p:nvSpPr>
          <p:cNvPr id="6" name="ZoneTexte 5"/>
          <p:cNvSpPr txBox="1"/>
          <p:nvPr/>
        </p:nvSpPr>
        <p:spPr>
          <a:xfrm>
            <a:off x="-149621" y="202017"/>
            <a:ext cx="9394725" cy="584775"/>
          </a:xfrm>
          <a:prstGeom prst="rect">
            <a:avLst/>
          </a:prstGeom>
          <a:noFill/>
        </p:spPr>
        <p:txBody>
          <a:bodyPr wrap="square" rtlCol="0">
            <a:spAutoFit/>
          </a:bodyPr>
          <a:lstStyle/>
          <a:p>
            <a:pPr algn="ctr" rtl="1"/>
            <a:r>
              <a:rPr lang="ar-EG" sz="2400" b="1" dirty="0" smtClean="0">
                <a:solidFill>
                  <a:srgbClr val="C00000"/>
                </a:solidFill>
                <a:latin typeface="Sakkal Majalla" panose="02000000000000000000" pitchFamily="2" charset="-78"/>
                <a:cs typeface="Sakkal Majalla" panose="02000000000000000000" pitchFamily="2" charset="-78"/>
              </a:rPr>
              <a:t>تطور </a:t>
            </a:r>
            <a:r>
              <a:rPr lang="ar-EG" sz="2400" b="1" dirty="0">
                <a:solidFill>
                  <a:srgbClr val="C00000"/>
                </a:solidFill>
                <a:latin typeface="Sakkal Majalla" panose="02000000000000000000" pitchFamily="2" charset="-78"/>
                <a:cs typeface="Sakkal Majalla" panose="02000000000000000000" pitchFamily="2" charset="-78"/>
              </a:rPr>
              <a:t>ترتيب تونس في الـ 10 مجالات المكونة لمؤشر ممارسة أنشطة الأعمال </a:t>
            </a:r>
            <a:r>
              <a:rPr lang="fr-FR" sz="3200" b="1" dirty="0" smtClean="0">
                <a:solidFill>
                  <a:srgbClr val="C00000"/>
                </a:solidFill>
                <a:latin typeface="Sakkal Majalla" panose="02000000000000000000" pitchFamily="2" charset="-78"/>
                <a:cs typeface="Sakkal Majalla" panose="02000000000000000000" pitchFamily="2" charset="-78"/>
              </a:rPr>
              <a:t>2020</a:t>
            </a:r>
            <a:r>
              <a:rPr lang="ar-EG" sz="3200" b="1" dirty="0" smtClean="0">
                <a:solidFill>
                  <a:srgbClr val="C00000"/>
                </a:solidFill>
                <a:latin typeface="Sakkal Majalla" panose="02000000000000000000" pitchFamily="2" charset="-78"/>
                <a:cs typeface="Sakkal Majalla" panose="02000000000000000000" pitchFamily="2" charset="-78"/>
              </a:rPr>
              <a:t> </a:t>
            </a:r>
            <a:endParaRPr lang="ar-EG" sz="3200" b="1" dirty="0">
              <a:solidFill>
                <a:srgbClr val="C00000"/>
              </a:solidFill>
              <a:latin typeface="Sakkal Majalla" panose="02000000000000000000" pitchFamily="2" charset="-78"/>
              <a:cs typeface="Sakkal Majalla" panose="02000000000000000000" pitchFamily="2" charset="-78"/>
            </a:endParaRPr>
          </a:p>
        </p:txBody>
      </p:sp>
      <p:graphicFrame>
        <p:nvGraphicFramePr>
          <p:cNvPr id="3" name="Objet 2"/>
          <p:cNvGraphicFramePr>
            <a:graphicFrameLocks noChangeAspect="1"/>
          </p:cNvGraphicFramePr>
          <p:nvPr>
            <p:extLst>
              <p:ext uri="{D42A27DB-BD31-4B8C-83A1-F6EECF244321}">
                <p14:modId xmlns:p14="http://schemas.microsoft.com/office/powerpoint/2010/main" xmlns="" val="1961799874"/>
              </p:ext>
            </p:extLst>
          </p:nvPr>
        </p:nvGraphicFramePr>
        <p:xfrm>
          <a:off x="304800" y="1363508"/>
          <a:ext cx="8318500" cy="4416425"/>
        </p:xfrm>
        <a:graphic>
          <a:graphicData uri="http://schemas.openxmlformats.org/presentationml/2006/ole">
            <p:oleObj spid="_x0000_s181267" name="Feuille de calcul" r:id="rId6" imgW="4924523" imgH="3629070" progId="Excel.Sheet.12">
              <p:embed/>
            </p:oleObj>
          </a:graphicData>
        </a:graphic>
      </p:graphicFrame>
    </p:spTree>
    <p:extLst>
      <p:ext uri="{BB962C8B-B14F-4D97-AF65-F5344CB8AC3E}">
        <p14:creationId xmlns:p14="http://schemas.microsoft.com/office/powerpoint/2010/main" xmlns="" val="393385159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p:cNvGraphicFramePr>
          <p:nvPr>
            <p:custDataLst>
              <p:tags r:id="rId2"/>
            </p:custDataLst>
            <p:extLst/>
          </p:nvPr>
        </p:nvGraphicFramePr>
        <p:xfrm>
          <a:off x="1587" y="1588"/>
          <a:ext cx="1587" cy="1587"/>
        </p:xfrm>
        <a:graphic>
          <a:graphicData uri="http://schemas.openxmlformats.org/presentationml/2006/ole">
            <p:oleObj spid="_x0000_s182290" name="think-cell Slide" r:id="rId5" imgW="360" imgH="360" progId="">
              <p:embed/>
            </p:oleObj>
          </a:graphicData>
        </a:graphic>
      </p:graphicFrame>
      <p:graphicFrame>
        <p:nvGraphicFramePr>
          <p:cNvPr id="22" name="Objet 21"/>
          <p:cNvGraphicFramePr>
            <a:graphicFrameLocks noChangeAspect="1"/>
          </p:cNvGraphicFramePr>
          <p:nvPr>
            <p:extLst/>
          </p:nvPr>
        </p:nvGraphicFramePr>
        <p:xfrm>
          <a:off x="4495800" y="3454756"/>
          <a:ext cx="114300" cy="215900"/>
        </p:xfrm>
        <a:graphic>
          <a:graphicData uri="http://schemas.openxmlformats.org/presentationml/2006/ole">
            <p:oleObj spid="_x0000_s182291" name="Équation" r:id="rId6" imgW="2743200" imgH="5181600" progId="Equation.3">
              <p:embed/>
            </p:oleObj>
          </a:graphicData>
        </a:graphic>
      </p:graphicFrame>
      <p:sp>
        <p:nvSpPr>
          <p:cNvPr id="23" name="ZoneTexte 22"/>
          <p:cNvSpPr txBox="1"/>
          <p:nvPr/>
        </p:nvSpPr>
        <p:spPr>
          <a:xfrm>
            <a:off x="3797968" y="1009709"/>
            <a:ext cx="1944000" cy="461665"/>
          </a:xfrm>
          <a:prstGeom prst="rect">
            <a:avLst/>
          </a:prstGeom>
          <a:solidFill>
            <a:srgbClr val="C00000"/>
          </a:solidFill>
          <a:ln>
            <a:solidFill>
              <a:srgbClr val="C00000"/>
            </a:solidFill>
          </a:ln>
        </p:spPr>
        <p:txBody>
          <a:bodyPr wrap="square" rtlCol="0" anchor="ctr">
            <a:spAutoFit/>
          </a:bodyPr>
          <a:lstStyle/>
          <a:p>
            <a:pPr lvl="0" algn="ctr"/>
            <a:r>
              <a:rPr lang="ar-TN" sz="2400" b="1" dirty="0">
                <a:solidFill>
                  <a:schemeClr val="bg1"/>
                </a:solidFill>
                <a:latin typeface="Sakkal Majalla" pitchFamily="2" charset="-78"/>
                <a:cs typeface="Sakkal Majalla" pitchFamily="2" charset="-78"/>
              </a:rPr>
              <a:t>مجلس الوزراء</a:t>
            </a:r>
            <a:endParaRPr lang="fr-FR" sz="2400" b="1" dirty="0">
              <a:solidFill>
                <a:schemeClr val="bg1"/>
              </a:solidFill>
              <a:latin typeface="Sakkal Majalla" pitchFamily="2" charset="-78"/>
              <a:cs typeface="Sakkal Majalla" pitchFamily="2" charset="-78"/>
            </a:endParaRPr>
          </a:p>
        </p:txBody>
      </p:sp>
      <p:cxnSp>
        <p:nvCxnSpPr>
          <p:cNvPr id="24" name="Connecteur en angle 23"/>
          <p:cNvCxnSpPr/>
          <p:nvPr/>
        </p:nvCxnSpPr>
        <p:spPr>
          <a:xfrm rot="5400000" flipH="1" flipV="1">
            <a:off x="3306632" y="1323795"/>
            <a:ext cx="180000" cy="3132000"/>
          </a:xfrm>
          <a:prstGeom prst="bentConnector2">
            <a:avLst/>
          </a:prstGeom>
          <a:ln w="952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Connecteur en angle 24"/>
          <p:cNvCxnSpPr/>
          <p:nvPr/>
        </p:nvCxnSpPr>
        <p:spPr>
          <a:xfrm rot="16200000" flipV="1">
            <a:off x="6452242" y="1323796"/>
            <a:ext cx="180000" cy="3132000"/>
          </a:xfrm>
          <a:prstGeom prst="bentConnector2">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Connecteur droit 25"/>
          <p:cNvCxnSpPr/>
          <p:nvPr/>
        </p:nvCxnSpPr>
        <p:spPr>
          <a:xfrm>
            <a:off x="4788024" y="2045116"/>
            <a:ext cx="0" cy="972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1115616" y="3022706"/>
            <a:ext cx="1512168" cy="1080000"/>
          </a:xfrm>
          <a:prstGeom prst="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lvl="0" algn="r"/>
            <a:endParaRPr lang="ar-EG" sz="1600" b="1" dirty="0" smtClean="0">
              <a:solidFill>
                <a:schemeClr val="tx1"/>
              </a:solidFill>
              <a:latin typeface="Sakkal Majalla" pitchFamily="2" charset="-78"/>
              <a:cs typeface="Sakkal Majalla" pitchFamily="2" charset="-78"/>
            </a:endParaRPr>
          </a:p>
          <a:p>
            <a:pPr lvl="0" algn="r"/>
            <a:r>
              <a:rPr lang="fr-FR" sz="1600" b="1" dirty="0" smtClean="0">
                <a:solidFill>
                  <a:schemeClr val="tx1"/>
                </a:solidFill>
                <a:latin typeface="Sakkal Majalla" pitchFamily="2" charset="-78"/>
                <a:cs typeface="Sakkal Majalla" pitchFamily="2" charset="-78"/>
              </a:rPr>
              <a:t> </a:t>
            </a:r>
            <a:r>
              <a:rPr lang="ar-TN" sz="1600" b="1" dirty="0">
                <a:solidFill>
                  <a:schemeClr val="tx1"/>
                </a:solidFill>
                <a:latin typeface="Sakkal Majalla" pitchFamily="2" charset="-78"/>
                <a:cs typeface="Sakkal Majalla" pitchFamily="2" charset="-78"/>
              </a:rPr>
              <a:t>- </a:t>
            </a:r>
            <a:r>
              <a:rPr lang="ar-TN" sz="1600" b="1" dirty="0" smtClean="0">
                <a:solidFill>
                  <a:schemeClr val="tx1"/>
                </a:solidFill>
                <a:latin typeface="Sakkal Majalla" pitchFamily="2" charset="-78"/>
                <a:cs typeface="Sakkal Majalla" pitchFamily="2" charset="-78"/>
              </a:rPr>
              <a:t>رخص البناء</a:t>
            </a:r>
            <a:endParaRPr lang="ar-EG" sz="1600" b="1" dirty="0" smtClean="0">
              <a:solidFill>
                <a:schemeClr val="tx1"/>
              </a:solidFill>
              <a:latin typeface="Sakkal Majalla" pitchFamily="2" charset="-78"/>
              <a:cs typeface="Sakkal Majalla" pitchFamily="2" charset="-78"/>
            </a:endParaRPr>
          </a:p>
          <a:p>
            <a:pPr lvl="0" algn="r"/>
            <a:r>
              <a:rPr lang="ar-TN" sz="1600" b="1" dirty="0">
                <a:solidFill>
                  <a:schemeClr val="tx1"/>
                </a:solidFill>
                <a:latin typeface="Sakkal Majalla" pitchFamily="2" charset="-78"/>
                <a:cs typeface="Sakkal Majalla" pitchFamily="2" charset="-78"/>
              </a:rPr>
              <a:t>- </a:t>
            </a:r>
            <a:r>
              <a:rPr lang="ar-TN" sz="1600" b="1" dirty="0" smtClean="0">
                <a:solidFill>
                  <a:schemeClr val="tx1"/>
                </a:solidFill>
                <a:latin typeface="Sakkal Majalla" pitchFamily="2" charset="-78"/>
                <a:cs typeface="Sakkal Majalla" pitchFamily="2" charset="-78"/>
              </a:rPr>
              <a:t>الربط </a:t>
            </a:r>
            <a:r>
              <a:rPr lang="ar-TN" sz="1600" b="1" dirty="0">
                <a:solidFill>
                  <a:schemeClr val="tx1"/>
                </a:solidFill>
                <a:latin typeface="Sakkal Majalla" pitchFamily="2" charset="-78"/>
                <a:cs typeface="Sakkal Majalla" pitchFamily="2" charset="-78"/>
              </a:rPr>
              <a:t>بشبكة الكهرباء</a:t>
            </a:r>
            <a:endParaRPr lang="fr-FR" sz="1600" b="1" dirty="0">
              <a:solidFill>
                <a:schemeClr val="tx1"/>
              </a:solidFill>
              <a:latin typeface="Sakkal Majalla" pitchFamily="2" charset="-78"/>
              <a:cs typeface="Sakkal Majalla" pitchFamily="2" charset="-78"/>
            </a:endParaRPr>
          </a:p>
          <a:p>
            <a:pPr marL="266700" indent="-214313" defTabSz="955675">
              <a:lnSpc>
                <a:spcPct val="120000"/>
              </a:lnSpc>
              <a:spcBef>
                <a:spcPts val="0"/>
              </a:spcBef>
              <a:spcAft>
                <a:spcPts val="300"/>
              </a:spcAft>
              <a:buClr>
                <a:srgbClr val="003366"/>
              </a:buClr>
              <a:buSzPct val="110000"/>
              <a:buFont typeface="Wingdings" pitchFamily="2" charset="2"/>
              <a:buChar char="Ü"/>
              <a:tabLst>
                <a:tab pos="266700" algn="l"/>
                <a:tab pos="3786188" algn="r"/>
                <a:tab pos="4286250" algn="l"/>
                <a:tab pos="5675313" algn="l"/>
              </a:tabLst>
            </a:pPr>
            <a:endParaRPr lang="fr-FR" altLang="fr-FR" sz="1000" b="1" dirty="0" smtClean="0">
              <a:solidFill>
                <a:schemeClr val="tx1"/>
              </a:solidFill>
              <a:cs typeface="Times New Roman" pitchFamily="18" charset="0"/>
            </a:endParaRPr>
          </a:p>
          <a:p>
            <a:pPr marL="266700" indent="-214313" defTabSz="955675">
              <a:lnSpc>
                <a:spcPct val="120000"/>
              </a:lnSpc>
              <a:spcBef>
                <a:spcPts val="0"/>
              </a:spcBef>
              <a:spcAft>
                <a:spcPts val="300"/>
              </a:spcAft>
              <a:buClr>
                <a:srgbClr val="003366"/>
              </a:buClr>
              <a:buSzPct val="110000"/>
              <a:tabLst>
                <a:tab pos="266700" algn="l"/>
                <a:tab pos="3786188" algn="r"/>
                <a:tab pos="4286250" algn="l"/>
                <a:tab pos="5675313" algn="l"/>
              </a:tabLst>
            </a:pPr>
            <a:endParaRPr lang="fr-FR" altLang="fr-FR" sz="1000" b="1" dirty="0" smtClean="0">
              <a:solidFill>
                <a:schemeClr val="tx1"/>
              </a:solidFill>
              <a:cs typeface="Times New Roman" pitchFamily="18" charset="0"/>
            </a:endParaRPr>
          </a:p>
        </p:txBody>
      </p:sp>
      <p:sp>
        <p:nvSpPr>
          <p:cNvPr id="28" name="Rectangle 27"/>
          <p:cNvSpPr/>
          <p:nvPr/>
        </p:nvSpPr>
        <p:spPr>
          <a:xfrm>
            <a:off x="107504" y="3302733"/>
            <a:ext cx="936000" cy="432000"/>
          </a:xfrm>
          <a:prstGeom prst="rect">
            <a:avLst/>
          </a:prstGeom>
          <a:solidFill>
            <a:srgbClr val="C000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EG" sz="1200" b="1" dirty="0">
                <a:solidFill>
                  <a:schemeClr val="bg1"/>
                </a:solidFill>
              </a:rPr>
              <a:t>المؤشرات</a:t>
            </a:r>
            <a:endParaRPr lang="fr-FR" sz="1200" b="1" dirty="0">
              <a:solidFill>
                <a:schemeClr val="bg1"/>
              </a:solidFill>
            </a:endParaRPr>
          </a:p>
        </p:txBody>
      </p:sp>
      <p:sp>
        <p:nvSpPr>
          <p:cNvPr id="29" name="ZoneTexte 28"/>
          <p:cNvSpPr txBox="1"/>
          <p:nvPr/>
        </p:nvSpPr>
        <p:spPr>
          <a:xfrm>
            <a:off x="2771800" y="2201665"/>
            <a:ext cx="3960440" cy="461665"/>
          </a:xfrm>
          <a:prstGeom prst="rect">
            <a:avLst/>
          </a:prstGeom>
          <a:solidFill>
            <a:schemeClr val="tx2">
              <a:lumMod val="20000"/>
              <a:lumOff val="80000"/>
            </a:schemeClr>
          </a:solidFill>
          <a:ln>
            <a:solidFill>
              <a:schemeClr val="tx2">
                <a:lumMod val="20000"/>
                <a:lumOff val="80000"/>
              </a:schemeClr>
            </a:solidFill>
          </a:ln>
        </p:spPr>
        <p:txBody>
          <a:bodyPr wrap="square" rtlCol="0" anchor="ctr">
            <a:spAutoFit/>
          </a:bodyPr>
          <a:lstStyle/>
          <a:p>
            <a:pPr lvl="0"/>
            <a:r>
              <a:rPr lang="ar-TN" sz="2400" dirty="0">
                <a:latin typeface="Sakkal Majalla" pitchFamily="2" charset="-78"/>
                <a:cs typeface="Sakkal Majalla" pitchFamily="2" charset="-78"/>
              </a:rPr>
              <a:t>اللجنة القارة لمتابعة التقارير الدولية</a:t>
            </a:r>
            <a:endParaRPr lang="fr-FR" sz="2400" dirty="0">
              <a:latin typeface="Sakkal Majalla" pitchFamily="2" charset="-78"/>
              <a:cs typeface="Sakkal Majalla" pitchFamily="2" charset="-78"/>
            </a:endParaRPr>
          </a:p>
        </p:txBody>
      </p:sp>
      <p:sp>
        <p:nvSpPr>
          <p:cNvPr id="30" name="Rectangle 29"/>
          <p:cNvSpPr/>
          <p:nvPr/>
        </p:nvSpPr>
        <p:spPr>
          <a:xfrm>
            <a:off x="4265078" y="3022706"/>
            <a:ext cx="1440000" cy="1080000"/>
          </a:xfrm>
          <a:prstGeom prst="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r"/>
            <a:r>
              <a:rPr lang="ar-TN" sz="1600" b="1" dirty="0" smtClean="0">
                <a:solidFill>
                  <a:schemeClr val="tx1"/>
                </a:solidFill>
                <a:latin typeface="Sakkal Majalla" pitchFamily="2" charset="-78"/>
                <a:cs typeface="Sakkal Majalla" pitchFamily="2" charset="-78"/>
              </a:rPr>
              <a:t> </a:t>
            </a:r>
            <a:r>
              <a:rPr lang="ar-TN" sz="1600" b="1" dirty="0">
                <a:solidFill>
                  <a:schemeClr val="tx1"/>
                </a:solidFill>
                <a:latin typeface="Sakkal Majalla" pitchFamily="2" charset="-78"/>
                <a:cs typeface="Sakkal Majalla" pitchFamily="2" charset="-78"/>
              </a:rPr>
              <a:t>- </a:t>
            </a:r>
            <a:r>
              <a:rPr lang="ar-TN" sz="1600" b="1" dirty="0" smtClean="0">
                <a:solidFill>
                  <a:schemeClr val="tx1"/>
                </a:solidFill>
                <a:latin typeface="Sakkal Majalla" pitchFamily="2" charset="-78"/>
                <a:cs typeface="Sakkal Majalla" pitchFamily="2" charset="-78"/>
              </a:rPr>
              <a:t>تسوية </a:t>
            </a:r>
            <a:r>
              <a:rPr lang="ar-TN" sz="1600" b="1" dirty="0">
                <a:solidFill>
                  <a:schemeClr val="tx1"/>
                </a:solidFill>
                <a:latin typeface="Sakkal Majalla" pitchFamily="2" charset="-78"/>
                <a:cs typeface="Sakkal Majalla" pitchFamily="2" charset="-78"/>
              </a:rPr>
              <a:t>حلات </a:t>
            </a:r>
            <a:r>
              <a:rPr lang="ar-TN" sz="1600" b="1" dirty="0" smtClean="0">
                <a:solidFill>
                  <a:schemeClr val="tx1"/>
                </a:solidFill>
                <a:latin typeface="Sakkal Majalla" pitchFamily="2" charset="-78"/>
                <a:cs typeface="Sakkal Majalla" pitchFamily="2" charset="-78"/>
              </a:rPr>
              <a:t>الافلاس </a:t>
            </a:r>
            <a:r>
              <a:rPr lang="ar-TN" sz="1600" b="1" dirty="0">
                <a:solidFill>
                  <a:schemeClr val="tx1"/>
                </a:solidFill>
                <a:latin typeface="Sakkal Majalla" pitchFamily="2" charset="-78"/>
                <a:cs typeface="Sakkal Majalla" pitchFamily="2" charset="-78"/>
              </a:rPr>
              <a:t>- </a:t>
            </a:r>
            <a:r>
              <a:rPr lang="ar-TN" sz="1600" b="1" dirty="0" smtClean="0">
                <a:solidFill>
                  <a:schemeClr val="tx1"/>
                </a:solidFill>
                <a:latin typeface="Sakkal Majalla" pitchFamily="2" charset="-78"/>
                <a:cs typeface="Sakkal Majalla" pitchFamily="2" charset="-78"/>
              </a:rPr>
              <a:t>تنفيذ العقود</a:t>
            </a:r>
            <a:endParaRPr lang="ar-EG" sz="1600" b="1" dirty="0" smtClean="0">
              <a:solidFill>
                <a:schemeClr val="tx1"/>
              </a:solidFill>
              <a:latin typeface="Sakkal Majalla" pitchFamily="2" charset="-78"/>
              <a:cs typeface="Sakkal Majalla" pitchFamily="2" charset="-78"/>
            </a:endParaRPr>
          </a:p>
          <a:p>
            <a:pPr algn="r"/>
            <a:r>
              <a:rPr lang="ar-TN" sz="1600" b="1" dirty="0" smtClean="0">
                <a:solidFill>
                  <a:schemeClr val="tx1"/>
                </a:solidFill>
                <a:latin typeface="Sakkal Majalla" pitchFamily="2" charset="-78"/>
                <a:cs typeface="Sakkal Majalla" pitchFamily="2" charset="-78"/>
              </a:rPr>
              <a:t> </a:t>
            </a:r>
            <a:r>
              <a:rPr lang="ar-TN" sz="1600" b="1" dirty="0">
                <a:solidFill>
                  <a:schemeClr val="tx1"/>
                </a:solidFill>
                <a:latin typeface="Sakkal Majalla" pitchFamily="2" charset="-78"/>
                <a:cs typeface="Sakkal Majalla" pitchFamily="2" charset="-78"/>
              </a:rPr>
              <a:t>- </a:t>
            </a:r>
            <a:r>
              <a:rPr lang="ar-TN" sz="1600" b="1" dirty="0" smtClean="0">
                <a:solidFill>
                  <a:schemeClr val="tx1"/>
                </a:solidFill>
                <a:latin typeface="Sakkal Majalla" pitchFamily="2" charset="-78"/>
                <a:cs typeface="Sakkal Majalla" pitchFamily="2" charset="-78"/>
              </a:rPr>
              <a:t>حماية </a:t>
            </a:r>
            <a:r>
              <a:rPr lang="ar-TN" sz="1600" b="1" dirty="0">
                <a:solidFill>
                  <a:schemeClr val="tx1"/>
                </a:solidFill>
                <a:latin typeface="Sakkal Majalla" pitchFamily="2" charset="-78"/>
                <a:cs typeface="Sakkal Majalla" pitchFamily="2" charset="-78"/>
              </a:rPr>
              <a:t>المستثمرين</a:t>
            </a:r>
            <a:r>
              <a:rPr lang="ar-TN" sz="1600" b="1" dirty="0" smtClean="0">
                <a:solidFill>
                  <a:schemeClr val="tx1"/>
                </a:solidFill>
                <a:latin typeface="Sakkal Majalla" pitchFamily="2" charset="-78"/>
                <a:cs typeface="Sakkal Majalla" pitchFamily="2" charset="-78"/>
              </a:rPr>
              <a:t>،</a:t>
            </a:r>
            <a:endParaRPr lang="ar-EG" sz="1600" b="1" dirty="0" smtClean="0">
              <a:solidFill>
                <a:schemeClr val="tx1"/>
              </a:solidFill>
              <a:latin typeface="Sakkal Majalla" pitchFamily="2" charset="-78"/>
              <a:cs typeface="Sakkal Majalla" pitchFamily="2" charset="-78"/>
            </a:endParaRPr>
          </a:p>
          <a:p>
            <a:pPr algn="r"/>
            <a:r>
              <a:rPr lang="ar-TN" sz="1600" b="1" dirty="0" smtClean="0">
                <a:solidFill>
                  <a:schemeClr val="tx1"/>
                </a:solidFill>
                <a:latin typeface="Sakkal Majalla" pitchFamily="2" charset="-78"/>
                <a:cs typeface="Sakkal Majalla" pitchFamily="2" charset="-78"/>
              </a:rPr>
              <a:t>- تسجيل الملكية </a:t>
            </a:r>
            <a:endParaRPr lang="fr-FR" sz="1600" b="1" dirty="0" smtClean="0">
              <a:solidFill>
                <a:schemeClr val="tx1"/>
              </a:solidFill>
            </a:endParaRPr>
          </a:p>
          <a:p>
            <a:pPr lvl="0" rtl="1"/>
            <a:endParaRPr lang="fr-FR" sz="1000" b="1" dirty="0">
              <a:solidFill>
                <a:schemeClr val="tx1"/>
              </a:solidFill>
              <a:latin typeface="Sakkal Majalla" pitchFamily="2" charset="-78"/>
              <a:cs typeface="Sakkal Majalla" pitchFamily="2" charset="-78"/>
            </a:endParaRPr>
          </a:p>
          <a:p>
            <a:pPr marL="266700" indent="-214313" defTabSz="955675">
              <a:lnSpc>
                <a:spcPct val="120000"/>
              </a:lnSpc>
              <a:spcBef>
                <a:spcPts val="0"/>
              </a:spcBef>
              <a:spcAft>
                <a:spcPts val="300"/>
              </a:spcAft>
              <a:buClr>
                <a:srgbClr val="003366"/>
              </a:buClr>
              <a:buSzPct val="110000"/>
              <a:buFont typeface="Wingdings" pitchFamily="2" charset="2"/>
              <a:buChar char="Ü"/>
              <a:tabLst>
                <a:tab pos="266700" algn="l"/>
                <a:tab pos="3786188" algn="r"/>
                <a:tab pos="4286250" algn="l"/>
                <a:tab pos="5675313" algn="l"/>
              </a:tabLst>
            </a:pPr>
            <a:endParaRPr lang="fr-FR" altLang="fr-FR" sz="1000" b="1" dirty="0" smtClean="0">
              <a:solidFill>
                <a:schemeClr val="tx1"/>
              </a:solidFill>
              <a:cs typeface="Times New Roman" pitchFamily="18" charset="0"/>
            </a:endParaRPr>
          </a:p>
          <a:p>
            <a:pPr marL="266700" indent="-214313" defTabSz="955675">
              <a:lnSpc>
                <a:spcPct val="120000"/>
              </a:lnSpc>
              <a:spcBef>
                <a:spcPts val="0"/>
              </a:spcBef>
              <a:spcAft>
                <a:spcPts val="300"/>
              </a:spcAft>
              <a:buClr>
                <a:srgbClr val="003366"/>
              </a:buClr>
              <a:buSzPct val="110000"/>
              <a:tabLst>
                <a:tab pos="266700" algn="l"/>
                <a:tab pos="3786188" algn="r"/>
                <a:tab pos="4286250" algn="l"/>
                <a:tab pos="5675313" algn="l"/>
              </a:tabLst>
            </a:pPr>
            <a:endParaRPr lang="fr-FR" altLang="fr-FR" sz="1000" b="1" dirty="0" smtClean="0">
              <a:solidFill>
                <a:schemeClr val="tx1"/>
              </a:solidFill>
              <a:cs typeface="Times New Roman" pitchFamily="18" charset="0"/>
            </a:endParaRPr>
          </a:p>
        </p:txBody>
      </p:sp>
      <p:sp>
        <p:nvSpPr>
          <p:cNvPr id="31" name="Rectangle 30"/>
          <p:cNvSpPr/>
          <p:nvPr/>
        </p:nvSpPr>
        <p:spPr>
          <a:xfrm>
            <a:off x="2699792" y="3022706"/>
            <a:ext cx="1440000" cy="1080000"/>
          </a:xfrm>
          <a:prstGeom prst="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lvl="0" algn="r"/>
            <a:endParaRPr lang="ar-EG" sz="1400" b="1" kern="0" dirty="0" smtClean="0">
              <a:solidFill>
                <a:sysClr val="windowText" lastClr="000000"/>
              </a:solidFill>
              <a:latin typeface="Sakkal Majalla" pitchFamily="2" charset="-78"/>
              <a:cs typeface="Sakkal Majalla" pitchFamily="2" charset="-78"/>
            </a:endParaRPr>
          </a:p>
          <a:p>
            <a:pPr lvl="0" algn="r"/>
            <a:r>
              <a:rPr lang="ar-TN" sz="1600" b="1" dirty="0">
                <a:solidFill>
                  <a:schemeClr val="tx1"/>
                </a:solidFill>
                <a:latin typeface="Sakkal Majalla" pitchFamily="2" charset="-78"/>
                <a:cs typeface="Sakkal Majalla" pitchFamily="2" charset="-78"/>
              </a:rPr>
              <a:t>- </a:t>
            </a:r>
            <a:r>
              <a:rPr lang="ar-TN" sz="1600" b="1" kern="0" dirty="0" smtClean="0">
                <a:solidFill>
                  <a:sysClr val="windowText" lastClr="000000"/>
                </a:solidFill>
                <a:latin typeface="Sakkal Majalla" pitchFamily="2" charset="-78"/>
                <a:cs typeface="Sakkal Majalla" pitchFamily="2" charset="-78"/>
              </a:rPr>
              <a:t>التجارة الحدودية</a:t>
            </a:r>
            <a:endParaRPr lang="fr-FR" sz="1600" b="1" kern="0" dirty="0" smtClean="0">
              <a:solidFill>
                <a:sysClr val="windowText" lastClr="000000"/>
              </a:solidFill>
              <a:latin typeface="Sakkal Majalla" pitchFamily="2" charset="-78"/>
              <a:cs typeface="Sakkal Majalla" pitchFamily="2" charset="-78"/>
            </a:endParaRPr>
          </a:p>
          <a:p>
            <a:pPr marL="266700" indent="-214313" defTabSz="955675">
              <a:lnSpc>
                <a:spcPct val="120000"/>
              </a:lnSpc>
              <a:spcBef>
                <a:spcPts val="0"/>
              </a:spcBef>
              <a:spcAft>
                <a:spcPts val="300"/>
              </a:spcAft>
              <a:buClr>
                <a:srgbClr val="003366"/>
              </a:buClr>
              <a:buSzPct val="110000"/>
              <a:tabLst>
                <a:tab pos="266700" algn="l"/>
                <a:tab pos="3786188" algn="r"/>
                <a:tab pos="4286250" algn="l"/>
                <a:tab pos="5675313" algn="l"/>
              </a:tabLst>
            </a:pPr>
            <a:endParaRPr lang="fr-FR" altLang="fr-FR" sz="1000" b="1" dirty="0" smtClean="0">
              <a:solidFill>
                <a:schemeClr val="tx1"/>
              </a:solidFill>
              <a:cs typeface="Times New Roman" pitchFamily="18" charset="0"/>
            </a:endParaRPr>
          </a:p>
        </p:txBody>
      </p:sp>
      <p:sp>
        <p:nvSpPr>
          <p:cNvPr id="32" name="Rectangle 31"/>
          <p:cNvSpPr/>
          <p:nvPr/>
        </p:nvSpPr>
        <p:spPr>
          <a:xfrm>
            <a:off x="5796296" y="3022706"/>
            <a:ext cx="1440000" cy="1080000"/>
          </a:xfrm>
          <a:prstGeom prst="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lvl="0" algn="r"/>
            <a:endParaRPr lang="ar-EG" sz="1600" b="1" dirty="0" smtClean="0">
              <a:solidFill>
                <a:schemeClr val="tx1"/>
              </a:solidFill>
              <a:latin typeface="Sakkal Majalla" pitchFamily="2" charset="-78"/>
              <a:cs typeface="Sakkal Majalla" pitchFamily="2" charset="-78"/>
            </a:endParaRPr>
          </a:p>
          <a:p>
            <a:pPr lvl="0" algn="r"/>
            <a:endParaRPr lang="ar-EG" sz="1600" b="1" dirty="0" smtClean="0">
              <a:solidFill>
                <a:schemeClr val="tx1"/>
              </a:solidFill>
              <a:latin typeface="Sakkal Majalla" pitchFamily="2" charset="-78"/>
              <a:cs typeface="Sakkal Majalla" pitchFamily="2" charset="-78"/>
            </a:endParaRPr>
          </a:p>
          <a:p>
            <a:pPr lvl="0" algn="r"/>
            <a:endParaRPr lang="ar-EG" sz="1600" b="1" dirty="0" smtClean="0">
              <a:solidFill>
                <a:schemeClr val="tx1"/>
              </a:solidFill>
              <a:latin typeface="Sakkal Majalla" pitchFamily="2" charset="-78"/>
              <a:cs typeface="Sakkal Majalla" pitchFamily="2" charset="-78"/>
            </a:endParaRPr>
          </a:p>
          <a:p>
            <a:pPr lvl="0" algn="r"/>
            <a:r>
              <a:rPr lang="ar-TN" sz="1600" b="1" dirty="0" smtClean="0">
                <a:solidFill>
                  <a:schemeClr val="tx1"/>
                </a:solidFill>
                <a:latin typeface="Sakkal Majalla" pitchFamily="2" charset="-78"/>
                <a:cs typeface="Sakkal Majalla" pitchFamily="2" charset="-78"/>
              </a:rPr>
              <a:t>- دفع الضرائب</a:t>
            </a:r>
            <a:endParaRPr lang="ar-EG" sz="1600" b="1" dirty="0" smtClean="0">
              <a:solidFill>
                <a:schemeClr val="tx1"/>
              </a:solidFill>
              <a:latin typeface="Sakkal Majalla" pitchFamily="2" charset="-78"/>
              <a:cs typeface="Sakkal Majalla" pitchFamily="2" charset="-78"/>
            </a:endParaRPr>
          </a:p>
          <a:p>
            <a:pPr lvl="0" algn="r"/>
            <a:endParaRPr lang="ar-EG" sz="1600" b="1" dirty="0" smtClean="0">
              <a:solidFill>
                <a:schemeClr val="tx1"/>
              </a:solidFill>
              <a:latin typeface="Sakkal Majalla" pitchFamily="2" charset="-78"/>
              <a:cs typeface="Sakkal Majalla" pitchFamily="2" charset="-78"/>
            </a:endParaRPr>
          </a:p>
          <a:p>
            <a:pPr lvl="0" algn="r"/>
            <a:endParaRPr lang="fr-FR" sz="1600" b="1" dirty="0">
              <a:solidFill>
                <a:schemeClr val="tx1"/>
              </a:solidFill>
              <a:latin typeface="Sakkal Majalla" pitchFamily="2" charset="-78"/>
              <a:cs typeface="Sakkal Majalla" pitchFamily="2" charset="-78"/>
            </a:endParaRPr>
          </a:p>
          <a:p>
            <a:pPr marL="266700" indent="-214313" algn="r" defTabSz="955675">
              <a:lnSpc>
                <a:spcPct val="120000"/>
              </a:lnSpc>
              <a:spcBef>
                <a:spcPts val="0"/>
              </a:spcBef>
              <a:spcAft>
                <a:spcPts val="300"/>
              </a:spcAft>
              <a:buClr>
                <a:srgbClr val="003366"/>
              </a:buClr>
              <a:buSzPct val="110000"/>
              <a:buFont typeface="Wingdings" pitchFamily="2" charset="2"/>
              <a:buChar char="Ü"/>
              <a:tabLst>
                <a:tab pos="266700" algn="l"/>
                <a:tab pos="3786188" algn="r"/>
                <a:tab pos="4286250" algn="l"/>
                <a:tab pos="5675313" algn="l"/>
              </a:tabLst>
            </a:pPr>
            <a:endParaRPr lang="fr-FR" altLang="fr-FR" sz="1000" b="1" dirty="0" smtClean="0">
              <a:solidFill>
                <a:schemeClr val="tx1"/>
              </a:solidFill>
              <a:cs typeface="Times New Roman" pitchFamily="18" charset="0"/>
            </a:endParaRPr>
          </a:p>
          <a:p>
            <a:pPr marL="266700" indent="-214313" algn="r" defTabSz="955675">
              <a:lnSpc>
                <a:spcPct val="120000"/>
              </a:lnSpc>
              <a:spcBef>
                <a:spcPts val="0"/>
              </a:spcBef>
              <a:spcAft>
                <a:spcPts val="300"/>
              </a:spcAft>
              <a:buClr>
                <a:srgbClr val="003366"/>
              </a:buClr>
              <a:buSzPct val="110000"/>
              <a:tabLst>
                <a:tab pos="266700" algn="l"/>
                <a:tab pos="3786188" algn="r"/>
                <a:tab pos="4286250" algn="l"/>
                <a:tab pos="5675313" algn="l"/>
              </a:tabLst>
            </a:pPr>
            <a:endParaRPr lang="fr-FR" altLang="fr-FR" sz="1000" b="1" dirty="0" smtClean="0">
              <a:solidFill>
                <a:schemeClr val="tx1"/>
              </a:solidFill>
              <a:cs typeface="Times New Roman" pitchFamily="18" charset="0"/>
            </a:endParaRPr>
          </a:p>
        </p:txBody>
      </p:sp>
      <p:sp>
        <p:nvSpPr>
          <p:cNvPr id="33" name="Rectangle 32"/>
          <p:cNvSpPr/>
          <p:nvPr/>
        </p:nvSpPr>
        <p:spPr>
          <a:xfrm>
            <a:off x="7389675" y="3022706"/>
            <a:ext cx="1440000" cy="1080000"/>
          </a:xfrm>
          <a:prstGeom prst="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lvl="0" algn="r"/>
            <a:endParaRPr lang="ar-EG" sz="1600" b="1" dirty="0" smtClean="0">
              <a:solidFill>
                <a:schemeClr val="tx1"/>
              </a:solidFill>
              <a:latin typeface="Sakkal Majalla" pitchFamily="2" charset="-78"/>
              <a:cs typeface="Sakkal Majalla" pitchFamily="2" charset="-78"/>
            </a:endParaRPr>
          </a:p>
          <a:p>
            <a:pPr lvl="0" algn="r"/>
            <a:r>
              <a:rPr lang="ar-TN" sz="1600" b="1" dirty="0" smtClean="0">
                <a:solidFill>
                  <a:schemeClr val="tx1"/>
                </a:solidFill>
                <a:latin typeface="Sakkal Majalla" pitchFamily="2" charset="-78"/>
                <a:cs typeface="Sakkal Majalla" pitchFamily="2" charset="-78"/>
              </a:rPr>
              <a:t>- إحداث المشروع</a:t>
            </a:r>
            <a:endParaRPr lang="ar-EG" sz="1600" b="1" dirty="0" smtClean="0">
              <a:solidFill>
                <a:schemeClr val="tx1"/>
              </a:solidFill>
              <a:latin typeface="Sakkal Majalla" pitchFamily="2" charset="-78"/>
              <a:cs typeface="Sakkal Majalla" pitchFamily="2" charset="-78"/>
            </a:endParaRPr>
          </a:p>
          <a:p>
            <a:pPr lvl="0" algn="r"/>
            <a:r>
              <a:rPr lang="ar-TN" sz="1600" b="1" dirty="0" smtClean="0">
                <a:solidFill>
                  <a:schemeClr val="tx1"/>
                </a:solidFill>
                <a:latin typeface="Sakkal Majalla" pitchFamily="2" charset="-78"/>
                <a:cs typeface="Sakkal Majalla" pitchFamily="2" charset="-78"/>
              </a:rPr>
              <a:t> </a:t>
            </a:r>
            <a:r>
              <a:rPr lang="ar-TN" sz="1600" b="1" dirty="0">
                <a:solidFill>
                  <a:schemeClr val="tx1"/>
                </a:solidFill>
                <a:latin typeface="Sakkal Majalla" pitchFamily="2" charset="-78"/>
                <a:cs typeface="Sakkal Majalla" pitchFamily="2" charset="-78"/>
              </a:rPr>
              <a:t>- </a:t>
            </a:r>
            <a:r>
              <a:rPr lang="ar-TN" sz="1600" b="1" dirty="0" smtClean="0">
                <a:solidFill>
                  <a:schemeClr val="tx1"/>
                </a:solidFill>
                <a:latin typeface="Sakkal Majalla" pitchFamily="2" charset="-78"/>
                <a:cs typeface="Sakkal Majalla" pitchFamily="2" charset="-78"/>
              </a:rPr>
              <a:t>الحصول </a:t>
            </a:r>
            <a:r>
              <a:rPr lang="ar-TN" sz="1600" b="1" dirty="0">
                <a:solidFill>
                  <a:schemeClr val="tx1"/>
                </a:solidFill>
                <a:latin typeface="Sakkal Majalla" pitchFamily="2" charset="-78"/>
                <a:cs typeface="Sakkal Majalla" pitchFamily="2" charset="-78"/>
              </a:rPr>
              <a:t>على القروض</a:t>
            </a:r>
            <a:endParaRPr lang="fr-FR" sz="1600" b="1" dirty="0">
              <a:solidFill>
                <a:schemeClr val="tx1"/>
              </a:solidFill>
              <a:latin typeface="Sakkal Majalla" pitchFamily="2" charset="-78"/>
              <a:cs typeface="Sakkal Majalla" pitchFamily="2" charset="-78"/>
            </a:endParaRPr>
          </a:p>
          <a:p>
            <a:pPr lvl="0" rtl="1"/>
            <a:endParaRPr lang="fr-FR" sz="1000" b="1" dirty="0">
              <a:solidFill>
                <a:schemeClr val="tx1"/>
              </a:solidFill>
              <a:latin typeface="Sakkal Majalla" pitchFamily="2" charset="-78"/>
              <a:cs typeface="Sakkal Majalla" pitchFamily="2" charset="-78"/>
            </a:endParaRPr>
          </a:p>
          <a:p>
            <a:pPr marL="266700" indent="-214313" defTabSz="955675">
              <a:lnSpc>
                <a:spcPct val="120000"/>
              </a:lnSpc>
              <a:spcBef>
                <a:spcPts val="0"/>
              </a:spcBef>
              <a:spcAft>
                <a:spcPts val="300"/>
              </a:spcAft>
              <a:buClr>
                <a:srgbClr val="003366"/>
              </a:buClr>
              <a:buSzPct val="110000"/>
              <a:buFont typeface="Wingdings" pitchFamily="2" charset="2"/>
              <a:buChar char="Ü"/>
              <a:tabLst>
                <a:tab pos="266700" algn="l"/>
                <a:tab pos="3786188" algn="r"/>
                <a:tab pos="4286250" algn="l"/>
                <a:tab pos="5675313" algn="l"/>
              </a:tabLst>
            </a:pPr>
            <a:endParaRPr lang="fr-FR" altLang="fr-FR" sz="1000" b="1" dirty="0" smtClean="0">
              <a:solidFill>
                <a:schemeClr val="tx1"/>
              </a:solidFill>
              <a:cs typeface="Times New Roman" pitchFamily="18" charset="0"/>
            </a:endParaRPr>
          </a:p>
          <a:p>
            <a:pPr marL="266700" indent="-214313" defTabSz="955675">
              <a:lnSpc>
                <a:spcPct val="120000"/>
              </a:lnSpc>
              <a:spcBef>
                <a:spcPts val="0"/>
              </a:spcBef>
              <a:spcAft>
                <a:spcPts val="300"/>
              </a:spcAft>
              <a:buClr>
                <a:srgbClr val="003366"/>
              </a:buClr>
              <a:buSzPct val="110000"/>
              <a:tabLst>
                <a:tab pos="266700" algn="l"/>
                <a:tab pos="3786188" algn="r"/>
                <a:tab pos="4286250" algn="l"/>
                <a:tab pos="5675313" algn="l"/>
              </a:tabLst>
            </a:pPr>
            <a:endParaRPr lang="fr-FR" altLang="fr-FR" sz="1000" b="1" dirty="0" smtClean="0">
              <a:solidFill>
                <a:schemeClr val="tx1"/>
              </a:solidFill>
              <a:cs typeface="Times New Roman" pitchFamily="18" charset="0"/>
            </a:endParaRPr>
          </a:p>
        </p:txBody>
      </p:sp>
      <p:sp>
        <p:nvSpPr>
          <p:cNvPr id="34" name="Rectangle 33"/>
          <p:cNvSpPr/>
          <p:nvPr/>
        </p:nvSpPr>
        <p:spPr>
          <a:xfrm>
            <a:off x="4265078" y="4246590"/>
            <a:ext cx="1440000" cy="1980000"/>
          </a:xfrm>
          <a:prstGeom prst="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r" rtl="1">
              <a:spcBef>
                <a:spcPts val="200"/>
              </a:spcBef>
              <a:spcAft>
                <a:spcPts val="200"/>
              </a:spcAft>
            </a:pPr>
            <a:r>
              <a:rPr lang="ar-TN" sz="1600" b="1" dirty="0" smtClean="0">
                <a:solidFill>
                  <a:schemeClr val="tx1"/>
                </a:solidFill>
                <a:latin typeface="Sakkal Majalla" pitchFamily="2" charset="-78"/>
                <a:cs typeface="Sakkal Majalla" pitchFamily="2" charset="-78"/>
              </a:rPr>
              <a:t> </a:t>
            </a:r>
            <a:r>
              <a:rPr lang="ar-TN" sz="1600" b="1" dirty="0">
                <a:solidFill>
                  <a:schemeClr val="tx1"/>
                </a:solidFill>
                <a:latin typeface="Sakkal Majalla" pitchFamily="2" charset="-78"/>
                <a:cs typeface="Sakkal Majalla" pitchFamily="2" charset="-78"/>
              </a:rPr>
              <a:t>- رئاسة الحكومة</a:t>
            </a:r>
          </a:p>
          <a:p>
            <a:pPr lvl="0" algn="r" rtl="1">
              <a:spcBef>
                <a:spcPts val="200"/>
              </a:spcBef>
              <a:spcAft>
                <a:spcPts val="200"/>
              </a:spcAft>
            </a:pPr>
            <a:r>
              <a:rPr lang="ar-TN" sz="1600" b="1" dirty="0" smtClean="0">
                <a:solidFill>
                  <a:schemeClr val="tx1"/>
                </a:solidFill>
                <a:latin typeface="Sakkal Majalla" pitchFamily="2" charset="-78"/>
                <a:cs typeface="Sakkal Majalla" pitchFamily="2" charset="-78"/>
              </a:rPr>
              <a:t>- وزارة العدل</a:t>
            </a:r>
            <a:endParaRPr lang="ar-TN" sz="1600" b="1" dirty="0">
              <a:solidFill>
                <a:schemeClr val="tx1"/>
              </a:solidFill>
              <a:latin typeface="Sakkal Majalla" pitchFamily="2" charset="-78"/>
              <a:cs typeface="Sakkal Majalla" pitchFamily="2" charset="-78"/>
            </a:endParaRPr>
          </a:p>
          <a:p>
            <a:pPr lvl="0" algn="r" rtl="1">
              <a:spcBef>
                <a:spcPts val="200"/>
              </a:spcBef>
              <a:spcAft>
                <a:spcPts val="200"/>
              </a:spcAft>
            </a:pPr>
            <a:r>
              <a:rPr lang="ar-TN" sz="1600" b="1" dirty="0">
                <a:solidFill>
                  <a:schemeClr val="tx1"/>
                </a:solidFill>
                <a:latin typeface="Sakkal Majalla" pitchFamily="2" charset="-78"/>
                <a:cs typeface="Sakkal Majalla" pitchFamily="2" charset="-78"/>
              </a:rPr>
              <a:t>- </a:t>
            </a:r>
            <a:r>
              <a:rPr lang="ar-TN" sz="1600" b="1" dirty="0" smtClean="0">
                <a:solidFill>
                  <a:schemeClr val="tx1"/>
                </a:solidFill>
                <a:latin typeface="Sakkal Majalla" pitchFamily="2" charset="-78"/>
                <a:cs typeface="Sakkal Majalla" pitchFamily="2" charset="-78"/>
              </a:rPr>
              <a:t>وزارة </a:t>
            </a:r>
            <a:r>
              <a:rPr lang="ar-TN" sz="1600" b="1" dirty="0">
                <a:solidFill>
                  <a:schemeClr val="tx1"/>
                </a:solidFill>
                <a:latin typeface="Sakkal Majalla" pitchFamily="2" charset="-78"/>
                <a:cs typeface="Sakkal Majalla" pitchFamily="2" charset="-78"/>
              </a:rPr>
              <a:t>أملاك الدولة </a:t>
            </a:r>
            <a:r>
              <a:rPr lang="ar-TN" sz="1600" b="1" dirty="0" smtClean="0">
                <a:solidFill>
                  <a:schemeClr val="tx1"/>
                </a:solidFill>
                <a:latin typeface="Sakkal Majalla" pitchFamily="2" charset="-78"/>
                <a:cs typeface="Sakkal Majalla" pitchFamily="2" charset="-78"/>
              </a:rPr>
              <a:t>والشؤون </a:t>
            </a:r>
            <a:r>
              <a:rPr lang="ar-TN" sz="1600" b="1" dirty="0">
                <a:solidFill>
                  <a:schemeClr val="tx1"/>
                </a:solidFill>
                <a:latin typeface="Sakkal Majalla" pitchFamily="2" charset="-78"/>
                <a:cs typeface="Sakkal Majalla" pitchFamily="2" charset="-78"/>
              </a:rPr>
              <a:t>العقارية</a:t>
            </a:r>
          </a:p>
          <a:p>
            <a:pPr lvl="0" algn="r" rtl="1">
              <a:spcBef>
                <a:spcPts val="200"/>
              </a:spcBef>
              <a:spcAft>
                <a:spcPts val="200"/>
              </a:spcAft>
            </a:pPr>
            <a:r>
              <a:rPr lang="ar-TN" sz="1600" b="1" dirty="0">
                <a:solidFill>
                  <a:schemeClr val="tx1"/>
                </a:solidFill>
                <a:latin typeface="Sakkal Majalla" pitchFamily="2" charset="-78"/>
                <a:cs typeface="Sakkal Majalla" pitchFamily="2" charset="-78"/>
              </a:rPr>
              <a:t>- </a:t>
            </a:r>
            <a:r>
              <a:rPr lang="ar-TN" sz="1600" b="1" dirty="0" smtClean="0">
                <a:solidFill>
                  <a:schemeClr val="tx1"/>
                </a:solidFill>
                <a:latin typeface="Sakkal Majalla" pitchFamily="2" charset="-78"/>
                <a:cs typeface="Sakkal Majalla" pitchFamily="2" charset="-78"/>
              </a:rPr>
              <a:t>إدارة الملكية </a:t>
            </a:r>
            <a:r>
              <a:rPr lang="ar-TN" sz="1600" b="1" dirty="0">
                <a:solidFill>
                  <a:schemeClr val="tx1"/>
                </a:solidFill>
                <a:latin typeface="Sakkal Majalla" pitchFamily="2" charset="-78"/>
                <a:cs typeface="Sakkal Majalla" pitchFamily="2" charset="-78"/>
              </a:rPr>
              <a:t>العقارية</a:t>
            </a:r>
          </a:p>
          <a:p>
            <a:pPr lvl="0" algn="r" rtl="1">
              <a:spcBef>
                <a:spcPts val="200"/>
              </a:spcBef>
              <a:spcAft>
                <a:spcPts val="200"/>
              </a:spcAft>
            </a:pPr>
            <a:r>
              <a:rPr lang="ar-TN" sz="1600" b="1" dirty="0">
                <a:solidFill>
                  <a:schemeClr val="tx1"/>
                </a:solidFill>
                <a:latin typeface="Sakkal Majalla" pitchFamily="2" charset="-78"/>
                <a:cs typeface="Sakkal Majalla" pitchFamily="2" charset="-78"/>
              </a:rPr>
              <a:t>- </a:t>
            </a:r>
            <a:r>
              <a:rPr lang="ar-TN" sz="1600" b="1" dirty="0" smtClean="0">
                <a:solidFill>
                  <a:schemeClr val="tx1"/>
                </a:solidFill>
                <a:latin typeface="Sakkal Majalla" pitchFamily="2" charset="-78"/>
                <a:cs typeface="Sakkal Majalla" pitchFamily="2" charset="-78"/>
              </a:rPr>
              <a:t>البنك </a:t>
            </a:r>
            <a:r>
              <a:rPr lang="ar-TN" sz="1600" b="1" dirty="0">
                <a:solidFill>
                  <a:schemeClr val="tx1"/>
                </a:solidFill>
                <a:latin typeface="Sakkal Majalla" pitchFamily="2" charset="-78"/>
                <a:cs typeface="Sakkal Majalla" pitchFamily="2" charset="-78"/>
              </a:rPr>
              <a:t>المركزي</a:t>
            </a:r>
          </a:p>
          <a:p>
            <a:pPr lvl="0" algn="r" rtl="1">
              <a:spcBef>
                <a:spcPts val="200"/>
              </a:spcBef>
              <a:spcAft>
                <a:spcPts val="200"/>
              </a:spcAft>
            </a:pPr>
            <a:r>
              <a:rPr lang="ar-TN" sz="1600" b="1" dirty="0">
                <a:solidFill>
                  <a:schemeClr val="tx1"/>
                </a:solidFill>
                <a:latin typeface="Sakkal Majalla" pitchFamily="2" charset="-78"/>
                <a:cs typeface="Sakkal Majalla" pitchFamily="2" charset="-78"/>
              </a:rPr>
              <a:t>- </a:t>
            </a:r>
            <a:r>
              <a:rPr lang="ar-TN" sz="1600" b="1" dirty="0" smtClean="0">
                <a:solidFill>
                  <a:schemeClr val="tx1"/>
                </a:solidFill>
                <a:latin typeface="Sakkal Majalla" pitchFamily="2" charset="-78"/>
                <a:cs typeface="Sakkal Majalla" pitchFamily="2" charset="-78"/>
              </a:rPr>
              <a:t>ديوان </a:t>
            </a:r>
            <a:r>
              <a:rPr lang="ar-TN" sz="1600" b="1" dirty="0">
                <a:solidFill>
                  <a:schemeClr val="tx1"/>
                </a:solidFill>
                <a:latin typeface="Sakkal Majalla" pitchFamily="2" charset="-78"/>
                <a:cs typeface="Sakkal Majalla" pitchFamily="2" charset="-78"/>
              </a:rPr>
              <a:t>قيس الأراضي</a:t>
            </a:r>
          </a:p>
          <a:p>
            <a:pPr lvl="0" algn="r" rtl="1"/>
            <a:endParaRPr lang="fr-FR" sz="1600" b="1" dirty="0">
              <a:solidFill>
                <a:schemeClr val="tx1"/>
              </a:solidFill>
              <a:latin typeface="Sakkal Majalla" pitchFamily="2" charset="-78"/>
              <a:cs typeface="Sakkal Majalla" pitchFamily="2" charset="-78"/>
            </a:endParaRPr>
          </a:p>
          <a:p>
            <a:pPr marL="266700" indent="-214313" algn="r" defTabSz="955675" rtl="1">
              <a:lnSpc>
                <a:spcPct val="120000"/>
              </a:lnSpc>
              <a:spcBef>
                <a:spcPts val="0"/>
              </a:spcBef>
              <a:spcAft>
                <a:spcPts val="300"/>
              </a:spcAft>
              <a:buClr>
                <a:srgbClr val="003366"/>
              </a:buClr>
              <a:buSzPct val="110000"/>
              <a:tabLst>
                <a:tab pos="266700" algn="l"/>
                <a:tab pos="3786188" algn="r"/>
                <a:tab pos="4286250" algn="l"/>
                <a:tab pos="5675313" algn="l"/>
              </a:tabLst>
            </a:pPr>
            <a:endParaRPr lang="fr-FR" altLang="fr-FR" sz="1600" b="1" dirty="0" smtClean="0">
              <a:solidFill>
                <a:schemeClr val="tx1"/>
              </a:solidFill>
              <a:cs typeface="Times New Roman" pitchFamily="18" charset="0"/>
            </a:endParaRPr>
          </a:p>
        </p:txBody>
      </p:sp>
      <p:sp>
        <p:nvSpPr>
          <p:cNvPr id="35" name="Rectangle 34"/>
          <p:cNvSpPr/>
          <p:nvPr/>
        </p:nvSpPr>
        <p:spPr>
          <a:xfrm>
            <a:off x="5796296" y="4246590"/>
            <a:ext cx="1440000" cy="1980000"/>
          </a:xfrm>
          <a:prstGeom prst="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r"/>
            <a:r>
              <a:rPr lang="ar-TN" sz="1600" b="1" dirty="0" smtClean="0">
                <a:solidFill>
                  <a:schemeClr val="tx1"/>
                </a:solidFill>
                <a:latin typeface="Sakkal Majalla" pitchFamily="2" charset="-78"/>
                <a:cs typeface="Sakkal Majalla" pitchFamily="2" charset="-78"/>
              </a:rPr>
              <a:t> </a:t>
            </a:r>
          </a:p>
          <a:p>
            <a:pPr lvl="0" algn="r"/>
            <a:r>
              <a:rPr lang="ar-TN" sz="1600" b="1" dirty="0" smtClean="0">
                <a:solidFill>
                  <a:schemeClr val="tx1"/>
                </a:solidFill>
                <a:latin typeface="Sakkal Majalla" pitchFamily="2" charset="-78"/>
                <a:cs typeface="Sakkal Majalla" pitchFamily="2" charset="-78"/>
              </a:rPr>
              <a:t>- وزارة </a:t>
            </a:r>
            <a:r>
              <a:rPr lang="ar-TN" sz="1600" b="1" dirty="0">
                <a:solidFill>
                  <a:schemeClr val="tx1"/>
                </a:solidFill>
                <a:latin typeface="Sakkal Majalla" pitchFamily="2" charset="-78"/>
                <a:cs typeface="Sakkal Majalla" pitchFamily="2" charset="-78"/>
              </a:rPr>
              <a:t>المالية</a:t>
            </a:r>
            <a:endParaRPr lang="fr-FR" sz="1600" b="1" dirty="0">
              <a:solidFill>
                <a:schemeClr val="tx1"/>
              </a:solidFill>
              <a:latin typeface="Sakkal Majalla" pitchFamily="2" charset="-78"/>
              <a:cs typeface="Sakkal Majalla" pitchFamily="2" charset="-78"/>
            </a:endParaRPr>
          </a:p>
          <a:p>
            <a:pPr lvl="0" algn="r" rtl="1"/>
            <a:endParaRPr lang="fr-FR" sz="1600" b="1" dirty="0">
              <a:solidFill>
                <a:schemeClr val="tx1"/>
              </a:solidFill>
              <a:latin typeface="Sakkal Majalla" pitchFamily="2" charset="-78"/>
              <a:cs typeface="Sakkal Majalla" pitchFamily="2" charset="-78"/>
            </a:endParaRPr>
          </a:p>
          <a:p>
            <a:pPr marL="266700" indent="-214313" algn="r" defTabSz="955675" rtl="1">
              <a:lnSpc>
                <a:spcPct val="120000"/>
              </a:lnSpc>
              <a:spcBef>
                <a:spcPts val="0"/>
              </a:spcBef>
              <a:spcAft>
                <a:spcPts val="300"/>
              </a:spcAft>
              <a:buClr>
                <a:srgbClr val="003366"/>
              </a:buClr>
              <a:buSzPct val="110000"/>
              <a:tabLst>
                <a:tab pos="266700" algn="l"/>
                <a:tab pos="3786188" algn="r"/>
                <a:tab pos="4286250" algn="l"/>
                <a:tab pos="5675313" algn="l"/>
              </a:tabLst>
            </a:pPr>
            <a:endParaRPr lang="fr-FR" altLang="fr-FR" sz="1600" b="1" dirty="0" smtClean="0">
              <a:solidFill>
                <a:schemeClr val="tx1"/>
              </a:solidFill>
              <a:cs typeface="Times New Roman" pitchFamily="18" charset="0"/>
            </a:endParaRPr>
          </a:p>
        </p:txBody>
      </p:sp>
      <p:sp>
        <p:nvSpPr>
          <p:cNvPr id="36" name="Rectangle 35"/>
          <p:cNvSpPr/>
          <p:nvPr/>
        </p:nvSpPr>
        <p:spPr>
          <a:xfrm>
            <a:off x="1115616" y="4246590"/>
            <a:ext cx="1440000" cy="1980000"/>
          </a:xfrm>
          <a:prstGeom prst="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r">
              <a:spcBef>
                <a:spcPts val="200"/>
              </a:spcBef>
              <a:spcAft>
                <a:spcPts val="200"/>
              </a:spcAft>
            </a:pPr>
            <a:r>
              <a:rPr lang="ar-TN" sz="1600" b="1" dirty="0">
                <a:solidFill>
                  <a:schemeClr val="tx1"/>
                </a:solidFill>
                <a:latin typeface="Sakkal Majalla" pitchFamily="2" charset="-78"/>
                <a:cs typeface="Sakkal Majalla" pitchFamily="2" charset="-78"/>
              </a:rPr>
              <a:t>- رئاسة </a:t>
            </a:r>
            <a:r>
              <a:rPr lang="ar-TN" sz="1600" b="1" dirty="0" smtClean="0">
                <a:solidFill>
                  <a:schemeClr val="tx1"/>
                </a:solidFill>
                <a:latin typeface="Sakkal Majalla" pitchFamily="2" charset="-78"/>
                <a:cs typeface="Sakkal Majalla" pitchFamily="2" charset="-78"/>
              </a:rPr>
              <a:t>الحكومة  </a:t>
            </a:r>
            <a:endParaRPr lang="fr-FR" sz="1600" b="1" dirty="0" smtClean="0">
              <a:solidFill>
                <a:schemeClr val="tx1"/>
              </a:solidFill>
              <a:latin typeface="Sakkal Majalla" pitchFamily="2" charset="-78"/>
              <a:cs typeface="Sakkal Majalla" pitchFamily="2" charset="-78"/>
            </a:endParaRPr>
          </a:p>
          <a:p>
            <a:pPr lvl="0" algn="r">
              <a:spcBef>
                <a:spcPts val="200"/>
              </a:spcBef>
              <a:spcAft>
                <a:spcPts val="200"/>
              </a:spcAft>
            </a:pPr>
            <a:r>
              <a:rPr lang="ar-TN" sz="1600" b="1" dirty="0" smtClean="0">
                <a:solidFill>
                  <a:schemeClr val="tx1"/>
                </a:solidFill>
                <a:latin typeface="Sakkal Majalla" pitchFamily="2" charset="-78"/>
                <a:cs typeface="Sakkal Majalla" pitchFamily="2" charset="-78"/>
              </a:rPr>
              <a:t>- وزارة </a:t>
            </a:r>
            <a:r>
              <a:rPr lang="ar-TN" sz="1600" b="1" dirty="0">
                <a:solidFill>
                  <a:schemeClr val="tx1"/>
                </a:solidFill>
                <a:latin typeface="Sakkal Majalla" pitchFamily="2" charset="-78"/>
                <a:cs typeface="Sakkal Majalla" pitchFamily="2" charset="-78"/>
              </a:rPr>
              <a:t>التجهيز</a:t>
            </a:r>
          </a:p>
          <a:p>
            <a:pPr lvl="0" algn="r">
              <a:spcBef>
                <a:spcPts val="200"/>
              </a:spcBef>
              <a:spcAft>
                <a:spcPts val="200"/>
              </a:spcAft>
            </a:pPr>
            <a:r>
              <a:rPr lang="ar-TN" sz="1600" b="1" dirty="0" smtClean="0">
                <a:solidFill>
                  <a:schemeClr val="tx1"/>
                </a:solidFill>
                <a:latin typeface="Sakkal Majalla" pitchFamily="2" charset="-78"/>
                <a:cs typeface="Sakkal Majalla" pitchFamily="2" charset="-78"/>
              </a:rPr>
              <a:t>- وزارة </a:t>
            </a:r>
            <a:r>
              <a:rPr lang="ar-TN" sz="1600" b="1" dirty="0">
                <a:solidFill>
                  <a:schemeClr val="tx1"/>
                </a:solidFill>
                <a:latin typeface="Sakkal Majalla" pitchFamily="2" charset="-78"/>
                <a:cs typeface="Sakkal Majalla" pitchFamily="2" charset="-78"/>
              </a:rPr>
              <a:t>البيئة والشؤون </a:t>
            </a:r>
            <a:endParaRPr lang="ar-EG" sz="1600" b="1" dirty="0" smtClean="0">
              <a:solidFill>
                <a:schemeClr val="tx1"/>
              </a:solidFill>
              <a:latin typeface="Sakkal Majalla" pitchFamily="2" charset="-78"/>
              <a:cs typeface="Sakkal Majalla" pitchFamily="2" charset="-78"/>
            </a:endParaRPr>
          </a:p>
          <a:p>
            <a:pPr lvl="0" algn="r">
              <a:spcBef>
                <a:spcPts val="200"/>
              </a:spcBef>
              <a:spcAft>
                <a:spcPts val="200"/>
              </a:spcAft>
            </a:pPr>
            <a:r>
              <a:rPr lang="ar-TN" sz="1600" b="1" dirty="0" smtClean="0">
                <a:solidFill>
                  <a:schemeClr val="tx1"/>
                </a:solidFill>
                <a:latin typeface="Sakkal Majalla" pitchFamily="2" charset="-78"/>
                <a:cs typeface="Sakkal Majalla" pitchFamily="2" charset="-78"/>
              </a:rPr>
              <a:t>المحلية</a:t>
            </a:r>
            <a:endParaRPr lang="ar-EG" sz="1600" b="1" dirty="0" smtClean="0">
              <a:solidFill>
                <a:schemeClr val="tx1"/>
              </a:solidFill>
              <a:latin typeface="Sakkal Majalla" pitchFamily="2" charset="-78"/>
              <a:cs typeface="Sakkal Majalla" pitchFamily="2" charset="-78"/>
            </a:endParaRPr>
          </a:p>
          <a:p>
            <a:pPr algn="r">
              <a:spcBef>
                <a:spcPts val="200"/>
              </a:spcBef>
              <a:spcAft>
                <a:spcPts val="200"/>
              </a:spcAft>
            </a:pPr>
            <a:r>
              <a:rPr lang="fr-FR" sz="1600" b="1" dirty="0" smtClean="0">
                <a:solidFill>
                  <a:schemeClr val="tx1"/>
                </a:solidFill>
                <a:latin typeface="Sakkal Majalla" pitchFamily="2" charset="-78"/>
                <a:cs typeface="Sakkal Majalla" pitchFamily="2" charset="-78"/>
              </a:rPr>
              <a:t>SONEDE</a:t>
            </a:r>
            <a:r>
              <a:rPr lang="ar-TN" sz="1600" b="1" dirty="0" smtClean="0">
                <a:solidFill>
                  <a:schemeClr val="tx1"/>
                </a:solidFill>
                <a:latin typeface="Sakkal Majalla" pitchFamily="2" charset="-78"/>
                <a:cs typeface="Sakkal Majalla" pitchFamily="2" charset="-78"/>
              </a:rPr>
              <a:t> </a:t>
            </a:r>
            <a:r>
              <a:rPr lang="ar-TN" sz="1600" b="1" dirty="0">
                <a:solidFill>
                  <a:schemeClr val="tx1"/>
                </a:solidFill>
                <a:latin typeface="Sakkal Majalla" pitchFamily="2" charset="-78"/>
                <a:cs typeface="Sakkal Majalla" pitchFamily="2" charset="-78"/>
              </a:rPr>
              <a:t>- </a:t>
            </a:r>
            <a:endParaRPr lang="fr-FR" sz="1600" b="1" dirty="0">
              <a:solidFill>
                <a:schemeClr val="tx1"/>
              </a:solidFill>
              <a:latin typeface="Sakkal Majalla" pitchFamily="2" charset="-78"/>
              <a:cs typeface="Sakkal Majalla" pitchFamily="2" charset="-78"/>
            </a:endParaRPr>
          </a:p>
          <a:p>
            <a:pPr algn="r">
              <a:spcBef>
                <a:spcPts val="200"/>
              </a:spcBef>
              <a:spcAft>
                <a:spcPts val="200"/>
              </a:spcAft>
            </a:pPr>
            <a:r>
              <a:rPr lang="fr-FR" sz="1600" b="1" dirty="0" smtClean="0">
                <a:solidFill>
                  <a:schemeClr val="tx1"/>
                </a:solidFill>
                <a:latin typeface="Sakkal Majalla" pitchFamily="2" charset="-78"/>
                <a:cs typeface="Sakkal Majalla" pitchFamily="2" charset="-78"/>
              </a:rPr>
              <a:t>STEG</a:t>
            </a:r>
            <a:r>
              <a:rPr lang="ar-TN" sz="1600" b="1" dirty="0" smtClean="0">
                <a:solidFill>
                  <a:schemeClr val="tx1"/>
                </a:solidFill>
                <a:latin typeface="Sakkal Majalla" pitchFamily="2" charset="-78"/>
                <a:cs typeface="Sakkal Majalla" pitchFamily="2" charset="-78"/>
              </a:rPr>
              <a:t> </a:t>
            </a:r>
            <a:r>
              <a:rPr lang="ar-TN" sz="1600" b="1" dirty="0">
                <a:solidFill>
                  <a:schemeClr val="tx1"/>
                </a:solidFill>
                <a:latin typeface="Sakkal Majalla" pitchFamily="2" charset="-78"/>
                <a:cs typeface="Sakkal Majalla" pitchFamily="2" charset="-78"/>
              </a:rPr>
              <a:t>- </a:t>
            </a:r>
            <a:endParaRPr lang="fr-FR" sz="1600" b="1" dirty="0" smtClean="0">
              <a:solidFill>
                <a:schemeClr val="tx1"/>
              </a:solidFill>
              <a:latin typeface="Sakkal Majalla" pitchFamily="2" charset="-78"/>
              <a:cs typeface="Sakkal Majalla" pitchFamily="2" charset="-78"/>
            </a:endParaRPr>
          </a:p>
          <a:p>
            <a:pPr algn="r">
              <a:spcBef>
                <a:spcPts val="200"/>
              </a:spcBef>
              <a:spcAft>
                <a:spcPts val="200"/>
              </a:spcAft>
            </a:pPr>
            <a:r>
              <a:rPr lang="fr-FR" sz="1600" b="1" dirty="0" smtClean="0">
                <a:solidFill>
                  <a:schemeClr val="tx1"/>
                </a:solidFill>
                <a:latin typeface="Sakkal Majalla" pitchFamily="2" charset="-78"/>
                <a:cs typeface="Sakkal Majalla" pitchFamily="2" charset="-78"/>
              </a:rPr>
              <a:t>ONAS</a:t>
            </a:r>
            <a:r>
              <a:rPr lang="ar-TN" sz="1600" b="1" dirty="0">
                <a:solidFill>
                  <a:schemeClr val="tx1"/>
                </a:solidFill>
                <a:latin typeface="Sakkal Majalla" pitchFamily="2" charset="-78"/>
                <a:cs typeface="Sakkal Majalla" pitchFamily="2" charset="-78"/>
              </a:rPr>
              <a:t>- </a:t>
            </a:r>
            <a:endParaRPr lang="fr-FR" sz="1600" b="1" dirty="0">
              <a:solidFill>
                <a:schemeClr val="tx1"/>
              </a:solidFill>
              <a:latin typeface="Sakkal Majalla" pitchFamily="2" charset="-78"/>
              <a:cs typeface="Sakkal Majalla" pitchFamily="2" charset="-78"/>
            </a:endParaRPr>
          </a:p>
          <a:p>
            <a:pPr marL="266700" indent="-214313" algn="r" defTabSz="955675" rtl="1">
              <a:lnSpc>
                <a:spcPct val="120000"/>
              </a:lnSpc>
              <a:spcBef>
                <a:spcPts val="0"/>
              </a:spcBef>
              <a:spcAft>
                <a:spcPts val="300"/>
              </a:spcAft>
              <a:buClr>
                <a:srgbClr val="003366"/>
              </a:buClr>
              <a:buSzPct val="110000"/>
              <a:tabLst>
                <a:tab pos="266700" algn="l"/>
                <a:tab pos="3786188" algn="r"/>
                <a:tab pos="4286250" algn="l"/>
                <a:tab pos="5675313" algn="l"/>
              </a:tabLst>
            </a:pPr>
            <a:endParaRPr lang="fr-FR" altLang="fr-FR" sz="1600" b="1" dirty="0" smtClean="0">
              <a:solidFill>
                <a:schemeClr val="tx1"/>
              </a:solidFill>
              <a:cs typeface="Times New Roman" pitchFamily="18" charset="0"/>
            </a:endParaRPr>
          </a:p>
        </p:txBody>
      </p:sp>
      <p:sp>
        <p:nvSpPr>
          <p:cNvPr id="37" name="Rectangle 36"/>
          <p:cNvSpPr/>
          <p:nvPr/>
        </p:nvSpPr>
        <p:spPr>
          <a:xfrm>
            <a:off x="2699792" y="4246590"/>
            <a:ext cx="1440000" cy="1980000"/>
          </a:xfrm>
          <a:prstGeom prst="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r">
              <a:spcBef>
                <a:spcPts val="200"/>
              </a:spcBef>
              <a:spcAft>
                <a:spcPts val="200"/>
              </a:spcAft>
            </a:pPr>
            <a:r>
              <a:rPr lang="ar-TN" sz="1600" b="1" dirty="0">
                <a:solidFill>
                  <a:schemeClr val="tx1"/>
                </a:solidFill>
                <a:latin typeface="Sakkal Majalla" pitchFamily="2" charset="-78"/>
                <a:cs typeface="Sakkal Majalla" pitchFamily="2" charset="-78"/>
              </a:rPr>
              <a:t>- رئاسة الحكومة</a:t>
            </a:r>
          </a:p>
          <a:p>
            <a:pPr lvl="0" algn="r">
              <a:spcBef>
                <a:spcPts val="200"/>
              </a:spcBef>
              <a:spcAft>
                <a:spcPts val="200"/>
              </a:spcAft>
            </a:pPr>
            <a:r>
              <a:rPr lang="ar-TN" sz="1600" b="1" dirty="0" smtClean="0">
                <a:solidFill>
                  <a:schemeClr val="tx1"/>
                </a:solidFill>
                <a:latin typeface="Sakkal Majalla" pitchFamily="2" charset="-78"/>
                <a:cs typeface="Sakkal Majalla" pitchFamily="2" charset="-78"/>
              </a:rPr>
              <a:t> </a:t>
            </a:r>
            <a:r>
              <a:rPr lang="ar-TN" sz="1600" b="1" dirty="0">
                <a:solidFill>
                  <a:schemeClr val="tx1"/>
                </a:solidFill>
                <a:latin typeface="Sakkal Majalla" pitchFamily="2" charset="-78"/>
                <a:cs typeface="Sakkal Majalla" pitchFamily="2" charset="-78"/>
              </a:rPr>
              <a:t>- وزارة التجارة</a:t>
            </a:r>
          </a:p>
          <a:p>
            <a:pPr lvl="0" algn="r">
              <a:spcBef>
                <a:spcPts val="200"/>
              </a:spcBef>
              <a:spcAft>
                <a:spcPts val="200"/>
              </a:spcAft>
            </a:pPr>
            <a:r>
              <a:rPr lang="ar-TN" sz="1600" b="1" dirty="0">
                <a:solidFill>
                  <a:schemeClr val="tx1"/>
                </a:solidFill>
                <a:latin typeface="Sakkal Majalla" pitchFamily="2" charset="-78"/>
                <a:cs typeface="Sakkal Majalla" pitchFamily="2" charset="-78"/>
              </a:rPr>
              <a:t>- </a:t>
            </a:r>
            <a:r>
              <a:rPr lang="ar-TN" sz="1600" b="1" dirty="0" err="1">
                <a:solidFill>
                  <a:schemeClr val="tx1"/>
                </a:solidFill>
                <a:latin typeface="Sakkal Majalla" pitchFamily="2" charset="-78"/>
                <a:cs typeface="Sakkal Majalla" pitchFamily="2" charset="-78"/>
              </a:rPr>
              <a:t>الديوانة</a:t>
            </a:r>
            <a:r>
              <a:rPr lang="ar-TN" sz="1600" b="1" dirty="0">
                <a:solidFill>
                  <a:schemeClr val="tx1"/>
                </a:solidFill>
                <a:latin typeface="Sakkal Majalla" pitchFamily="2" charset="-78"/>
                <a:cs typeface="Sakkal Majalla" pitchFamily="2" charset="-78"/>
              </a:rPr>
              <a:t> التونسية</a:t>
            </a:r>
          </a:p>
          <a:p>
            <a:pPr lvl="0" algn="r">
              <a:spcBef>
                <a:spcPts val="200"/>
              </a:spcBef>
              <a:spcAft>
                <a:spcPts val="200"/>
              </a:spcAft>
            </a:pPr>
            <a:r>
              <a:rPr lang="ar-TN" sz="1600" b="1" dirty="0">
                <a:solidFill>
                  <a:schemeClr val="tx1"/>
                </a:solidFill>
                <a:latin typeface="Sakkal Majalla" pitchFamily="2" charset="-78"/>
                <a:cs typeface="Sakkal Majalla" pitchFamily="2" charset="-78"/>
              </a:rPr>
              <a:t>- </a:t>
            </a:r>
            <a:r>
              <a:rPr lang="ar-TN" sz="1600" b="1" dirty="0" smtClean="0">
                <a:solidFill>
                  <a:schemeClr val="tx1"/>
                </a:solidFill>
                <a:latin typeface="Sakkal Majalla" pitchFamily="2" charset="-78"/>
                <a:cs typeface="Sakkal Majalla" pitchFamily="2" charset="-78"/>
              </a:rPr>
              <a:t>شبكة </a:t>
            </a:r>
            <a:r>
              <a:rPr lang="ar-TN" sz="1600" b="1" dirty="0">
                <a:solidFill>
                  <a:schemeClr val="tx1"/>
                </a:solidFill>
                <a:latin typeface="Sakkal Majalla" pitchFamily="2" charset="-78"/>
                <a:cs typeface="Sakkal Majalla" pitchFamily="2" charset="-78"/>
              </a:rPr>
              <a:t>تونس للتجارة</a:t>
            </a:r>
          </a:p>
          <a:p>
            <a:pPr lvl="0" algn="r">
              <a:spcBef>
                <a:spcPts val="200"/>
              </a:spcBef>
              <a:spcAft>
                <a:spcPts val="200"/>
              </a:spcAft>
            </a:pPr>
            <a:r>
              <a:rPr lang="ar-TN" sz="1600" b="1" dirty="0">
                <a:solidFill>
                  <a:schemeClr val="tx1"/>
                </a:solidFill>
                <a:latin typeface="Sakkal Majalla" pitchFamily="2" charset="-78"/>
                <a:cs typeface="Sakkal Majalla" pitchFamily="2" charset="-78"/>
              </a:rPr>
              <a:t>- </a:t>
            </a:r>
            <a:r>
              <a:rPr lang="ar-TN" sz="1600" b="1" dirty="0" smtClean="0">
                <a:solidFill>
                  <a:schemeClr val="tx1"/>
                </a:solidFill>
                <a:latin typeface="Sakkal Majalla" pitchFamily="2" charset="-78"/>
                <a:cs typeface="Sakkal Majalla" pitchFamily="2" charset="-78"/>
              </a:rPr>
              <a:t>الشركة </a:t>
            </a:r>
            <a:r>
              <a:rPr lang="ar-TN" sz="1600" b="1" dirty="0">
                <a:solidFill>
                  <a:schemeClr val="tx1"/>
                </a:solidFill>
                <a:latin typeface="Sakkal Majalla" pitchFamily="2" charset="-78"/>
                <a:cs typeface="Sakkal Majalla" pitchFamily="2" charset="-78"/>
              </a:rPr>
              <a:t>التونسية </a:t>
            </a:r>
            <a:r>
              <a:rPr lang="ar-TN" sz="1600" b="1" dirty="0" smtClean="0">
                <a:solidFill>
                  <a:schemeClr val="tx1"/>
                </a:solidFill>
                <a:latin typeface="Sakkal Majalla" pitchFamily="2" charset="-78"/>
                <a:cs typeface="Sakkal Majalla" pitchFamily="2" charset="-78"/>
              </a:rPr>
              <a:t>للشحن </a:t>
            </a:r>
            <a:r>
              <a:rPr lang="ar-TN" sz="1600" b="1" dirty="0">
                <a:solidFill>
                  <a:schemeClr val="tx1"/>
                </a:solidFill>
                <a:latin typeface="Sakkal Majalla" pitchFamily="2" charset="-78"/>
                <a:cs typeface="Sakkal Majalla" pitchFamily="2" charset="-78"/>
              </a:rPr>
              <a:t>والترصيف</a:t>
            </a:r>
            <a:endParaRPr lang="fr-FR" sz="1600" b="1" dirty="0">
              <a:solidFill>
                <a:schemeClr val="tx1"/>
              </a:solidFill>
            </a:endParaRPr>
          </a:p>
          <a:p>
            <a:pPr lvl="0" algn="r" rtl="1"/>
            <a:endParaRPr lang="fr-FR" sz="1600" b="1" dirty="0">
              <a:solidFill>
                <a:schemeClr val="tx1"/>
              </a:solidFill>
              <a:latin typeface="Sakkal Majalla" pitchFamily="2" charset="-78"/>
              <a:cs typeface="Sakkal Majalla" pitchFamily="2" charset="-78"/>
            </a:endParaRPr>
          </a:p>
          <a:p>
            <a:pPr marL="266700" indent="-214313" algn="r" defTabSz="955675" rtl="1">
              <a:lnSpc>
                <a:spcPct val="120000"/>
              </a:lnSpc>
              <a:spcBef>
                <a:spcPts val="0"/>
              </a:spcBef>
              <a:spcAft>
                <a:spcPts val="300"/>
              </a:spcAft>
              <a:buClr>
                <a:srgbClr val="003366"/>
              </a:buClr>
              <a:buSzPct val="110000"/>
              <a:tabLst>
                <a:tab pos="266700" algn="l"/>
                <a:tab pos="3786188" algn="r"/>
                <a:tab pos="4286250" algn="l"/>
                <a:tab pos="5675313" algn="l"/>
              </a:tabLst>
            </a:pPr>
            <a:endParaRPr lang="fr-FR" altLang="fr-FR" sz="1600" b="1" dirty="0" smtClean="0">
              <a:solidFill>
                <a:schemeClr val="tx1"/>
              </a:solidFill>
              <a:cs typeface="Times New Roman" pitchFamily="18" charset="0"/>
            </a:endParaRPr>
          </a:p>
        </p:txBody>
      </p:sp>
      <p:sp>
        <p:nvSpPr>
          <p:cNvPr id="38" name="Rectangle 37"/>
          <p:cNvSpPr/>
          <p:nvPr/>
        </p:nvSpPr>
        <p:spPr>
          <a:xfrm>
            <a:off x="7388242" y="4246590"/>
            <a:ext cx="1440000" cy="1980000"/>
          </a:xfrm>
          <a:prstGeom prst="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r">
              <a:spcBef>
                <a:spcPts val="200"/>
              </a:spcBef>
              <a:spcAft>
                <a:spcPts val="200"/>
              </a:spcAft>
            </a:pPr>
            <a:r>
              <a:rPr lang="ar-TN" sz="1600" b="1" dirty="0" smtClean="0">
                <a:solidFill>
                  <a:schemeClr val="tx1"/>
                </a:solidFill>
                <a:latin typeface="Sakkal Majalla" pitchFamily="2" charset="-78"/>
                <a:cs typeface="Sakkal Majalla" pitchFamily="2" charset="-78"/>
              </a:rPr>
              <a:t> </a:t>
            </a:r>
            <a:r>
              <a:rPr lang="ar-TN" sz="1600" b="1" dirty="0">
                <a:solidFill>
                  <a:schemeClr val="tx1"/>
                </a:solidFill>
                <a:latin typeface="Sakkal Majalla" pitchFamily="2" charset="-78"/>
                <a:cs typeface="Sakkal Majalla" pitchFamily="2" charset="-78"/>
              </a:rPr>
              <a:t>- رئاسة الحكومة</a:t>
            </a:r>
          </a:p>
          <a:p>
            <a:pPr algn="r">
              <a:spcBef>
                <a:spcPts val="200"/>
              </a:spcBef>
              <a:spcAft>
                <a:spcPts val="200"/>
              </a:spcAft>
            </a:pPr>
            <a:r>
              <a:rPr lang="ar-TN" sz="1600" b="1" dirty="0">
                <a:solidFill>
                  <a:schemeClr val="tx1"/>
                </a:solidFill>
                <a:latin typeface="Sakkal Majalla" pitchFamily="2" charset="-78"/>
                <a:cs typeface="Sakkal Majalla" pitchFamily="2" charset="-78"/>
              </a:rPr>
              <a:t>- وزارة المالية</a:t>
            </a:r>
          </a:p>
          <a:p>
            <a:pPr algn="r">
              <a:spcBef>
                <a:spcPts val="200"/>
              </a:spcBef>
              <a:spcAft>
                <a:spcPts val="200"/>
              </a:spcAft>
            </a:pPr>
            <a:r>
              <a:rPr lang="ar-TN" sz="1600" b="1" dirty="0">
                <a:solidFill>
                  <a:schemeClr val="tx1"/>
                </a:solidFill>
                <a:latin typeface="Sakkal Majalla" pitchFamily="2" charset="-78"/>
                <a:cs typeface="Sakkal Majalla" pitchFamily="2" charset="-78"/>
              </a:rPr>
              <a:t>- وزارة العدل</a:t>
            </a:r>
          </a:p>
          <a:p>
            <a:pPr lvl="0" algn="r">
              <a:spcBef>
                <a:spcPts val="200"/>
              </a:spcBef>
              <a:spcAft>
                <a:spcPts val="200"/>
              </a:spcAft>
            </a:pPr>
            <a:r>
              <a:rPr lang="ar-TN" sz="1600" b="1" dirty="0" smtClean="0">
                <a:solidFill>
                  <a:schemeClr val="tx1"/>
                </a:solidFill>
                <a:latin typeface="Sakkal Majalla" pitchFamily="2" charset="-78"/>
                <a:cs typeface="Sakkal Majalla" pitchFamily="2" charset="-78"/>
              </a:rPr>
              <a:t>- وزارة </a:t>
            </a:r>
            <a:r>
              <a:rPr lang="ar-TN" sz="1600" b="1" dirty="0">
                <a:solidFill>
                  <a:schemeClr val="tx1"/>
                </a:solidFill>
                <a:latin typeface="Sakkal Majalla" pitchFamily="2" charset="-78"/>
                <a:cs typeface="Sakkal Majalla" pitchFamily="2" charset="-78"/>
              </a:rPr>
              <a:t>الصناعة</a:t>
            </a:r>
          </a:p>
          <a:p>
            <a:pPr lvl="0" algn="r">
              <a:spcBef>
                <a:spcPts val="200"/>
              </a:spcBef>
              <a:spcAft>
                <a:spcPts val="200"/>
              </a:spcAft>
            </a:pPr>
            <a:r>
              <a:rPr lang="fr-FR" sz="1600" b="1" dirty="0" smtClean="0">
                <a:solidFill>
                  <a:schemeClr val="tx1"/>
                </a:solidFill>
                <a:latin typeface="Sakkal Majalla" pitchFamily="2" charset="-78"/>
                <a:cs typeface="Sakkal Majalla" pitchFamily="2" charset="-78"/>
              </a:rPr>
              <a:t>APII</a:t>
            </a:r>
            <a:r>
              <a:rPr lang="ar-TN" sz="1600" b="1" dirty="0" smtClean="0">
                <a:solidFill>
                  <a:schemeClr val="tx1"/>
                </a:solidFill>
                <a:latin typeface="Sakkal Majalla" pitchFamily="2" charset="-78"/>
                <a:cs typeface="Sakkal Majalla" pitchFamily="2" charset="-78"/>
              </a:rPr>
              <a:t> </a:t>
            </a:r>
            <a:r>
              <a:rPr lang="ar-TN" sz="1600" b="1" dirty="0">
                <a:solidFill>
                  <a:schemeClr val="tx1"/>
                </a:solidFill>
                <a:latin typeface="Sakkal Majalla" pitchFamily="2" charset="-78"/>
                <a:cs typeface="Sakkal Majalla" pitchFamily="2" charset="-78"/>
              </a:rPr>
              <a:t>- </a:t>
            </a:r>
            <a:endParaRPr lang="fr-FR" sz="1600" b="1" dirty="0">
              <a:solidFill>
                <a:schemeClr val="tx1"/>
              </a:solidFill>
              <a:latin typeface="Sakkal Majalla" pitchFamily="2" charset="-78"/>
              <a:cs typeface="Sakkal Majalla" pitchFamily="2" charset="-78"/>
            </a:endParaRPr>
          </a:p>
          <a:p>
            <a:pPr lvl="0" rtl="1"/>
            <a:endParaRPr lang="fr-FR" sz="1600" b="1" dirty="0">
              <a:solidFill>
                <a:schemeClr val="tx1"/>
              </a:solidFill>
              <a:latin typeface="Sakkal Majalla" pitchFamily="2" charset="-78"/>
              <a:cs typeface="Sakkal Majalla" pitchFamily="2" charset="-78"/>
            </a:endParaRPr>
          </a:p>
          <a:p>
            <a:pPr marL="266700" indent="-214313" algn="r" defTabSz="955675" rtl="1">
              <a:lnSpc>
                <a:spcPct val="120000"/>
              </a:lnSpc>
              <a:spcBef>
                <a:spcPts val="0"/>
              </a:spcBef>
              <a:spcAft>
                <a:spcPts val="300"/>
              </a:spcAft>
              <a:buClr>
                <a:srgbClr val="003366"/>
              </a:buClr>
              <a:buSzPct val="110000"/>
              <a:tabLst>
                <a:tab pos="266700" algn="l"/>
                <a:tab pos="3786188" algn="r"/>
                <a:tab pos="4286250" algn="l"/>
                <a:tab pos="5675313" algn="l"/>
              </a:tabLst>
            </a:pPr>
            <a:endParaRPr lang="fr-FR" altLang="fr-FR" sz="1600" b="1" dirty="0" smtClean="0">
              <a:solidFill>
                <a:schemeClr val="tx1"/>
              </a:solidFill>
              <a:cs typeface="Times New Roman" pitchFamily="18" charset="0"/>
            </a:endParaRPr>
          </a:p>
        </p:txBody>
      </p:sp>
      <p:sp>
        <p:nvSpPr>
          <p:cNvPr id="39" name="Rectangle 38"/>
          <p:cNvSpPr/>
          <p:nvPr/>
        </p:nvSpPr>
        <p:spPr>
          <a:xfrm>
            <a:off x="107504" y="4942447"/>
            <a:ext cx="936000" cy="432000"/>
          </a:xfrm>
          <a:prstGeom prst="rect">
            <a:avLst/>
          </a:prstGeom>
          <a:solidFill>
            <a:srgbClr val="C000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EG" sz="1200" b="1" dirty="0">
                <a:solidFill>
                  <a:schemeClr val="bg1"/>
                </a:solidFill>
              </a:rPr>
              <a:t>الهياكل المعنية</a:t>
            </a:r>
            <a:endParaRPr lang="fr-FR" sz="1200" b="1" dirty="0">
              <a:solidFill>
                <a:schemeClr val="bg1"/>
              </a:solidFill>
            </a:endParaRPr>
          </a:p>
        </p:txBody>
      </p:sp>
      <p:sp>
        <p:nvSpPr>
          <p:cNvPr id="21" name="Rectangle 20"/>
          <p:cNvSpPr/>
          <p:nvPr/>
        </p:nvSpPr>
        <p:spPr>
          <a:xfrm>
            <a:off x="584201" y="278963"/>
            <a:ext cx="8244042" cy="646331"/>
          </a:xfrm>
          <a:prstGeom prst="rect">
            <a:avLst/>
          </a:prstGeom>
        </p:spPr>
        <p:txBody>
          <a:bodyPr wrap="square">
            <a:spAutoFit/>
          </a:bodyPr>
          <a:lstStyle/>
          <a:p>
            <a:pPr marL="342900" indent="-342900" algn="ctr" rtl="1" eaLnBrk="0" hangingPunct="0">
              <a:spcBef>
                <a:spcPct val="20000"/>
              </a:spcBef>
              <a:buClr>
                <a:srgbClr val="00007D"/>
              </a:buClr>
              <a:buSzPct val="75000"/>
            </a:pPr>
            <a:r>
              <a:rPr lang="ar-TN" sz="3600" b="1" dirty="0" err="1">
                <a:solidFill>
                  <a:srgbClr val="FF0000"/>
                </a:solidFill>
                <a:latin typeface="Sakkal Majalla" pitchFamily="2" charset="-78"/>
                <a:cs typeface="Sakkal Majalla" pitchFamily="2" charset="-78"/>
              </a:rPr>
              <a:t>الحوكمة</a:t>
            </a:r>
            <a:r>
              <a:rPr lang="ar-TN" sz="3600" b="1" dirty="0">
                <a:solidFill>
                  <a:srgbClr val="FF0000"/>
                </a:solidFill>
                <a:latin typeface="Sakkal Majalla" pitchFamily="2" charset="-78"/>
                <a:cs typeface="Sakkal Majalla" pitchFamily="2" charset="-78"/>
              </a:rPr>
              <a:t> </a:t>
            </a:r>
            <a:r>
              <a:rPr lang="ar-TN" sz="3600" b="1" dirty="0" smtClean="0">
                <a:solidFill>
                  <a:srgbClr val="FF0000"/>
                </a:solidFill>
                <a:latin typeface="Sakkal Majalla" pitchFamily="2" charset="-78"/>
                <a:cs typeface="Sakkal Majalla" pitchFamily="2" charset="-78"/>
              </a:rPr>
              <a:t>وهيكلة </a:t>
            </a:r>
            <a:r>
              <a:rPr lang="ar-TN" sz="3600" b="1" dirty="0">
                <a:solidFill>
                  <a:srgbClr val="FF0000"/>
                </a:solidFill>
                <a:latin typeface="Sakkal Majalla" pitchFamily="2" charset="-78"/>
                <a:cs typeface="Sakkal Majalla" pitchFamily="2" charset="-78"/>
              </a:rPr>
              <a:t>اللجان المختصة</a:t>
            </a:r>
            <a:endParaRPr lang="fr-FR" sz="3600" b="1" dirty="0">
              <a:solidFill>
                <a:srgbClr val="FF0000"/>
              </a:solidFill>
              <a:latin typeface="Sakkal Majalla" pitchFamily="2" charset="-78"/>
              <a:cs typeface="Sakkal Majalla" pitchFamily="2" charset="-78"/>
            </a:endParaRPr>
          </a:p>
        </p:txBody>
      </p:sp>
      <p:sp>
        <p:nvSpPr>
          <p:cNvPr id="40" name="ZoneTexte 39"/>
          <p:cNvSpPr txBox="1"/>
          <p:nvPr/>
        </p:nvSpPr>
        <p:spPr>
          <a:xfrm>
            <a:off x="3797968" y="1584026"/>
            <a:ext cx="1944000" cy="461665"/>
          </a:xfrm>
          <a:prstGeom prst="rect">
            <a:avLst/>
          </a:prstGeom>
          <a:solidFill>
            <a:schemeClr val="bg2">
              <a:lumMod val="75000"/>
            </a:schemeClr>
          </a:solidFill>
        </p:spPr>
        <p:txBody>
          <a:bodyPr wrap="square" rtlCol="0" anchor="ctr">
            <a:spAutoFit/>
          </a:bodyPr>
          <a:lstStyle/>
          <a:p>
            <a:pPr lvl="0" algn="ctr"/>
            <a:r>
              <a:rPr lang="ar-SA" sz="2400" b="1" dirty="0">
                <a:solidFill>
                  <a:schemeClr val="bg1"/>
                </a:solidFill>
                <a:latin typeface="Sakkal Majalla" pitchFamily="2" charset="-78"/>
                <a:cs typeface="Sakkal Majalla" pitchFamily="2" charset="-78"/>
              </a:rPr>
              <a:t>لجنة قيادة</a:t>
            </a:r>
            <a:endParaRPr lang="fr-FR" sz="2400" b="1" dirty="0">
              <a:solidFill>
                <a:schemeClr val="bg1"/>
              </a:solidFill>
              <a:latin typeface="Sakkal Majalla" pitchFamily="2" charset="-78"/>
              <a:cs typeface="Sakkal Majalla" pitchFamily="2" charset="-78"/>
            </a:endParaRPr>
          </a:p>
        </p:txBody>
      </p:sp>
      <p:cxnSp>
        <p:nvCxnSpPr>
          <p:cNvPr id="41" name="Connecteur droit 40"/>
          <p:cNvCxnSpPr/>
          <p:nvPr/>
        </p:nvCxnSpPr>
        <p:spPr>
          <a:xfrm>
            <a:off x="4787548" y="1460299"/>
            <a:ext cx="0" cy="108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50643096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p:cNvGraphicFramePr>
          <p:nvPr>
            <p:custDataLst>
              <p:tags r:id="rId2"/>
            </p:custDataLst>
            <p:extLst/>
          </p:nvPr>
        </p:nvGraphicFramePr>
        <p:xfrm>
          <a:off x="1587" y="1588"/>
          <a:ext cx="1587" cy="1587"/>
        </p:xfrm>
        <a:graphic>
          <a:graphicData uri="http://schemas.openxmlformats.org/presentationml/2006/ole">
            <p:oleObj spid="_x0000_s183306" name="think-cell Slide" r:id="rId5" imgW="360" imgH="360" progId="">
              <p:embed/>
            </p:oleObj>
          </a:graphicData>
        </a:graphic>
      </p:graphicFrame>
      <p:sp>
        <p:nvSpPr>
          <p:cNvPr id="7" name="ZoneTexte 6"/>
          <p:cNvSpPr txBox="1"/>
          <p:nvPr/>
        </p:nvSpPr>
        <p:spPr>
          <a:xfrm>
            <a:off x="958609" y="226081"/>
            <a:ext cx="7429552" cy="523220"/>
          </a:xfrm>
          <a:prstGeom prst="rect">
            <a:avLst/>
          </a:prstGeom>
          <a:noFill/>
        </p:spPr>
        <p:txBody>
          <a:bodyPr wrap="square" rtlCol="0">
            <a:spAutoFit/>
          </a:bodyPr>
          <a:lstStyle/>
          <a:p>
            <a:pPr algn="ctr" rtl="1"/>
            <a:r>
              <a:rPr lang="ar-EG" sz="2800" dirty="0" smtClean="0">
                <a:solidFill>
                  <a:srgbClr val="C00000"/>
                </a:solidFill>
                <a:latin typeface="Sakkal Majalla" panose="02000000000000000000" pitchFamily="2" charset="-78"/>
                <a:cs typeface="Sakkal Majalla" panose="02000000000000000000" pitchFamily="2" charset="-78"/>
              </a:rPr>
              <a:t>أهم </a:t>
            </a:r>
            <a:r>
              <a:rPr lang="ar-EG" sz="2800" dirty="0">
                <a:solidFill>
                  <a:srgbClr val="C00000"/>
                </a:solidFill>
                <a:latin typeface="Sakkal Majalla" panose="02000000000000000000" pitchFamily="2" charset="-78"/>
                <a:cs typeface="Sakkal Majalla" panose="02000000000000000000" pitchFamily="2" charset="-78"/>
              </a:rPr>
              <a:t>الاصلاحات المسجلة من طرف فريق </a:t>
            </a:r>
            <a:r>
              <a:rPr lang="fr-FR" sz="2800" dirty="0" err="1">
                <a:solidFill>
                  <a:srgbClr val="C00000"/>
                </a:solidFill>
                <a:latin typeface="Sakkal Majalla" panose="02000000000000000000" pitchFamily="2" charset="-78"/>
                <a:cs typeface="Sakkal Majalla" panose="02000000000000000000" pitchFamily="2" charset="-78"/>
              </a:rPr>
              <a:t>Doing</a:t>
            </a:r>
            <a:r>
              <a:rPr lang="fr-FR" sz="2800" dirty="0">
                <a:solidFill>
                  <a:srgbClr val="C00000"/>
                </a:solidFill>
                <a:latin typeface="Sakkal Majalla" panose="02000000000000000000" pitchFamily="2" charset="-78"/>
                <a:cs typeface="Sakkal Majalla" panose="02000000000000000000" pitchFamily="2" charset="-78"/>
              </a:rPr>
              <a:t> Business</a:t>
            </a:r>
          </a:p>
        </p:txBody>
      </p:sp>
      <p:sp>
        <p:nvSpPr>
          <p:cNvPr id="5" name="AutoShape 26"/>
          <p:cNvSpPr>
            <a:spLocks noChangeArrowheads="1"/>
          </p:cNvSpPr>
          <p:nvPr/>
        </p:nvSpPr>
        <p:spPr bwMode="auto">
          <a:xfrm>
            <a:off x="499767" y="1062758"/>
            <a:ext cx="5400000" cy="1925217"/>
          </a:xfrm>
          <a:prstGeom prst="rect">
            <a:avLst/>
          </a:prstGeom>
          <a:solidFill>
            <a:schemeClr val="bg1"/>
          </a:solidFill>
          <a:ln w="9525" algn="ctr">
            <a:solidFill>
              <a:srgbClr val="C00000"/>
            </a:solidFill>
            <a:prstDash val="solid"/>
            <a:round/>
            <a:headEnd/>
            <a:tailEnd/>
          </a:ln>
        </p:spPr>
        <p:txBody>
          <a:bodyPr lIns="107994" tIns="107994" rIns="107994" bIns="107994" anchor="ctr"/>
          <a:lstStyle/>
          <a:p>
            <a:pPr algn="just" defTabSz="1911350" rtl="1">
              <a:spcAft>
                <a:spcPts val="600"/>
              </a:spcAft>
              <a:buClr>
                <a:srgbClr val="C00000"/>
              </a:buClr>
              <a:buSzPct val="110000"/>
              <a:buFont typeface="Wingdings" panose="05000000000000000000" pitchFamily="2" charset="2"/>
              <a:buChar char="Ø"/>
              <a:tabLst>
                <a:tab pos="533400" algn="l"/>
                <a:tab pos="7572376" algn="r"/>
                <a:tab pos="8572500" algn="l"/>
                <a:tab pos="11350626" algn="l"/>
              </a:tabLst>
            </a:pPr>
            <a:r>
              <a:rPr lang="ar-SA" sz="2000" b="1" dirty="0" smtClean="0">
                <a:latin typeface="Sakkal Majalla" pitchFamily="2" charset="-78"/>
                <a:cs typeface="Sakkal Majalla" pitchFamily="2" charset="-78"/>
              </a:rPr>
              <a:t>تم </a:t>
            </a:r>
            <a:r>
              <a:rPr lang="ar-SA" sz="2000" b="1" dirty="0">
                <a:latin typeface="Sakkal Majalla" pitchFamily="2" charset="-78"/>
                <a:cs typeface="Sakkal Majalla" pitchFamily="2" charset="-78"/>
              </a:rPr>
              <a:t>تعزيز المخاطب الوحيد على مستوى وكالة النهوض بالصناعة والتجديد بوضع خدمات جديدة</a:t>
            </a:r>
            <a:r>
              <a:rPr lang="fr-FR" sz="2000" b="1" dirty="0">
                <a:latin typeface="Sakkal Majalla" pitchFamily="2" charset="-78"/>
                <a:cs typeface="Sakkal Majalla" pitchFamily="2" charset="-78"/>
              </a:rPr>
              <a:t>: - </a:t>
            </a:r>
            <a:r>
              <a:rPr lang="ar-SA" sz="2000" b="1" dirty="0">
                <a:latin typeface="Sakkal Majalla" pitchFamily="2" charset="-78"/>
                <a:cs typeface="Sakkal Majalla" pitchFamily="2" charset="-78"/>
              </a:rPr>
              <a:t>الاخراط بالصندوق الوطني للضمان الاجتماعي</a:t>
            </a:r>
            <a:r>
              <a:rPr lang="fr-FR" sz="2000" b="1" dirty="0">
                <a:latin typeface="Sakkal Majalla" pitchFamily="2" charset="-78"/>
                <a:cs typeface="Sakkal Majalla" pitchFamily="2" charset="-78"/>
              </a:rPr>
              <a:t>. - </a:t>
            </a:r>
            <a:r>
              <a:rPr lang="ar-SA" sz="2000" b="1" dirty="0">
                <a:latin typeface="Sakkal Majalla" pitchFamily="2" charset="-78"/>
                <a:cs typeface="Sakkal Majalla" pitchFamily="2" charset="-78"/>
              </a:rPr>
              <a:t>الاعلام بالمؤسسّة لدى تفقديّة الشغل</a:t>
            </a:r>
            <a:r>
              <a:rPr lang="fr-FR" sz="2000" b="1" dirty="0">
                <a:latin typeface="Sakkal Majalla" pitchFamily="2" charset="-78"/>
                <a:cs typeface="Sakkal Majalla" pitchFamily="2" charset="-78"/>
              </a:rPr>
              <a:t>. - </a:t>
            </a:r>
            <a:r>
              <a:rPr lang="ar-SA" sz="2000" b="1" dirty="0">
                <a:latin typeface="Sakkal Majalla" pitchFamily="2" charset="-78"/>
                <a:cs typeface="Sakkal Majalla" pitchFamily="2" charset="-78"/>
              </a:rPr>
              <a:t>تسليم ختم المؤسسّة</a:t>
            </a:r>
            <a:r>
              <a:rPr lang="fr-FR" sz="2000" b="1" dirty="0">
                <a:latin typeface="Sakkal Majalla" pitchFamily="2" charset="-78"/>
                <a:cs typeface="Sakkal Majalla" pitchFamily="2" charset="-78"/>
              </a:rPr>
              <a:t>. - </a:t>
            </a:r>
            <a:r>
              <a:rPr lang="ar-SA" sz="2000" b="1" dirty="0">
                <a:latin typeface="Sakkal Majalla" pitchFamily="2" charset="-78"/>
                <a:cs typeface="Sakkal Majalla" pitchFamily="2" charset="-78"/>
              </a:rPr>
              <a:t>خلاص </a:t>
            </a:r>
            <a:r>
              <a:rPr lang="ar-SA" sz="2000" b="1" dirty="0" err="1">
                <a:latin typeface="Sakkal Majalla" pitchFamily="2" charset="-78"/>
                <a:cs typeface="Sakkal Majalla" pitchFamily="2" charset="-78"/>
              </a:rPr>
              <a:t>معاليم</a:t>
            </a:r>
            <a:r>
              <a:rPr lang="ar-SA" sz="2000" b="1" dirty="0">
                <a:latin typeface="Sakkal Majalla" pitchFamily="2" charset="-78"/>
                <a:cs typeface="Sakkal Majalla" pitchFamily="2" charset="-78"/>
              </a:rPr>
              <a:t> تكوين </a:t>
            </a:r>
            <a:r>
              <a:rPr lang="ar-SA" sz="2000" b="1" dirty="0" smtClean="0">
                <a:latin typeface="Sakkal Majalla" pitchFamily="2" charset="-78"/>
                <a:cs typeface="Sakkal Majalla" pitchFamily="2" charset="-78"/>
              </a:rPr>
              <a:t>الشركة</a:t>
            </a:r>
            <a:endParaRPr lang="fr-FR" sz="2000" b="1" dirty="0" smtClean="0">
              <a:latin typeface="Sakkal Majalla" pitchFamily="2" charset="-78"/>
              <a:cs typeface="Sakkal Majalla" pitchFamily="2" charset="-78"/>
            </a:endParaRPr>
          </a:p>
          <a:p>
            <a:pPr algn="just" defTabSz="1911350" rtl="1">
              <a:spcAft>
                <a:spcPts val="600"/>
              </a:spcAft>
              <a:buClr>
                <a:srgbClr val="C00000"/>
              </a:buClr>
              <a:buSzPct val="110000"/>
              <a:buFont typeface="Wingdings" panose="05000000000000000000" pitchFamily="2" charset="2"/>
              <a:buChar char="Ø"/>
              <a:tabLst>
                <a:tab pos="533400" algn="l"/>
                <a:tab pos="7572376" algn="r"/>
                <a:tab pos="8572500" algn="l"/>
                <a:tab pos="11350626" algn="l"/>
              </a:tabLst>
            </a:pPr>
            <a:r>
              <a:rPr lang="ar-SA" sz="2000" b="1" dirty="0" smtClean="0">
                <a:latin typeface="Sakkal Majalla" pitchFamily="2" charset="-78"/>
                <a:cs typeface="Sakkal Majalla" pitchFamily="2" charset="-78"/>
              </a:rPr>
              <a:t> </a:t>
            </a:r>
            <a:r>
              <a:rPr lang="ar-SA" sz="2000" b="1" dirty="0">
                <a:latin typeface="Sakkal Majalla" pitchFamily="2" charset="-78"/>
                <a:cs typeface="Sakkal Majalla" pitchFamily="2" charset="-78"/>
              </a:rPr>
              <a:t>تقلّص عدد الإجراءات من 6 إلى 3 إجراءات</a:t>
            </a:r>
            <a:r>
              <a:rPr lang="fr-FR" sz="2000" b="1" dirty="0">
                <a:latin typeface="Sakkal Majalla" pitchFamily="2" charset="-78"/>
                <a:cs typeface="Sakkal Majalla" pitchFamily="2" charset="-78"/>
              </a:rPr>
              <a:t>.</a:t>
            </a:r>
            <a:endParaRPr lang="fr-FR" altLang="fr-FR" sz="2000" b="1" dirty="0">
              <a:latin typeface="Sakkal Majalla" pitchFamily="2" charset="-78"/>
              <a:cs typeface="Sakkal Majalla" pitchFamily="2" charset="-78"/>
            </a:endParaRPr>
          </a:p>
        </p:txBody>
      </p:sp>
      <p:sp>
        <p:nvSpPr>
          <p:cNvPr id="8" name="AutoShape 26"/>
          <p:cNvSpPr>
            <a:spLocks noChangeArrowheads="1"/>
          </p:cNvSpPr>
          <p:nvPr/>
        </p:nvSpPr>
        <p:spPr bwMode="auto">
          <a:xfrm>
            <a:off x="6162185" y="1049994"/>
            <a:ext cx="2376000" cy="1925217"/>
          </a:xfrm>
          <a:prstGeom prst="rect">
            <a:avLst/>
          </a:prstGeom>
          <a:solidFill>
            <a:srgbClr val="C00000"/>
          </a:solidFill>
          <a:ln w="9525" algn="ctr">
            <a:solidFill>
              <a:srgbClr val="C00000"/>
            </a:solidFill>
            <a:prstDash val="solid"/>
            <a:round/>
            <a:headEnd/>
            <a:tailEnd/>
          </a:ln>
        </p:spPr>
        <p:txBody>
          <a:bodyPr lIns="107994" tIns="107994" rIns="107994" bIns="107994" anchor="ctr"/>
          <a:lstStyle/>
          <a:p>
            <a:pPr marL="104774" algn="ctr" defTabSz="1911350" rtl="1">
              <a:spcAft>
                <a:spcPts val="0"/>
              </a:spcAft>
              <a:buClr>
                <a:srgbClr val="C00000"/>
              </a:buClr>
              <a:buSzPct val="110000"/>
              <a:tabLst>
                <a:tab pos="533400" algn="l"/>
                <a:tab pos="7572376" algn="r"/>
                <a:tab pos="8572500" algn="l"/>
                <a:tab pos="11350626" algn="l"/>
              </a:tabLst>
            </a:pPr>
            <a:r>
              <a:rPr lang="ar-TN" sz="2400" dirty="0">
                <a:solidFill>
                  <a:schemeClr val="bg1"/>
                </a:solidFill>
                <a:latin typeface="Sakkal Majalla" panose="02000000000000000000" pitchFamily="2" charset="-78"/>
                <a:cs typeface="Sakkal Majalla" panose="02000000000000000000" pitchFamily="2" charset="-78"/>
              </a:rPr>
              <a:t>إحداث المشروع</a:t>
            </a:r>
            <a:endParaRPr lang="fr-FR" altLang="fr-FR" sz="2400" dirty="0">
              <a:solidFill>
                <a:schemeClr val="bg1"/>
              </a:solidFill>
              <a:latin typeface="Sakkal Majalla" panose="02000000000000000000" pitchFamily="2" charset="-78"/>
              <a:cs typeface="Sakkal Majalla" panose="02000000000000000000" pitchFamily="2" charset="-78"/>
            </a:endParaRPr>
          </a:p>
        </p:txBody>
      </p:sp>
      <p:sp>
        <p:nvSpPr>
          <p:cNvPr id="18" name="AutoShape 26"/>
          <p:cNvSpPr>
            <a:spLocks noChangeArrowheads="1"/>
          </p:cNvSpPr>
          <p:nvPr/>
        </p:nvSpPr>
        <p:spPr bwMode="auto">
          <a:xfrm>
            <a:off x="6162185" y="3478895"/>
            <a:ext cx="2376000" cy="2321403"/>
          </a:xfrm>
          <a:prstGeom prst="rect">
            <a:avLst/>
          </a:prstGeom>
          <a:solidFill>
            <a:srgbClr val="C00000"/>
          </a:solidFill>
          <a:ln w="9525" algn="ctr">
            <a:solidFill>
              <a:srgbClr val="C00000"/>
            </a:solidFill>
            <a:prstDash val="solid"/>
            <a:round/>
            <a:headEnd/>
            <a:tailEnd/>
          </a:ln>
        </p:spPr>
        <p:txBody>
          <a:bodyPr lIns="107994" tIns="107994" rIns="107994" bIns="107994" anchor="ctr"/>
          <a:lstStyle/>
          <a:p>
            <a:pPr marL="104774" algn="ctr" defTabSz="1911350" rtl="1">
              <a:lnSpc>
                <a:spcPct val="150000"/>
              </a:lnSpc>
              <a:spcAft>
                <a:spcPts val="0"/>
              </a:spcAft>
              <a:buClr>
                <a:srgbClr val="C00000"/>
              </a:buClr>
              <a:buSzPct val="110000"/>
              <a:tabLst>
                <a:tab pos="533400" algn="l"/>
                <a:tab pos="7572376" algn="r"/>
                <a:tab pos="8572500" algn="l"/>
                <a:tab pos="11350626" algn="l"/>
              </a:tabLst>
            </a:pPr>
            <a:r>
              <a:rPr lang="ar-SA" sz="2400" dirty="0">
                <a:solidFill>
                  <a:schemeClr val="bg1"/>
                </a:solidFill>
                <a:latin typeface="Sakkal Majalla" panose="02000000000000000000" pitchFamily="2" charset="-78"/>
                <a:cs typeface="Sakkal Majalla" panose="02000000000000000000" pitchFamily="2" charset="-78"/>
              </a:rPr>
              <a:t>تراخيص البناء</a:t>
            </a:r>
            <a:endParaRPr lang="fr-FR" sz="2400" dirty="0">
              <a:solidFill>
                <a:schemeClr val="bg1"/>
              </a:solidFill>
              <a:latin typeface="Sakkal Majalla" panose="02000000000000000000" pitchFamily="2" charset="-78"/>
              <a:cs typeface="Sakkal Majalla" panose="02000000000000000000" pitchFamily="2" charset="-78"/>
            </a:endParaRPr>
          </a:p>
        </p:txBody>
      </p:sp>
      <p:sp>
        <p:nvSpPr>
          <p:cNvPr id="20" name="AutoShape 26"/>
          <p:cNvSpPr>
            <a:spLocks noChangeArrowheads="1"/>
          </p:cNvSpPr>
          <p:nvPr/>
        </p:nvSpPr>
        <p:spPr bwMode="auto">
          <a:xfrm>
            <a:off x="499767" y="3493933"/>
            <a:ext cx="5400000" cy="2306365"/>
          </a:xfrm>
          <a:prstGeom prst="rect">
            <a:avLst/>
          </a:prstGeom>
          <a:solidFill>
            <a:schemeClr val="bg1"/>
          </a:solidFill>
          <a:ln w="9525" algn="ctr">
            <a:solidFill>
              <a:srgbClr val="C00000"/>
            </a:solidFill>
            <a:prstDash val="solid"/>
            <a:round/>
            <a:headEnd/>
            <a:tailEnd/>
          </a:ln>
        </p:spPr>
        <p:txBody>
          <a:bodyPr lIns="107994" tIns="107994" rIns="107994" bIns="107994" anchor="ctr"/>
          <a:lstStyle/>
          <a:p>
            <a:pPr algn="just" defTabSz="1911350" rtl="1">
              <a:spcAft>
                <a:spcPts val="600"/>
              </a:spcAft>
              <a:buClr>
                <a:srgbClr val="C00000"/>
              </a:buClr>
              <a:buSzPct val="110000"/>
              <a:buFont typeface="Wingdings" panose="05000000000000000000" pitchFamily="2" charset="2"/>
              <a:buChar char="Ø"/>
              <a:tabLst>
                <a:tab pos="533400" algn="l"/>
                <a:tab pos="7572376" algn="r"/>
                <a:tab pos="8572500" algn="l"/>
                <a:tab pos="11350626" algn="l"/>
              </a:tabLst>
            </a:pPr>
            <a:r>
              <a:rPr lang="ar-SA" sz="2000" b="1" dirty="0">
                <a:latin typeface="Sakkal Majalla" pitchFamily="2" charset="-78"/>
                <a:cs typeface="Sakkal Majalla" pitchFamily="2" charset="-78"/>
              </a:rPr>
              <a:t>تم ربط بلدية تونس بمصالح الادارة العامة للجباية ممّا مكّن من التقليص في الوثائق المقَدّمة</a:t>
            </a:r>
            <a:r>
              <a:rPr lang="fr-FR" sz="2000" b="1" dirty="0">
                <a:latin typeface="Sakkal Majalla" pitchFamily="2" charset="-78"/>
                <a:cs typeface="Sakkal Majalla" pitchFamily="2" charset="-78"/>
              </a:rPr>
              <a:t>. - </a:t>
            </a:r>
            <a:r>
              <a:rPr lang="ar-SA" sz="2000" b="1" dirty="0">
                <a:latin typeface="Sakkal Majalla" pitchFamily="2" charset="-78"/>
                <a:cs typeface="Sakkal Majalla" pitchFamily="2" charset="-78"/>
              </a:rPr>
              <a:t>إنشاء موقع جديد على الإنترنت اضفى مزيدا من الشفافية على تصاريح البناء وسهّل الوصول إلى المعلومة</a:t>
            </a:r>
            <a:r>
              <a:rPr lang="fr-FR" sz="2000" b="1" dirty="0">
                <a:latin typeface="Sakkal Majalla" pitchFamily="2" charset="-78"/>
                <a:cs typeface="Sakkal Majalla" pitchFamily="2" charset="-78"/>
              </a:rPr>
              <a:t>. - </a:t>
            </a:r>
            <a:r>
              <a:rPr lang="ar-SA" sz="2000" b="1" dirty="0">
                <a:latin typeface="Sakkal Majalla" pitchFamily="2" charset="-78"/>
                <a:cs typeface="Sakkal Majalla" pitchFamily="2" charset="-78"/>
              </a:rPr>
              <a:t>تعزيز مؤهلات المهندسين الذين يراقبون البنايات مكّن من تحسين مؤشر جودة البناء</a:t>
            </a:r>
            <a:r>
              <a:rPr lang="fr-FR" sz="2000" b="1" dirty="0" smtClean="0">
                <a:latin typeface="Sakkal Majalla" pitchFamily="2" charset="-78"/>
                <a:cs typeface="Sakkal Majalla" pitchFamily="2" charset="-78"/>
              </a:rPr>
              <a:t>.</a:t>
            </a:r>
          </a:p>
          <a:p>
            <a:pPr lvl="0" algn="just" defTabSz="1911350" rtl="1">
              <a:spcAft>
                <a:spcPts val="600"/>
              </a:spcAft>
              <a:buClr>
                <a:srgbClr val="C00000"/>
              </a:buClr>
              <a:buSzPct val="110000"/>
              <a:buFont typeface="Wingdings" panose="05000000000000000000" pitchFamily="2" charset="2"/>
              <a:buChar char="Ø"/>
              <a:tabLst>
                <a:tab pos="533400" algn="l"/>
                <a:tab pos="7572376" algn="r"/>
                <a:tab pos="8572500" algn="l"/>
                <a:tab pos="11350626" algn="l"/>
              </a:tabLst>
            </a:pPr>
            <a:r>
              <a:rPr lang="ar-SA" sz="2000" b="1" dirty="0" smtClean="0">
                <a:latin typeface="Sakkal Majalla" pitchFamily="2" charset="-78"/>
                <a:cs typeface="Sakkal Majalla" pitchFamily="2" charset="-78"/>
              </a:rPr>
              <a:t> </a:t>
            </a:r>
            <a:r>
              <a:rPr lang="ar-SA" sz="2000" b="1" dirty="0">
                <a:latin typeface="Sakkal Majalla" pitchFamily="2" charset="-78"/>
                <a:cs typeface="Sakkal Majalla" pitchFamily="2" charset="-78"/>
              </a:rPr>
              <a:t>تقلّص عدد الإجراءات من 17 إلى 14 اجراء</a:t>
            </a:r>
            <a:r>
              <a:rPr lang="fr-FR" sz="2000" b="1" dirty="0" smtClean="0">
                <a:latin typeface="Sakkal Majalla" pitchFamily="2" charset="-78"/>
                <a:cs typeface="Sakkal Majalla" pitchFamily="2" charset="-78"/>
              </a:rPr>
              <a:t>.</a:t>
            </a:r>
            <a:endParaRPr lang="fr-FR" sz="2000" b="1" dirty="0">
              <a:latin typeface="Sakkal Majalla" pitchFamily="2" charset="-78"/>
              <a:cs typeface="Sakkal Majalla" pitchFamily="2" charset="-78"/>
            </a:endParaRPr>
          </a:p>
        </p:txBody>
      </p:sp>
    </p:spTree>
    <p:extLst>
      <p:ext uri="{BB962C8B-B14F-4D97-AF65-F5344CB8AC3E}">
        <p14:creationId xmlns:p14="http://schemas.microsoft.com/office/powerpoint/2010/main" xmlns="" val="193380368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p:cNvGraphicFramePr>
          <p:nvPr>
            <p:custDataLst>
              <p:tags r:id="rId2"/>
            </p:custDataLst>
            <p:extLst/>
          </p:nvPr>
        </p:nvGraphicFramePr>
        <p:xfrm>
          <a:off x="1587" y="1588"/>
          <a:ext cx="1587" cy="1587"/>
        </p:xfrm>
        <a:graphic>
          <a:graphicData uri="http://schemas.openxmlformats.org/presentationml/2006/ole">
            <p:oleObj spid="_x0000_s184330" name="think-cell Slide" r:id="rId5" imgW="360" imgH="360" progId="">
              <p:embed/>
            </p:oleObj>
          </a:graphicData>
        </a:graphic>
      </p:graphicFrame>
      <p:sp>
        <p:nvSpPr>
          <p:cNvPr id="7" name="ZoneTexte 6"/>
          <p:cNvSpPr txBox="1"/>
          <p:nvPr/>
        </p:nvSpPr>
        <p:spPr>
          <a:xfrm>
            <a:off x="958609" y="226081"/>
            <a:ext cx="7429552" cy="523220"/>
          </a:xfrm>
          <a:prstGeom prst="rect">
            <a:avLst/>
          </a:prstGeom>
          <a:noFill/>
        </p:spPr>
        <p:txBody>
          <a:bodyPr wrap="square" rtlCol="0">
            <a:spAutoFit/>
          </a:bodyPr>
          <a:lstStyle/>
          <a:p>
            <a:pPr algn="ctr" rtl="1"/>
            <a:r>
              <a:rPr lang="ar-EG" sz="2800" dirty="0">
                <a:solidFill>
                  <a:srgbClr val="C00000"/>
                </a:solidFill>
                <a:latin typeface="Sakkal Majalla" panose="02000000000000000000" pitchFamily="2" charset="-78"/>
                <a:cs typeface="Sakkal Majalla" panose="02000000000000000000" pitchFamily="2" charset="-78"/>
              </a:rPr>
              <a:t>أهم الاصلاحات المسجلة من طرف فريق </a:t>
            </a:r>
            <a:r>
              <a:rPr lang="fr-FR" sz="2800" dirty="0" err="1">
                <a:solidFill>
                  <a:srgbClr val="C00000"/>
                </a:solidFill>
                <a:latin typeface="Sakkal Majalla" panose="02000000000000000000" pitchFamily="2" charset="-78"/>
                <a:cs typeface="Sakkal Majalla" panose="02000000000000000000" pitchFamily="2" charset="-78"/>
              </a:rPr>
              <a:t>Doing</a:t>
            </a:r>
            <a:r>
              <a:rPr lang="fr-FR" sz="2800" dirty="0">
                <a:solidFill>
                  <a:srgbClr val="C00000"/>
                </a:solidFill>
                <a:latin typeface="Sakkal Majalla" panose="02000000000000000000" pitchFamily="2" charset="-78"/>
                <a:cs typeface="Sakkal Majalla" panose="02000000000000000000" pitchFamily="2" charset="-78"/>
              </a:rPr>
              <a:t> Business</a:t>
            </a:r>
          </a:p>
        </p:txBody>
      </p:sp>
      <p:sp>
        <p:nvSpPr>
          <p:cNvPr id="12" name="AutoShape 26"/>
          <p:cNvSpPr>
            <a:spLocks noChangeArrowheads="1"/>
          </p:cNvSpPr>
          <p:nvPr/>
        </p:nvSpPr>
        <p:spPr bwMode="auto">
          <a:xfrm>
            <a:off x="6250763" y="1380438"/>
            <a:ext cx="2376000" cy="1392072"/>
          </a:xfrm>
          <a:prstGeom prst="rect">
            <a:avLst/>
          </a:prstGeom>
          <a:solidFill>
            <a:srgbClr val="C00000"/>
          </a:solidFill>
          <a:ln w="9525" algn="ctr">
            <a:solidFill>
              <a:srgbClr val="C00000"/>
            </a:solidFill>
            <a:prstDash val="solid"/>
            <a:round/>
            <a:headEnd/>
            <a:tailEnd/>
          </a:ln>
        </p:spPr>
        <p:txBody>
          <a:bodyPr lIns="107994" tIns="107994" rIns="107994" bIns="107994" anchor="ctr"/>
          <a:lstStyle/>
          <a:p>
            <a:pPr algn="ctr" defTabSz="1911350" rtl="1">
              <a:lnSpc>
                <a:spcPct val="120000"/>
              </a:lnSpc>
              <a:spcAft>
                <a:spcPts val="1200"/>
              </a:spcAft>
              <a:buClr>
                <a:srgbClr val="C00000"/>
              </a:buClr>
              <a:buSzPct val="110000"/>
              <a:tabLst>
                <a:tab pos="533400" algn="l"/>
                <a:tab pos="7572376" algn="r"/>
                <a:tab pos="8572500" algn="l"/>
                <a:tab pos="11350626" algn="l"/>
              </a:tabLst>
            </a:pPr>
            <a:r>
              <a:rPr lang="ar-EG" sz="2400" dirty="0" smtClean="0">
                <a:solidFill>
                  <a:schemeClr val="bg1"/>
                </a:solidFill>
                <a:latin typeface="Sakkal Majalla" panose="02000000000000000000" pitchFamily="2" charset="-78"/>
                <a:cs typeface="Sakkal Majalla" panose="02000000000000000000" pitchFamily="2" charset="-78"/>
              </a:rPr>
              <a:t>دفع </a:t>
            </a:r>
            <a:r>
              <a:rPr lang="ar-EG" sz="2400" dirty="0">
                <a:solidFill>
                  <a:schemeClr val="bg1"/>
                </a:solidFill>
                <a:latin typeface="Sakkal Majalla" panose="02000000000000000000" pitchFamily="2" charset="-78"/>
                <a:cs typeface="Sakkal Majalla" panose="02000000000000000000" pitchFamily="2" charset="-78"/>
              </a:rPr>
              <a:t>الضرائب</a:t>
            </a:r>
            <a:endParaRPr lang="fr-FR" sz="2400" dirty="0">
              <a:solidFill>
                <a:schemeClr val="bg1"/>
              </a:solidFill>
              <a:latin typeface="Sakkal Majalla" panose="02000000000000000000" pitchFamily="2" charset="-78"/>
              <a:cs typeface="Sakkal Majalla" panose="02000000000000000000" pitchFamily="2" charset="-78"/>
            </a:endParaRPr>
          </a:p>
        </p:txBody>
      </p:sp>
      <p:sp>
        <p:nvSpPr>
          <p:cNvPr id="14" name="AutoShape 26"/>
          <p:cNvSpPr>
            <a:spLocks noChangeArrowheads="1"/>
          </p:cNvSpPr>
          <p:nvPr/>
        </p:nvSpPr>
        <p:spPr bwMode="auto">
          <a:xfrm>
            <a:off x="6250763" y="3280536"/>
            <a:ext cx="2376000" cy="1260000"/>
          </a:xfrm>
          <a:prstGeom prst="rect">
            <a:avLst/>
          </a:prstGeom>
          <a:solidFill>
            <a:srgbClr val="C00000"/>
          </a:solidFill>
          <a:ln w="9525" algn="ctr">
            <a:solidFill>
              <a:srgbClr val="C00000"/>
            </a:solidFill>
            <a:prstDash val="solid"/>
            <a:round/>
            <a:headEnd/>
            <a:tailEnd/>
          </a:ln>
        </p:spPr>
        <p:txBody>
          <a:bodyPr lIns="107994" tIns="107994" rIns="107994" bIns="107994" anchor="ctr"/>
          <a:lstStyle/>
          <a:p>
            <a:pPr algn="ctr" defTabSz="1911350" rtl="1">
              <a:lnSpc>
                <a:spcPct val="120000"/>
              </a:lnSpc>
              <a:spcAft>
                <a:spcPts val="1200"/>
              </a:spcAft>
              <a:buClr>
                <a:srgbClr val="C00000"/>
              </a:buClr>
              <a:buSzPct val="110000"/>
              <a:tabLst>
                <a:tab pos="533400" algn="l"/>
                <a:tab pos="7572376" algn="r"/>
                <a:tab pos="8572500" algn="l"/>
                <a:tab pos="11350626" algn="l"/>
              </a:tabLst>
            </a:pPr>
            <a:r>
              <a:rPr lang="ar-SA" sz="2400" dirty="0">
                <a:solidFill>
                  <a:schemeClr val="bg1"/>
                </a:solidFill>
              </a:rPr>
              <a:t>التجارة الحدودية </a:t>
            </a:r>
            <a:endParaRPr lang="fr-FR" sz="2400" dirty="0">
              <a:solidFill>
                <a:schemeClr val="bg1"/>
              </a:solidFill>
              <a:latin typeface="Sakkal Majalla" panose="02000000000000000000" pitchFamily="2" charset="-78"/>
              <a:cs typeface="Sakkal Majalla" panose="02000000000000000000" pitchFamily="2" charset="-78"/>
            </a:endParaRPr>
          </a:p>
        </p:txBody>
      </p:sp>
      <p:sp>
        <p:nvSpPr>
          <p:cNvPr id="15" name="AutoShape 26"/>
          <p:cNvSpPr>
            <a:spLocks noChangeArrowheads="1"/>
          </p:cNvSpPr>
          <p:nvPr/>
        </p:nvSpPr>
        <p:spPr bwMode="auto">
          <a:xfrm>
            <a:off x="517012" y="1380438"/>
            <a:ext cx="5400000" cy="1392072"/>
          </a:xfrm>
          <a:prstGeom prst="rect">
            <a:avLst/>
          </a:prstGeom>
          <a:solidFill>
            <a:schemeClr val="bg1"/>
          </a:solidFill>
          <a:ln w="9525" algn="ctr">
            <a:solidFill>
              <a:srgbClr val="C00000"/>
            </a:solidFill>
            <a:prstDash val="solid"/>
            <a:round/>
            <a:headEnd/>
            <a:tailEnd/>
          </a:ln>
        </p:spPr>
        <p:txBody>
          <a:bodyPr lIns="107994" tIns="107994" rIns="107994" bIns="107994" anchor="ctr"/>
          <a:lstStyle/>
          <a:p>
            <a:pPr algn="just" defTabSz="1911350" rtl="1">
              <a:spcAft>
                <a:spcPts val="600"/>
              </a:spcAft>
              <a:buClr>
                <a:srgbClr val="C00000"/>
              </a:buClr>
              <a:buSzPct val="110000"/>
              <a:buFont typeface="Wingdings" panose="05000000000000000000" pitchFamily="2" charset="2"/>
              <a:buChar char="Ø"/>
              <a:tabLst>
                <a:tab pos="533400" algn="l"/>
                <a:tab pos="7572376" algn="r"/>
                <a:tab pos="8572500" algn="l"/>
                <a:tab pos="11350626" algn="l"/>
              </a:tabLst>
            </a:pPr>
            <a:r>
              <a:rPr lang="fr-FR" sz="2000" b="1" dirty="0" smtClean="0">
                <a:latin typeface="Sakkal Majalla" pitchFamily="2" charset="-78"/>
                <a:cs typeface="Sakkal Majalla" pitchFamily="2" charset="-78"/>
              </a:rPr>
              <a:t> </a:t>
            </a:r>
            <a:r>
              <a:rPr lang="ar-SA" sz="2000" b="1" dirty="0">
                <a:latin typeface="Sakkal Majalla" pitchFamily="2" charset="-78"/>
                <a:cs typeface="Sakkal Majalla" pitchFamily="2" charset="-78"/>
              </a:rPr>
              <a:t>سمح لنا تنفيذ مشروع</a:t>
            </a:r>
            <a:r>
              <a:rPr lang="fr-FR" sz="2000" b="1" dirty="0">
                <a:latin typeface="Sakkal Majalla" pitchFamily="2" charset="-78"/>
                <a:cs typeface="Sakkal Majalla" pitchFamily="2" charset="-78"/>
              </a:rPr>
              <a:t> USAID </a:t>
            </a:r>
            <a:r>
              <a:rPr lang="fr-FR" sz="2000" b="1" dirty="0" err="1">
                <a:latin typeface="Sakkal Majalla" pitchFamily="2" charset="-78"/>
                <a:cs typeface="Sakkal Majalla" pitchFamily="2" charset="-78"/>
              </a:rPr>
              <a:t>Tunisia</a:t>
            </a:r>
            <a:r>
              <a:rPr lang="fr-FR" sz="2000" b="1" dirty="0">
                <a:latin typeface="Sakkal Majalla" pitchFamily="2" charset="-78"/>
                <a:cs typeface="Sakkal Majalla" pitchFamily="2" charset="-78"/>
              </a:rPr>
              <a:t> First </a:t>
            </a:r>
            <a:r>
              <a:rPr lang="ar-SA" sz="2000" b="1" dirty="0">
                <a:latin typeface="Sakkal Majalla" pitchFamily="2" charset="-78"/>
                <a:cs typeface="Sakkal Majalla" pitchFamily="2" charset="-78"/>
              </a:rPr>
              <a:t>مع الادارة </a:t>
            </a:r>
            <a:r>
              <a:rPr lang="ar-SA" sz="2000" b="1" dirty="0" err="1">
                <a:latin typeface="Sakkal Majalla" pitchFamily="2" charset="-78"/>
                <a:cs typeface="Sakkal Majalla" pitchFamily="2" charset="-78"/>
              </a:rPr>
              <a:t>الجبائيّة</a:t>
            </a:r>
            <a:r>
              <a:rPr lang="ar-SA" sz="2000" b="1" dirty="0">
                <a:latin typeface="Sakkal Majalla" pitchFamily="2" charset="-78"/>
                <a:cs typeface="Sakkal Majalla" pitchFamily="2" charset="-78"/>
              </a:rPr>
              <a:t> بتحسين إجراءات المراقبة </a:t>
            </a:r>
            <a:r>
              <a:rPr lang="ar-SA" sz="2000" b="1" dirty="0" err="1">
                <a:latin typeface="Sakkal Majalla" pitchFamily="2" charset="-78"/>
                <a:cs typeface="Sakkal Majalla" pitchFamily="2" charset="-78"/>
              </a:rPr>
              <a:t>الجبائيّة</a:t>
            </a:r>
            <a:r>
              <a:rPr lang="ar-SA" sz="2000" b="1" dirty="0">
                <a:latin typeface="Sakkal Majalla" pitchFamily="2" charset="-78"/>
                <a:cs typeface="Sakkal Majalla" pitchFamily="2" charset="-78"/>
              </a:rPr>
              <a:t>، الشيء الذي أثّر مباشرة على مؤشر الرقابة، أحد أهم مكوّنات مؤشّر دفع الضرائب</a:t>
            </a:r>
            <a:r>
              <a:rPr lang="ar-TN" sz="2000" b="1" dirty="0" smtClean="0">
                <a:latin typeface="Sakkal Majalla" pitchFamily="2" charset="-78"/>
                <a:cs typeface="Sakkal Majalla" pitchFamily="2" charset="-78"/>
              </a:rPr>
              <a:t>2016</a:t>
            </a:r>
            <a:endParaRPr lang="fr-FR" altLang="fr-FR" sz="2000" b="1" dirty="0">
              <a:latin typeface="Sakkal Majalla" pitchFamily="2" charset="-78"/>
              <a:cs typeface="Sakkal Majalla" pitchFamily="2" charset="-78"/>
            </a:endParaRPr>
          </a:p>
        </p:txBody>
      </p:sp>
      <p:sp>
        <p:nvSpPr>
          <p:cNvPr id="17" name="AutoShape 26"/>
          <p:cNvSpPr>
            <a:spLocks noChangeArrowheads="1"/>
          </p:cNvSpPr>
          <p:nvPr/>
        </p:nvSpPr>
        <p:spPr bwMode="auto">
          <a:xfrm>
            <a:off x="517012" y="3280536"/>
            <a:ext cx="5400000" cy="1260000"/>
          </a:xfrm>
          <a:prstGeom prst="rect">
            <a:avLst/>
          </a:prstGeom>
          <a:solidFill>
            <a:schemeClr val="bg1"/>
          </a:solidFill>
          <a:ln w="9525" algn="ctr">
            <a:solidFill>
              <a:srgbClr val="C00000"/>
            </a:solidFill>
            <a:prstDash val="solid"/>
            <a:round/>
            <a:headEnd/>
            <a:tailEnd/>
          </a:ln>
        </p:spPr>
        <p:txBody>
          <a:bodyPr lIns="107994" tIns="107994" rIns="107994" bIns="107994" anchor="ctr"/>
          <a:lstStyle/>
          <a:p>
            <a:pPr lvl="0" algn="just" defTabSz="1911350" rtl="1">
              <a:spcAft>
                <a:spcPts val="600"/>
              </a:spcAft>
              <a:buClr>
                <a:srgbClr val="C00000"/>
              </a:buClr>
              <a:buSzPct val="110000"/>
              <a:buFont typeface="Wingdings" panose="05000000000000000000" pitchFamily="2" charset="2"/>
              <a:buChar char="Ø"/>
              <a:tabLst>
                <a:tab pos="533400" algn="l"/>
                <a:tab pos="7572376" algn="r"/>
                <a:tab pos="8572500" algn="l"/>
                <a:tab pos="11350626" algn="l"/>
              </a:tabLst>
            </a:pPr>
            <a:r>
              <a:rPr lang="ar-SA" sz="2000" b="1" dirty="0" smtClean="0">
                <a:latin typeface="Sakkal Majalla" pitchFamily="2" charset="-78"/>
                <a:cs typeface="Sakkal Majalla" pitchFamily="2" charset="-78"/>
              </a:rPr>
              <a:t>تحسن </a:t>
            </a:r>
            <a:r>
              <a:rPr lang="ar-SA" sz="2000" b="1" dirty="0">
                <a:latin typeface="Sakkal Majalla" pitchFamily="2" charset="-78"/>
                <a:cs typeface="Sakkal Majalla" pitchFamily="2" charset="-78"/>
              </a:rPr>
              <a:t>في عدد الساعات اللازمة لإتمام عمليّة التصدير حيث نزلت من 50 ساعة إلى 15 ساعة</a:t>
            </a:r>
            <a:r>
              <a:rPr lang="fr-FR" sz="2000" b="1" dirty="0" smtClean="0">
                <a:latin typeface="Sakkal Majalla" pitchFamily="2" charset="-78"/>
                <a:cs typeface="Sakkal Majalla" pitchFamily="2" charset="-78"/>
              </a:rPr>
              <a:t>.</a:t>
            </a:r>
            <a:endParaRPr lang="fr-FR" b="1" dirty="0">
              <a:latin typeface="Sakkal Majalla" pitchFamily="2" charset="-78"/>
              <a:cs typeface="Sakkal Majalla" pitchFamily="2" charset="-78"/>
            </a:endParaRPr>
          </a:p>
        </p:txBody>
      </p:sp>
    </p:spTree>
    <p:extLst>
      <p:ext uri="{BB962C8B-B14F-4D97-AF65-F5344CB8AC3E}">
        <p14:creationId xmlns:p14="http://schemas.microsoft.com/office/powerpoint/2010/main" xmlns="" val="50927792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112273" y="337320"/>
            <a:ext cx="9144000" cy="430887"/>
          </a:xfrm>
          <a:prstGeom prst="rect">
            <a:avLst/>
          </a:prstGeom>
          <a:noFill/>
        </p:spPr>
        <p:txBody>
          <a:bodyPr wrap="square" rtlCol="0">
            <a:spAutoFit/>
          </a:bodyPr>
          <a:lstStyle/>
          <a:p>
            <a:pPr algn="ctr" rtl="1"/>
            <a:r>
              <a:rPr lang="ar-TN" sz="2200" b="1" dirty="0">
                <a:solidFill>
                  <a:srgbClr val="E51B2E"/>
                </a:solidFill>
                <a:latin typeface="Simplified Arabic" pitchFamily="18" charset="-78"/>
                <a:cs typeface="Simplified Arabic" pitchFamily="18" charset="-78"/>
              </a:rPr>
              <a:t>مسار </a:t>
            </a:r>
            <a:r>
              <a:rPr lang="ar-TN" sz="2200" b="1" dirty="0" smtClean="0">
                <a:solidFill>
                  <a:srgbClr val="E51B2E"/>
                </a:solidFill>
                <a:latin typeface="Simplified Arabic" pitchFamily="18" charset="-78"/>
                <a:cs typeface="Simplified Arabic" pitchFamily="18" charset="-78"/>
              </a:rPr>
              <a:t>اصدار القانون الافقي لتحسين مناخ الاستثمار</a:t>
            </a:r>
            <a:endParaRPr lang="fr-FR" sz="2200" b="1" dirty="0" smtClean="0">
              <a:solidFill>
                <a:srgbClr val="E51B2E"/>
              </a:solidFill>
              <a:latin typeface="Simplified Arabic" pitchFamily="18" charset="-78"/>
              <a:cs typeface="Simplified Arabic" pitchFamily="18" charset="-78"/>
            </a:endParaRPr>
          </a:p>
        </p:txBody>
      </p:sp>
      <p:sp>
        <p:nvSpPr>
          <p:cNvPr id="9" name="ZoneTexte 8"/>
          <p:cNvSpPr txBox="1"/>
          <p:nvPr/>
        </p:nvSpPr>
        <p:spPr>
          <a:xfrm>
            <a:off x="4805265" y="3340359"/>
            <a:ext cx="1754155" cy="382555"/>
          </a:xfrm>
          <a:prstGeom prst="rect">
            <a:avLst/>
          </a:prstGeom>
          <a:noFill/>
          <a:ln w="9525">
            <a:solidFill>
              <a:schemeClr val="bg1"/>
            </a:solidFill>
            <a:miter lim="800000"/>
            <a:headEnd/>
            <a:tailEnd/>
          </a:ln>
          <a:effectLst/>
          <a:extLst/>
        </p:spPr>
        <p:txBody>
          <a:bodyPr vert="horz" wrap="square" lIns="76200" tIns="76200" rIns="76200" bIns="76200" numCol="1" rtlCol="0" anchor="t" anchorCtr="0" compatLnSpc="1">
            <a:prstTxWarp prst="textNoShape">
              <a:avLst/>
            </a:prstTxWarp>
            <a:noAutofit/>
          </a:bodyPr>
          <a:lstStyle/>
          <a:p>
            <a:endParaRPr lang="fr-FR" sz="1200" dirty="0" err="1" smtClean="0">
              <a:solidFill>
                <a:schemeClr val="bg1"/>
              </a:solidFill>
            </a:endParaRPr>
          </a:p>
        </p:txBody>
      </p:sp>
      <p:sp>
        <p:nvSpPr>
          <p:cNvPr id="13" name="ZoneTexte 12"/>
          <p:cNvSpPr txBox="1"/>
          <p:nvPr/>
        </p:nvSpPr>
        <p:spPr>
          <a:xfrm>
            <a:off x="8051990" y="2699135"/>
            <a:ext cx="956555" cy="885259"/>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ctr"/>
            <a:r>
              <a:rPr lang="ar-SA" sz="1400" b="1" spc="-70" dirty="0">
                <a:solidFill>
                  <a:schemeClr val="bg1"/>
                </a:solidFill>
                <a:latin typeface="Simplified Arabic" panose="02020603050405020304" pitchFamily="18" charset="-78"/>
                <a:ea typeface="+mn-ea"/>
                <a:cs typeface="Simplified Arabic" panose="02020603050405020304" pitchFamily="18" charset="-78"/>
              </a:rPr>
              <a:t>السجل الوطني للمؤسسات</a:t>
            </a:r>
            <a:endParaRPr lang="fr-FR" sz="1400" b="1" spc="-70" dirty="0" err="1">
              <a:solidFill>
                <a:schemeClr val="bg1"/>
              </a:solidFill>
              <a:latin typeface="Simplified Arabic" panose="02020603050405020304" pitchFamily="18" charset="-78"/>
              <a:ea typeface="+mn-ea"/>
              <a:cs typeface="Simplified Arabic" panose="02020603050405020304" pitchFamily="18" charset="-78"/>
            </a:endParaRPr>
          </a:p>
        </p:txBody>
      </p:sp>
      <p:sp>
        <p:nvSpPr>
          <p:cNvPr id="20" name="ZoneTexte 19"/>
          <p:cNvSpPr txBox="1"/>
          <p:nvPr/>
        </p:nvSpPr>
        <p:spPr>
          <a:xfrm>
            <a:off x="7935686" y="3874321"/>
            <a:ext cx="956555" cy="880871"/>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ctr"/>
            <a:r>
              <a:rPr lang="ar-SA" sz="1400" b="1" spc="-70" dirty="0">
                <a:solidFill>
                  <a:schemeClr val="bg1"/>
                </a:solidFill>
                <a:latin typeface="Simplified Arabic" panose="02020603050405020304" pitchFamily="18" charset="-78"/>
                <a:ea typeface="+mn-ea"/>
                <a:cs typeface="Simplified Arabic" panose="02020603050405020304" pitchFamily="18" charset="-78"/>
              </a:rPr>
              <a:t>القانون المتعلق بالمؤسسات الناشئة</a:t>
            </a:r>
            <a:endParaRPr lang="fr-FR" sz="1400" b="1" spc="-70" dirty="0" err="1">
              <a:solidFill>
                <a:schemeClr val="bg1"/>
              </a:solidFill>
              <a:latin typeface="Simplified Arabic" panose="02020603050405020304" pitchFamily="18" charset="-78"/>
              <a:ea typeface="+mn-ea"/>
              <a:cs typeface="Simplified Arabic" panose="02020603050405020304" pitchFamily="18" charset="-78"/>
            </a:endParaRPr>
          </a:p>
        </p:txBody>
      </p:sp>
      <p:sp>
        <p:nvSpPr>
          <p:cNvPr id="33" name="ZoneTexte 32"/>
          <p:cNvSpPr txBox="1"/>
          <p:nvPr/>
        </p:nvSpPr>
        <p:spPr>
          <a:xfrm>
            <a:off x="7875436" y="5342006"/>
            <a:ext cx="1049861" cy="595778"/>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defPPr>
              <a:defRPr lang="en-US"/>
            </a:defPPr>
            <a:lvl1pPr algn="r">
              <a:defRPr sz="1400" b="1" spc="-70">
                <a:latin typeface="Simplified Arabic" panose="02020603050405020304" pitchFamily="18" charset="-78"/>
                <a:ea typeface="+mn-ea"/>
                <a:cs typeface="Simplified Arabic" panose="02020603050405020304" pitchFamily="18" charset="-78"/>
              </a:defRPr>
            </a:lvl1pPr>
          </a:lstStyle>
          <a:p>
            <a:pPr algn="ctr"/>
            <a:r>
              <a:rPr lang="ar-SA" dirty="0">
                <a:solidFill>
                  <a:schemeClr val="bg1"/>
                </a:solidFill>
              </a:rPr>
              <a:t>القانون الأساسي للميزانية</a:t>
            </a:r>
            <a:endParaRPr lang="fr-FR" dirty="0" err="1">
              <a:solidFill>
                <a:schemeClr val="bg1"/>
              </a:solidFill>
            </a:endParaRPr>
          </a:p>
        </p:txBody>
      </p:sp>
      <p:sp>
        <p:nvSpPr>
          <p:cNvPr id="42" name="ZoneTexte 41"/>
          <p:cNvSpPr txBox="1"/>
          <p:nvPr/>
        </p:nvSpPr>
        <p:spPr>
          <a:xfrm>
            <a:off x="3346592" y="2882134"/>
            <a:ext cx="1113135" cy="595778"/>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defPPr>
              <a:defRPr lang="en-US"/>
            </a:defPPr>
            <a:lvl1pPr algn="r">
              <a:defRPr sz="1400" b="1" spc="-70">
                <a:latin typeface="Simplified Arabic" panose="02020603050405020304" pitchFamily="18" charset="-78"/>
                <a:ea typeface="+mn-ea"/>
                <a:cs typeface="Simplified Arabic" panose="02020603050405020304" pitchFamily="18" charset="-78"/>
              </a:defRPr>
            </a:lvl1pPr>
          </a:lstStyle>
          <a:p>
            <a:pPr algn="ctr"/>
            <a:r>
              <a:rPr lang="ar-SA" dirty="0" smtClean="0">
                <a:solidFill>
                  <a:schemeClr val="bg1"/>
                </a:solidFill>
              </a:rPr>
              <a:t>المخطط الشمسي التونسي</a:t>
            </a:r>
            <a:endParaRPr lang="fr-FR" dirty="0" err="1">
              <a:solidFill>
                <a:schemeClr val="bg1"/>
              </a:solidFill>
            </a:endParaRPr>
          </a:p>
        </p:txBody>
      </p:sp>
      <p:sp>
        <p:nvSpPr>
          <p:cNvPr id="49" name="ZoneTexte 48"/>
          <p:cNvSpPr txBox="1"/>
          <p:nvPr/>
        </p:nvSpPr>
        <p:spPr>
          <a:xfrm>
            <a:off x="7950298" y="1222350"/>
            <a:ext cx="956555" cy="885259"/>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ctr"/>
            <a:r>
              <a:rPr lang="ar-TN" sz="1400" b="1" spc="-70" dirty="0" smtClean="0">
                <a:solidFill>
                  <a:schemeClr val="bg1"/>
                </a:solidFill>
                <a:latin typeface="Simplified Arabic" panose="02020603050405020304" pitchFamily="18" charset="-78"/>
                <a:ea typeface="+mn-ea"/>
                <a:cs typeface="Simplified Arabic" panose="02020603050405020304" pitchFamily="18" charset="-78"/>
              </a:rPr>
              <a:t>الامر الحكومي 417</a:t>
            </a:r>
            <a:endParaRPr lang="fr-FR" sz="1400" b="1" spc="-70" dirty="0" err="1">
              <a:solidFill>
                <a:schemeClr val="bg1"/>
              </a:solidFill>
              <a:latin typeface="Simplified Arabic" panose="02020603050405020304" pitchFamily="18" charset="-78"/>
              <a:ea typeface="+mn-ea"/>
              <a:cs typeface="Simplified Arabic" panose="02020603050405020304" pitchFamily="18" charset="-78"/>
            </a:endParaRPr>
          </a:p>
        </p:txBody>
      </p:sp>
      <p:sp>
        <p:nvSpPr>
          <p:cNvPr id="50" name="ZoneTexte 49"/>
          <p:cNvSpPr txBox="1"/>
          <p:nvPr/>
        </p:nvSpPr>
        <p:spPr>
          <a:xfrm>
            <a:off x="241541" y="1507209"/>
            <a:ext cx="8756016" cy="4893647"/>
          </a:xfrm>
          <a:prstGeom prst="rect">
            <a:avLst/>
          </a:prstGeom>
          <a:noFill/>
        </p:spPr>
        <p:txBody>
          <a:bodyPr wrap="square" rtlCol="0">
            <a:spAutoFit/>
          </a:bodyPr>
          <a:lstStyle/>
          <a:p>
            <a:pPr algn="r" rtl="1"/>
            <a:endParaRPr lang="ar-TN" sz="2400" dirty="0">
              <a:latin typeface="Sakkal Majalla" panose="02000000000000000000" pitchFamily="2" charset="-78"/>
              <a:cs typeface="Sakkal Majalla" panose="02000000000000000000" pitchFamily="2" charset="-78"/>
            </a:endParaRPr>
          </a:p>
          <a:p>
            <a:pPr algn="r" rtl="1"/>
            <a:endParaRPr lang="ar-TN" sz="2400" dirty="0" smtClean="0">
              <a:latin typeface="Sakkal Majalla" panose="02000000000000000000" pitchFamily="2" charset="-78"/>
              <a:cs typeface="Sakkal Majalla" panose="02000000000000000000" pitchFamily="2" charset="-78"/>
            </a:endParaRPr>
          </a:p>
          <a:p>
            <a:pPr algn="r" rtl="1"/>
            <a:endParaRPr lang="ar-TN" sz="2400" dirty="0">
              <a:latin typeface="Sakkal Majalla" panose="02000000000000000000" pitchFamily="2" charset="-78"/>
              <a:cs typeface="Sakkal Majalla" panose="02000000000000000000" pitchFamily="2" charset="-78"/>
            </a:endParaRPr>
          </a:p>
          <a:p>
            <a:pPr algn="r" rtl="1"/>
            <a:endParaRPr lang="ar-TN" sz="2400" dirty="0" smtClean="0">
              <a:latin typeface="Sakkal Majalla" panose="02000000000000000000" pitchFamily="2" charset="-78"/>
              <a:cs typeface="Sakkal Majalla" panose="02000000000000000000" pitchFamily="2" charset="-78"/>
            </a:endParaRPr>
          </a:p>
          <a:p>
            <a:pPr algn="r" rtl="1"/>
            <a:endParaRPr lang="ar-TN" sz="2400" dirty="0">
              <a:latin typeface="Sakkal Majalla" panose="02000000000000000000" pitchFamily="2" charset="-78"/>
              <a:cs typeface="Sakkal Majalla" panose="02000000000000000000" pitchFamily="2" charset="-78"/>
            </a:endParaRPr>
          </a:p>
          <a:p>
            <a:pPr algn="r" rtl="1"/>
            <a:endParaRPr lang="ar-TN" sz="2400" dirty="0" smtClean="0">
              <a:latin typeface="Sakkal Majalla" panose="02000000000000000000" pitchFamily="2" charset="-78"/>
              <a:cs typeface="Sakkal Majalla" panose="02000000000000000000" pitchFamily="2" charset="-78"/>
            </a:endParaRPr>
          </a:p>
          <a:p>
            <a:pPr algn="r" rtl="1"/>
            <a:endParaRPr lang="ar-TN" sz="2400" dirty="0">
              <a:latin typeface="Sakkal Majalla" panose="02000000000000000000" pitchFamily="2" charset="-78"/>
              <a:cs typeface="Sakkal Majalla" panose="02000000000000000000" pitchFamily="2" charset="-78"/>
            </a:endParaRPr>
          </a:p>
          <a:p>
            <a:pPr algn="r" rtl="1"/>
            <a:endParaRPr lang="ar-TN" sz="2400" dirty="0" smtClean="0">
              <a:latin typeface="Sakkal Majalla" panose="02000000000000000000" pitchFamily="2" charset="-78"/>
              <a:cs typeface="Sakkal Majalla" panose="02000000000000000000" pitchFamily="2" charset="-78"/>
            </a:endParaRPr>
          </a:p>
          <a:p>
            <a:pPr algn="r" rtl="1"/>
            <a:endParaRPr lang="ar-TN" sz="2400" dirty="0">
              <a:latin typeface="Sakkal Majalla" panose="02000000000000000000" pitchFamily="2" charset="-78"/>
              <a:cs typeface="Sakkal Majalla" panose="02000000000000000000" pitchFamily="2" charset="-78"/>
            </a:endParaRPr>
          </a:p>
          <a:p>
            <a:pPr algn="r" rtl="1"/>
            <a:endParaRPr lang="ar-TN" sz="2400" dirty="0" smtClean="0">
              <a:latin typeface="Sakkal Majalla" panose="02000000000000000000" pitchFamily="2" charset="-78"/>
              <a:cs typeface="Sakkal Majalla" panose="02000000000000000000" pitchFamily="2" charset="-78"/>
            </a:endParaRPr>
          </a:p>
          <a:p>
            <a:pPr algn="r" rtl="1"/>
            <a:endParaRPr lang="ar-TN" sz="2400" dirty="0">
              <a:latin typeface="Sakkal Majalla" panose="02000000000000000000" pitchFamily="2" charset="-78"/>
              <a:cs typeface="Sakkal Majalla" panose="02000000000000000000" pitchFamily="2" charset="-78"/>
            </a:endParaRPr>
          </a:p>
          <a:p>
            <a:pPr algn="r" rtl="1"/>
            <a:endParaRPr lang="ar-TN" sz="2400" dirty="0" smtClean="0">
              <a:latin typeface="Sakkal Majalla" panose="02000000000000000000" pitchFamily="2" charset="-78"/>
              <a:cs typeface="Sakkal Majalla" panose="02000000000000000000" pitchFamily="2" charset="-78"/>
            </a:endParaRPr>
          </a:p>
          <a:p>
            <a:pPr algn="r" rtl="1"/>
            <a:endParaRPr lang="fr-FR" sz="2400" dirty="0">
              <a:latin typeface="Sakkal Majalla" panose="02000000000000000000" pitchFamily="2" charset="-78"/>
              <a:cs typeface="Sakkal Majalla" panose="02000000000000000000" pitchFamily="2" charset="-78"/>
            </a:endParaRPr>
          </a:p>
        </p:txBody>
      </p:sp>
      <p:pic>
        <p:nvPicPr>
          <p:cNvPr id="5" name="Image 4"/>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310767" y="931652"/>
            <a:ext cx="6522466" cy="5149971"/>
          </a:xfrm>
          <a:prstGeom prst="rect">
            <a:avLst/>
          </a:prstGeom>
        </p:spPr>
      </p:pic>
    </p:spTree>
    <p:extLst>
      <p:ext uri="{BB962C8B-B14F-4D97-AF65-F5344CB8AC3E}">
        <p14:creationId xmlns:p14="http://schemas.microsoft.com/office/powerpoint/2010/main" xmlns="" val="322440118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112273" y="337320"/>
            <a:ext cx="9144000" cy="430887"/>
          </a:xfrm>
          <a:prstGeom prst="rect">
            <a:avLst/>
          </a:prstGeom>
          <a:noFill/>
        </p:spPr>
        <p:txBody>
          <a:bodyPr wrap="square" rtlCol="0">
            <a:spAutoFit/>
          </a:bodyPr>
          <a:lstStyle/>
          <a:p>
            <a:pPr algn="ctr" rtl="1"/>
            <a:r>
              <a:rPr lang="ar-TN" sz="2200" b="1" dirty="0">
                <a:solidFill>
                  <a:srgbClr val="E51B2E"/>
                </a:solidFill>
                <a:latin typeface="Simplified Arabic" pitchFamily="18" charset="-78"/>
                <a:cs typeface="Simplified Arabic" pitchFamily="18" charset="-78"/>
              </a:rPr>
              <a:t>مسار </a:t>
            </a:r>
            <a:r>
              <a:rPr lang="ar-TN" sz="2200" b="1" dirty="0" smtClean="0">
                <a:solidFill>
                  <a:srgbClr val="E51B2E"/>
                </a:solidFill>
                <a:latin typeface="Simplified Arabic" pitchFamily="18" charset="-78"/>
                <a:cs typeface="Simplified Arabic" pitchFamily="18" charset="-78"/>
              </a:rPr>
              <a:t>اصدار القانون الافقي لتحسين مناخ الاستثمار</a:t>
            </a:r>
            <a:endParaRPr lang="fr-FR" sz="2200" b="1" dirty="0" smtClean="0">
              <a:solidFill>
                <a:srgbClr val="E51B2E"/>
              </a:solidFill>
              <a:latin typeface="Simplified Arabic" pitchFamily="18" charset="-78"/>
              <a:cs typeface="Simplified Arabic" pitchFamily="18" charset="-78"/>
            </a:endParaRPr>
          </a:p>
        </p:txBody>
      </p:sp>
      <p:sp>
        <p:nvSpPr>
          <p:cNvPr id="9" name="ZoneTexte 8"/>
          <p:cNvSpPr txBox="1"/>
          <p:nvPr/>
        </p:nvSpPr>
        <p:spPr>
          <a:xfrm>
            <a:off x="4805265" y="3340359"/>
            <a:ext cx="1754155" cy="382555"/>
          </a:xfrm>
          <a:prstGeom prst="rect">
            <a:avLst/>
          </a:prstGeom>
          <a:noFill/>
          <a:ln w="9525">
            <a:solidFill>
              <a:schemeClr val="bg1"/>
            </a:solidFill>
            <a:miter lim="800000"/>
            <a:headEnd/>
            <a:tailEnd/>
          </a:ln>
          <a:effectLst/>
          <a:extLst/>
        </p:spPr>
        <p:txBody>
          <a:bodyPr vert="horz" wrap="square" lIns="76200" tIns="76200" rIns="76200" bIns="76200" numCol="1" rtlCol="0" anchor="t" anchorCtr="0" compatLnSpc="1">
            <a:prstTxWarp prst="textNoShape">
              <a:avLst/>
            </a:prstTxWarp>
            <a:noAutofit/>
          </a:bodyPr>
          <a:lstStyle/>
          <a:p>
            <a:endParaRPr lang="fr-FR" sz="1200" dirty="0" err="1" smtClean="0">
              <a:solidFill>
                <a:schemeClr val="bg1"/>
              </a:solidFill>
            </a:endParaRPr>
          </a:p>
        </p:txBody>
      </p:sp>
      <p:sp>
        <p:nvSpPr>
          <p:cNvPr id="13" name="ZoneTexte 12"/>
          <p:cNvSpPr txBox="1"/>
          <p:nvPr/>
        </p:nvSpPr>
        <p:spPr>
          <a:xfrm>
            <a:off x="8051990" y="2699135"/>
            <a:ext cx="956555" cy="885259"/>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ctr"/>
            <a:r>
              <a:rPr lang="ar-SA" sz="1400" b="1" spc="-70" dirty="0">
                <a:solidFill>
                  <a:schemeClr val="bg1"/>
                </a:solidFill>
                <a:latin typeface="Simplified Arabic" panose="02020603050405020304" pitchFamily="18" charset="-78"/>
                <a:ea typeface="+mn-ea"/>
                <a:cs typeface="Simplified Arabic" panose="02020603050405020304" pitchFamily="18" charset="-78"/>
              </a:rPr>
              <a:t>السجل الوطني للمؤسسات</a:t>
            </a:r>
            <a:endParaRPr lang="fr-FR" sz="1400" b="1" spc="-70" dirty="0" err="1">
              <a:solidFill>
                <a:schemeClr val="bg1"/>
              </a:solidFill>
              <a:latin typeface="Simplified Arabic" panose="02020603050405020304" pitchFamily="18" charset="-78"/>
              <a:ea typeface="+mn-ea"/>
              <a:cs typeface="Simplified Arabic" panose="02020603050405020304" pitchFamily="18" charset="-78"/>
            </a:endParaRPr>
          </a:p>
        </p:txBody>
      </p:sp>
      <p:sp>
        <p:nvSpPr>
          <p:cNvPr id="20" name="ZoneTexte 19"/>
          <p:cNvSpPr txBox="1"/>
          <p:nvPr/>
        </p:nvSpPr>
        <p:spPr>
          <a:xfrm>
            <a:off x="7935686" y="3874321"/>
            <a:ext cx="956555" cy="880871"/>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ctr"/>
            <a:r>
              <a:rPr lang="ar-SA" sz="1400" b="1" spc="-70" dirty="0">
                <a:solidFill>
                  <a:schemeClr val="bg1"/>
                </a:solidFill>
                <a:latin typeface="Simplified Arabic" panose="02020603050405020304" pitchFamily="18" charset="-78"/>
                <a:ea typeface="+mn-ea"/>
                <a:cs typeface="Simplified Arabic" panose="02020603050405020304" pitchFamily="18" charset="-78"/>
              </a:rPr>
              <a:t>القانون المتعلق بالمؤسسات الناشئة</a:t>
            </a:r>
            <a:endParaRPr lang="fr-FR" sz="1400" b="1" spc="-70" dirty="0" err="1">
              <a:solidFill>
                <a:schemeClr val="bg1"/>
              </a:solidFill>
              <a:latin typeface="Simplified Arabic" panose="02020603050405020304" pitchFamily="18" charset="-78"/>
              <a:ea typeface="+mn-ea"/>
              <a:cs typeface="Simplified Arabic" panose="02020603050405020304" pitchFamily="18" charset="-78"/>
            </a:endParaRPr>
          </a:p>
        </p:txBody>
      </p:sp>
      <p:sp>
        <p:nvSpPr>
          <p:cNvPr id="33" name="ZoneTexte 32"/>
          <p:cNvSpPr txBox="1"/>
          <p:nvPr/>
        </p:nvSpPr>
        <p:spPr>
          <a:xfrm>
            <a:off x="7875436" y="5342006"/>
            <a:ext cx="1049861" cy="595778"/>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defPPr>
              <a:defRPr lang="en-US"/>
            </a:defPPr>
            <a:lvl1pPr algn="r">
              <a:defRPr sz="1400" b="1" spc="-70">
                <a:latin typeface="Simplified Arabic" panose="02020603050405020304" pitchFamily="18" charset="-78"/>
                <a:ea typeface="+mn-ea"/>
                <a:cs typeface="Simplified Arabic" panose="02020603050405020304" pitchFamily="18" charset="-78"/>
              </a:defRPr>
            </a:lvl1pPr>
          </a:lstStyle>
          <a:p>
            <a:pPr algn="ctr"/>
            <a:r>
              <a:rPr lang="ar-SA" dirty="0">
                <a:solidFill>
                  <a:schemeClr val="bg1"/>
                </a:solidFill>
              </a:rPr>
              <a:t>القانون الأساسي للميزانية</a:t>
            </a:r>
            <a:endParaRPr lang="fr-FR" dirty="0" err="1">
              <a:solidFill>
                <a:schemeClr val="bg1"/>
              </a:solidFill>
            </a:endParaRPr>
          </a:p>
        </p:txBody>
      </p:sp>
      <p:sp>
        <p:nvSpPr>
          <p:cNvPr id="42" name="ZoneTexte 41"/>
          <p:cNvSpPr txBox="1"/>
          <p:nvPr/>
        </p:nvSpPr>
        <p:spPr>
          <a:xfrm>
            <a:off x="3346592" y="2882134"/>
            <a:ext cx="1113135" cy="595778"/>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defPPr>
              <a:defRPr lang="en-US"/>
            </a:defPPr>
            <a:lvl1pPr algn="r">
              <a:defRPr sz="1400" b="1" spc="-70">
                <a:latin typeface="Simplified Arabic" panose="02020603050405020304" pitchFamily="18" charset="-78"/>
                <a:ea typeface="+mn-ea"/>
                <a:cs typeface="Simplified Arabic" panose="02020603050405020304" pitchFamily="18" charset="-78"/>
              </a:defRPr>
            </a:lvl1pPr>
          </a:lstStyle>
          <a:p>
            <a:pPr algn="ctr"/>
            <a:r>
              <a:rPr lang="ar-SA" dirty="0" smtClean="0">
                <a:solidFill>
                  <a:schemeClr val="bg1"/>
                </a:solidFill>
              </a:rPr>
              <a:t>المخطط الشمسي التونسي</a:t>
            </a:r>
            <a:endParaRPr lang="fr-FR" dirty="0" err="1">
              <a:solidFill>
                <a:schemeClr val="bg1"/>
              </a:solidFill>
            </a:endParaRPr>
          </a:p>
        </p:txBody>
      </p:sp>
      <p:sp>
        <p:nvSpPr>
          <p:cNvPr id="49" name="ZoneTexte 48"/>
          <p:cNvSpPr txBox="1"/>
          <p:nvPr/>
        </p:nvSpPr>
        <p:spPr>
          <a:xfrm>
            <a:off x="7950298" y="1222350"/>
            <a:ext cx="956555" cy="885259"/>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ctr"/>
            <a:r>
              <a:rPr lang="ar-TN" sz="1400" b="1" spc="-70" dirty="0" smtClean="0">
                <a:solidFill>
                  <a:schemeClr val="bg1"/>
                </a:solidFill>
                <a:latin typeface="Simplified Arabic" panose="02020603050405020304" pitchFamily="18" charset="-78"/>
                <a:ea typeface="+mn-ea"/>
                <a:cs typeface="Simplified Arabic" panose="02020603050405020304" pitchFamily="18" charset="-78"/>
              </a:rPr>
              <a:t>الامر الحكومي 417</a:t>
            </a:r>
            <a:endParaRPr lang="fr-FR" sz="1400" b="1" spc="-70" dirty="0" err="1">
              <a:solidFill>
                <a:schemeClr val="bg1"/>
              </a:solidFill>
              <a:latin typeface="Simplified Arabic" panose="02020603050405020304" pitchFamily="18" charset="-78"/>
              <a:ea typeface="+mn-ea"/>
              <a:cs typeface="Simplified Arabic" panose="02020603050405020304" pitchFamily="18" charset="-78"/>
            </a:endParaRPr>
          </a:p>
        </p:txBody>
      </p:sp>
      <p:sp>
        <p:nvSpPr>
          <p:cNvPr id="50" name="ZoneTexte 49"/>
          <p:cNvSpPr txBox="1"/>
          <p:nvPr/>
        </p:nvSpPr>
        <p:spPr>
          <a:xfrm>
            <a:off x="241541" y="1507209"/>
            <a:ext cx="8756016" cy="4893647"/>
          </a:xfrm>
          <a:prstGeom prst="rect">
            <a:avLst/>
          </a:prstGeom>
          <a:noFill/>
        </p:spPr>
        <p:txBody>
          <a:bodyPr wrap="square" rtlCol="0">
            <a:spAutoFit/>
          </a:bodyPr>
          <a:lstStyle/>
          <a:p>
            <a:pPr algn="r" rtl="1"/>
            <a:endParaRPr lang="ar-TN" sz="2400" dirty="0">
              <a:latin typeface="Sakkal Majalla" panose="02000000000000000000" pitchFamily="2" charset="-78"/>
              <a:cs typeface="Sakkal Majalla" panose="02000000000000000000" pitchFamily="2" charset="-78"/>
            </a:endParaRPr>
          </a:p>
          <a:p>
            <a:pPr algn="r" rtl="1"/>
            <a:endParaRPr lang="ar-TN" sz="2400" dirty="0" smtClean="0">
              <a:latin typeface="Sakkal Majalla" panose="02000000000000000000" pitchFamily="2" charset="-78"/>
              <a:cs typeface="Sakkal Majalla" panose="02000000000000000000" pitchFamily="2" charset="-78"/>
            </a:endParaRPr>
          </a:p>
          <a:p>
            <a:pPr algn="r" rtl="1"/>
            <a:endParaRPr lang="ar-TN" sz="2400" dirty="0">
              <a:latin typeface="Sakkal Majalla" panose="02000000000000000000" pitchFamily="2" charset="-78"/>
              <a:cs typeface="Sakkal Majalla" panose="02000000000000000000" pitchFamily="2" charset="-78"/>
            </a:endParaRPr>
          </a:p>
          <a:p>
            <a:pPr algn="r" rtl="1"/>
            <a:endParaRPr lang="ar-TN" sz="2400" dirty="0" smtClean="0">
              <a:latin typeface="Sakkal Majalla" panose="02000000000000000000" pitchFamily="2" charset="-78"/>
              <a:cs typeface="Sakkal Majalla" panose="02000000000000000000" pitchFamily="2" charset="-78"/>
            </a:endParaRPr>
          </a:p>
          <a:p>
            <a:pPr algn="r" rtl="1"/>
            <a:endParaRPr lang="ar-TN" sz="2400" dirty="0">
              <a:latin typeface="Sakkal Majalla" panose="02000000000000000000" pitchFamily="2" charset="-78"/>
              <a:cs typeface="Sakkal Majalla" panose="02000000000000000000" pitchFamily="2" charset="-78"/>
            </a:endParaRPr>
          </a:p>
          <a:p>
            <a:pPr algn="r" rtl="1"/>
            <a:endParaRPr lang="ar-TN" sz="2400" dirty="0" smtClean="0">
              <a:latin typeface="Sakkal Majalla" panose="02000000000000000000" pitchFamily="2" charset="-78"/>
              <a:cs typeface="Sakkal Majalla" panose="02000000000000000000" pitchFamily="2" charset="-78"/>
            </a:endParaRPr>
          </a:p>
          <a:p>
            <a:pPr algn="r" rtl="1"/>
            <a:endParaRPr lang="ar-TN" sz="2400" dirty="0">
              <a:latin typeface="Sakkal Majalla" panose="02000000000000000000" pitchFamily="2" charset="-78"/>
              <a:cs typeface="Sakkal Majalla" panose="02000000000000000000" pitchFamily="2" charset="-78"/>
            </a:endParaRPr>
          </a:p>
          <a:p>
            <a:pPr algn="r" rtl="1"/>
            <a:endParaRPr lang="ar-TN" sz="2400" dirty="0" smtClean="0">
              <a:latin typeface="Sakkal Majalla" panose="02000000000000000000" pitchFamily="2" charset="-78"/>
              <a:cs typeface="Sakkal Majalla" panose="02000000000000000000" pitchFamily="2" charset="-78"/>
            </a:endParaRPr>
          </a:p>
          <a:p>
            <a:pPr algn="r" rtl="1"/>
            <a:endParaRPr lang="ar-TN" sz="2400" dirty="0">
              <a:latin typeface="Sakkal Majalla" panose="02000000000000000000" pitchFamily="2" charset="-78"/>
              <a:cs typeface="Sakkal Majalla" panose="02000000000000000000" pitchFamily="2" charset="-78"/>
            </a:endParaRPr>
          </a:p>
          <a:p>
            <a:pPr algn="r" rtl="1"/>
            <a:endParaRPr lang="ar-TN" sz="2400" dirty="0" smtClean="0">
              <a:latin typeface="Sakkal Majalla" panose="02000000000000000000" pitchFamily="2" charset="-78"/>
              <a:cs typeface="Sakkal Majalla" panose="02000000000000000000" pitchFamily="2" charset="-78"/>
            </a:endParaRPr>
          </a:p>
          <a:p>
            <a:pPr algn="r" rtl="1"/>
            <a:endParaRPr lang="ar-TN" sz="2400" dirty="0">
              <a:latin typeface="Sakkal Majalla" panose="02000000000000000000" pitchFamily="2" charset="-78"/>
              <a:cs typeface="Sakkal Majalla" panose="02000000000000000000" pitchFamily="2" charset="-78"/>
            </a:endParaRPr>
          </a:p>
          <a:p>
            <a:pPr algn="r" rtl="1"/>
            <a:endParaRPr lang="ar-TN" sz="2400" dirty="0" smtClean="0">
              <a:latin typeface="Sakkal Majalla" panose="02000000000000000000" pitchFamily="2" charset="-78"/>
              <a:cs typeface="Sakkal Majalla" panose="02000000000000000000" pitchFamily="2" charset="-78"/>
            </a:endParaRPr>
          </a:p>
          <a:p>
            <a:pPr algn="r" rtl="1"/>
            <a:endParaRPr lang="fr-FR" sz="2400" dirty="0">
              <a:latin typeface="Sakkal Majalla" panose="02000000000000000000" pitchFamily="2" charset="-78"/>
              <a:cs typeface="Sakkal Majalla" panose="02000000000000000000" pitchFamily="2" charset="-78"/>
            </a:endParaRPr>
          </a:p>
        </p:txBody>
      </p:sp>
      <p:pic>
        <p:nvPicPr>
          <p:cNvPr id="11" name="Image 10" descr="Une image contenant texte, capture d’écran&#10;&#10;Description générée automatiquement">
            <a:extLst>
              <a:ext uri="{FF2B5EF4-FFF2-40B4-BE49-F238E27FC236}">
                <a16:creationId xmlns:a16="http://schemas.microsoft.com/office/drawing/2014/main" xmlns="" id="{C9A25372-6BCC-40B2-AE72-97669B341A06}"/>
              </a:ext>
            </a:extLst>
          </p:cNvPr>
          <p:cNvPicPr>
            <a:picLocks noChangeAspect="1"/>
          </p:cNvPicPr>
          <p:nvPr/>
        </p:nvPicPr>
        <p:blipFill rotWithShape="1">
          <a:blip r:embed="rId2">
            <a:extLst>
              <a:ext uri="{28A0092B-C50C-407E-A947-70E740481C1C}">
                <a14:useLocalDpi xmlns:a14="http://schemas.microsoft.com/office/drawing/2010/main" xmlns="" val="0"/>
              </a:ext>
            </a:extLst>
          </a:blip>
          <a:srcRect l="-1" t="12788" r="-3460" b="12193"/>
          <a:stretch/>
        </p:blipFill>
        <p:spPr>
          <a:xfrm>
            <a:off x="1250558" y="1132049"/>
            <a:ext cx="6737982" cy="4691726"/>
          </a:xfrm>
          <a:prstGeom prst="rect">
            <a:avLst/>
          </a:prstGeom>
        </p:spPr>
      </p:pic>
    </p:spTree>
    <p:extLst>
      <p:ext uri="{BB962C8B-B14F-4D97-AF65-F5344CB8AC3E}">
        <p14:creationId xmlns:p14="http://schemas.microsoft.com/office/powerpoint/2010/main" xmlns="" val="26814374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0" y="211168"/>
            <a:ext cx="9144000" cy="707886"/>
          </a:xfrm>
          <a:prstGeom prst="rect">
            <a:avLst/>
          </a:prstGeom>
          <a:noFill/>
        </p:spPr>
        <p:txBody>
          <a:bodyPr wrap="square" rtlCol="0">
            <a:spAutoFit/>
          </a:bodyPr>
          <a:lstStyle/>
          <a:p>
            <a:pPr algn="r"/>
            <a:r>
              <a:rPr lang="ar-TN" sz="2200" b="1" dirty="0" smtClean="0">
                <a:solidFill>
                  <a:srgbClr val="E51B2E"/>
                </a:solidFill>
                <a:latin typeface="Simplified Arabic" pitchFamily="18" charset="-78"/>
                <a:cs typeface="Simplified Arabic" pitchFamily="18" charset="-78"/>
              </a:rPr>
              <a:t>الظرف الاقتصادي العالمي</a:t>
            </a:r>
            <a:endParaRPr lang="fr-FR" sz="2200" b="1" dirty="0" smtClean="0">
              <a:solidFill>
                <a:srgbClr val="E51B2E"/>
              </a:solidFill>
              <a:latin typeface="Simplified Arabic" pitchFamily="18" charset="-78"/>
              <a:cs typeface="Simplified Arabic" pitchFamily="18" charset="-78"/>
            </a:endParaRPr>
          </a:p>
          <a:p>
            <a:r>
              <a:rPr lang="ar-TN" b="1" dirty="0">
                <a:latin typeface="Simplified Arabic" pitchFamily="18" charset="-78"/>
                <a:cs typeface="Simplified Arabic" pitchFamily="18" charset="-78"/>
              </a:rPr>
              <a:t>تباطؤ نسق النمو خاصة بمنطقة </a:t>
            </a:r>
            <a:r>
              <a:rPr lang="ar-TN" b="1" dirty="0" smtClean="0">
                <a:latin typeface="Simplified Arabic" pitchFamily="18" charset="-78"/>
                <a:cs typeface="Simplified Arabic" pitchFamily="18" charset="-78"/>
              </a:rPr>
              <a:t>الأورو ...   </a:t>
            </a:r>
            <a:endParaRPr lang="fr-FR" b="1" dirty="0" smtClean="0">
              <a:latin typeface="Simplified Arabic" pitchFamily="18" charset="-78"/>
              <a:cs typeface="Simplified Arabic" pitchFamily="18" charset="-78"/>
            </a:endParaRPr>
          </a:p>
        </p:txBody>
      </p:sp>
      <p:graphicFrame>
        <p:nvGraphicFramePr>
          <p:cNvPr id="27" name="Graphique 26"/>
          <p:cNvGraphicFramePr/>
          <p:nvPr>
            <p:extLst/>
          </p:nvPr>
        </p:nvGraphicFramePr>
        <p:xfrm>
          <a:off x="4809930" y="954479"/>
          <a:ext cx="1576873" cy="168300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4" name="Graphique 33"/>
          <p:cNvGraphicFramePr>
            <a:graphicFrameLocks/>
          </p:cNvGraphicFramePr>
          <p:nvPr>
            <p:extLst>
              <p:ext uri="{D42A27DB-BD31-4B8C-83A1-F6EECF244321}">
                <p14:modId xmlns:p14="http://schemas.microsoft.com/office/powerpoint/2010/main" xmlns="" val="3913989199"/>
              </p:ext>
            </p:extLst>
          </p:nvPr>
        </p:nvGraphicFramePr>
        <p:xfrm>
          <a:off x="584958" y="1174047"/>
          <a:ext cx="7974083" cy="3213226"/>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à coins arrondis 8"/>
          <p:cNvSpPr/>
          <p:nvPr/>
        </p:nvSpPr>
        <p:spPr>
          <a:xfrm>
            <a:off x="584957" y="4779033"/>
            <a:ext cx="7974083" cy="914401"/>
          </a:xfrm>
          <a:prstGeom prst="round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77825" lvl="1" indent="-285750" algn="just" rtl="1">
              <a:lnSpc>
                <a:spcPct val="150000"/>
              </a:lnSpc>
              <a:spcAft>
                <a:spcPts val="600"/>
              </a:spcAft>
              <a:buClr>
                <a:srgbClr val="FF0000"/>
              </a:buClr>
              <a:buSzPct val="80000"/>
              <a:buFont typeface="Arial" panose="020B0604020202020204" pitchFamily="34" charset="0"/>
              <a:buChar char="•"/>
            </a:pPr>
            <a:r>
              <a:rPr lang="ar-TN" sz="1600" b="1" spc="-70" dirty="0">
                <a:solidFill>
                  <a:schemeClr val="tx1"/>
                </a:solidFill>
                <a:latin typeface="Simplified Arabic" panose="02020603050405020304" pitchFamily="18" charset="-78"/>
                <a:cs typeface="Simplified Arabic" panose="02020603050405020304" pitchFamily="18" charset="-78"/>
              </a:rPr>
              <a:t>تباطؤ نسق النمو العالمي بعلاقة خاصة مع تواصل التوترات التجارية بين الولايات المتحدة الأمريكية </a:t>
            </a:r>
            <a:r>
              <a:rPr lang="ar-TN" sz="1600" b="1" spc="-70" dirty="0" smtClean="0">
                <a:solidFill>
                  <a:schemeClr val="tx1"/>
                </a:solidFill>
                <a:latin typeface="Simplified Arabic" panose="02020603050405020304" pitchFamily="18" charset="-78"/>
                <a:cs typeface="Simplified Arabic" panose="02020603050405020304" pitchFamily="18" charset="-78"/>
              </a:rPr>
              <a:t>والصين.</a:t>
            </a:r>
          </a:p>
          <a:p>
            <a:pPr marL="377825" lvl="1" indent="-285750" algn="just" rtl="1">
              <a:lnSpc>
                <a:spcPct val="150000"/>
              </a:lnSpc>
              <a:spcAft>
                <a:spcPts val="600"/>
              </a:spcAft>
              <a:buClr>
                <a:srgbClr val="FF0000"/>
              </a:buClr>
              <a:buSzPct val="80000"/>
              <a:buFont typeface="Arial" panose="020B0604020202020204" pitchFamily="34" charset="0"/>
              <a:buChar char="•"/>
            </a:pPr>
            <a:r>
              <a:rPr lang="ar-TN" sz="1600" b="1" spc="-70" dirty="0" smtClean="0">
                <a:solidFill>
                  <a:schemeClr val="tx1"/>
                </a:solidFill>
                <a:latin typeface="Simplified Arabic" panose="02020603050405020304" pitchFamily="18" charset="-78"/>
                <a:cs typeface="Simplified Arabic" panose="02020603050405020304" pitchFamily="18" charset="-78"/>
              </a:rPr>
              <a:t>تراجع النمو بمنطقة الأورو أدّى إلى تقلص صادرات الصناعات المعملية التونسية.</a:t>
            </a:r>
          </a:p>
        </p:txBody>
      </p:sp>
    </p:spTree>
    <p:extLst>
      <p:ext uri="{BB962C8B-B14F-4D97-AF65-F5344CB8AC3E}">
        <p14:creationId xmlns:p14="http://schemas.microsoft.com/office/powerpoint/2010/main" xmlns="" val="36536890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3105509" y="873573"/>
            <a:ext cx="6038491" cy="461665"/>
          </a:xfrm>
          <a:prstGeom prst="rect">
            <a:avLst/>
          </a:prstGeom>
          <a:noFill/>
        </p:spPr>
        <p:txBody>
          <a:bodyPr wrap="square" rtlCol="0">
            <a:spAutoFit/>
          </a:bodyPr>
          <a:lstStyle/>
          <a:p>
            <a:pPr algn="r" rtl="1"/>
            <a:r>
              <a:rPr lang="ar-TN" sz="2400" u="sng" dirty="0" smtClean="0">
                <a:latin typeface="Sakkal Majalla" panose="02000000000000000000" pitchFamily="2" charset="-78"/>
                <a:cs typeface="Sakkal Majalla" panose="02000000000000000000" pitchFamily="2" charset="-78"/>
              </a:rPr>
              <a:t>اهم إجراءات القانون الافقي لتحسين مناخ الاستثمار </a:t>
            </a:r>
            <a:r>
              <a:rPr lang="fr-FR" sz="2400" dirty="0" smtClean="0">
                <a:latin typeface="Sakkal Majalla" panose="02000000000000000000" pitchFamily="2" charset="-78"/>
                <a:cs typeface="Sakkal Majalla" panose="02000000000000000000" pitchFamily="2" charset="-78"/>
              </a:rPr>
              <a:t>:</a:t>
            </a:r>
            <a:endParaRPr lang="fr-FR" sz="2400" dirty="0">
              <a:latin typeface="Sakkal Majalla" panose="02000000000000000000" pitchFamily="2" charset="-78"/>
              <a:cs typeface="Sakkal Majalla" panose="02000000000000000000" pitchFamily="2" charset="-78"/>
            </a:endParaRPr>
          </a:p>
        </p:txBody>
      </p:sp>
      <p:sp>
        <p:nvSpPr>
          <p:cNvPr id="5" name="ZoneTexte 4"/>
          <p:cNvSpPr txBox="1"/>
          <p:nvPr/>
        </p:nvSpPr>
        <p:spPr>
          <a:xfrm>
            <a:off x="-112273" y="337320"/>
            <a:ext cx="9144000" cy="430887"/>
          </a:xfrm>
          <a:prstGeom prst="rect">
            <a:avLst/>
          </a:prstGeom>
          <a:noFill/>
        </p:spPr>
        <p:txBody>
          <a:bodyPr wrap="square" rtlCol="0">
            <a:spAutoFit/>
          </a:bodyPr>
          <a:lstStyle/>
          <a:p>
            <a:pPr algn="ctr" rtl="1"/>
            <a:r>
              <a:rPr lang="ar-TN" sz="2200" b="1" dirty="0" smtClean="0">
                <a:solidFill>
                  <a:srgbClr val="E51B2E"/>
                </a:solidFill>
                <a:latin typeface="Simplified Arabic" pitchFamily="18" charset="-78"/>
                <a:cs typeface="Simplified Arabic" pitchFamily="18" charset="-78"/>
              </a:rPr>
              <a:t> القانون الافقي لتحسين مناخ الاستثمار</a:t>
            </a:r>
            <a:endParaRPr lang="fr-FR" sz="2200" b="1" dirty="0" smtClean="0">
              <a:solidFill>
                <a:srgbClr val="E51B2E"/>
              </a:solidFill>
              <a:latin typeface="Simplified Arabic" pitchFamily="18" charset="-78"/>
              <a:cs typeface="Simplified Arabic" pitchFamily="18" charset="-78"/>
            </a:endParaRPr>
          </a:p>
        </p:txBody>
      </p:sp>
      <p:sp>
        <p:nvSpPr>
          <p:cNvPr id="6" name="ZoneTexte 5"/>
          <p:cNvSpPr txBox="1"/>
          <p:nvPr/>
        </p:nvSpPr>
        <p:spPr>
          <a:xfrm>
            <a:off x="181154" y="1257600"/>
            <a:ext cx="8850573" cy="4939814"/>
          </a:xfrm>
          <a:prstGeom prst="rect">
            <a:avLst/>
          </a:prstGeom>
          <a:noFill/>
        </p:spPr>
        <p:txBody>
          <a:bodyPr wrap="square" rtlCol="0">
            <a:spAutoFit/>
          </a:bodyPr>
          <a:lstStyle/>
          <a:p>
            <a:pPr marL="342900" indent="-342900" algn="r" rtl="1">
              <a:buFont typeface="Wingdings" panose="05000000000000000000" pitchFamily="2" charset="2"/>
              <a:buChar char="ü"/>
            </a:pPr>
            <a:r>
              <a:rPr lang="ar-TN" sz="1750" dirty="0" smtClean="0">
                <a:solidFill>
                  <a:srgbClr val="FF0000"/>
                </a:solidFill>
                <a:latin typeface="Sakkal Majalla" panose="02000000000000000000" pitchFamily="2" charset="-78"/>
                <a:cs typeface="Sakkal Majalla" panose="02000000000000000000" pitchFamily="2" charset="-78"/>
              </a:rPr>
              <a:t>تبسيط الإجراءات و التقليص من البيروقراطية</a:t>
            </a:r>
          </a:p>
          <a:p>
            <a:pPr marL="800100" lvl="1" indent="-342900" algn="r" rtl="1">
              <a:buFont typeface="Arial" panose="020B0604020202020204" pitchFamily="34" charset="0"/>
              <a:buChar char="•"/>
            </a:pPr>
            <a:r>
              <a:rPr lang="ar-TN" sz="1750" dirty="0" smtClean="0">
                <a:latin typeface="Sakkal Majalla" panose="02000000000000000000" pitchFamily="2" charset="-78"/>
                <a:cs typeface="Sakkal Majalla" panose="02000000000000000000" pitchFamily="2" charset="-78"/>
              </a:rPr>
              <a:t>الزام الهياكل العمومية بمبادئ التبسيط و الشفافية و عدم مطالبة المستثمر بوثائق متوفرة لديها او لدى هيا كل عمومية أخرى </a:t>
            </a:r>
          </a:p>
          <a:p>
            <a:pPr marL="800100" lvl="1" indent="-342900" algn="r" rtl="1">
              <a:buFont typeface="Arial" panose="020B0604020202020204" pitchFamily="34" charset="0"/>
              <a:buChar char="•"/>
            </a:pPr>
            <a:r>
              <a:rPr lang="ar-TN" sz="1750" dirty="0" smtClean="0">
                <a:latin typeface="Sakkal Majalla" panose="02000000000000000000" pitchFamily="2" charset="-78"/>
                <a:cs typeface="Sakkal Majalla" panose="02000000000000000000" pitchFamily="2" charset="-78"/>
              </a:rPr>
              <a:t>ضبط اجل اقصى بثلاثة اشهر للبت في مطالب تغيير </a:t>
            </a:r>
            <a:r>
              <a:rPr lang="ar-TN" sz="1750" dirty="0" err="1" smtClean="0">
                <a:latin typeface="Sakkal Majalla" panose="02000000000000000000" pitchFamily="2" charset="-78"/>
                <a:cs typeface="Sakkal Majalla" panose="02000000000000000000" pitchFamily="2" charset="-78"/>
              </a:rPr>
              <a:t>صلوحية</a:t>
            </a:r>
            <a:r>
              <a:rPr lang="ar-TN" sz="1750" dirty="0" smtClean="0">
                <a:latin typeface="Sakkal Majalla" panose="02000000000000000000" pitchFamily="2" charset="-78"/>
                <a:cs typeface="Sakkal Majalla" panose="02000000000000000000" pitchFamily="2" charset="-78"/>
              </a:rPr>
              <a:t> الأراضي الفلاحية و اعتماد قرار مشترك وزاي عوضا عن امر حكومي</a:t>
            </a:r>
          </a:p>
          <a:p>
            <a:pPr marL="800100" lvl="1" indent="-342900" algn="r" rtl="1">
              <a:buFont typeface="Arial" panose="020B0604020202020204" pitchFamily="34" charset="0"/>
              <a:buChar char="•"/>
            </a:pPr>
            <a:r>
              <a:rPr lang="ar-TN" sz="1750" dirty="0" smtClean="0">
                <a:latin typeface="Sakkal Majalla" panose="02000000000000000000" pitchFamily="2" charset="-78"/>
                <a:cs typeface="Sakkal Majalla" panose="02000000000000000000" pitchFamily="2" charset="-78"/>
              </a:rPr>
              <a:t>احداث لجنة التراخيص و الموافقات على مستوى الهيئة التونسية للاستثمار </a:t>
            </a:r>
          </a:p>
          <a:p>
            <a:pPr marL="800100" lvl="1" indent="-342900" algn="r" rtl="1">
              <a:buFont typeface="Arial" panose="020B0604020202020204" pitchFamily="34" charset="0"/>
              <a:buChar char="•"/>
            </a:pPr>
            <a:r>
              <a:rPr lang="ar-TN" sz="1750" dirty="0" smtClean="0">
                <a:latin typeface="Sakkal Majalla" panose="02000000000000000000" pitchFamily="2" charset="-78"/>
                <a:cs typeface="Sakkal Majalla" panose="02000000000000000000" pitchFamily="2" charset="-78"/>
              </a:rPr>
              <a:t>اعفاء الشركات الصناعية الأجنبية في تونس من الحصول على بطاقة تاجر، شريطة ان يتم تصنيعها في تونس </a:t>
            </a:r>
          </a:p>
          <a:p>
            <a:pPr marL="800100" lvl="1" indent="-342900" algn="r" rtl="1">
              <a:buFont typeface="Arial" panose="020B0604020202020204" pitchFamily="34" charset="0"/>
              <a:buChar char="•"/>
            </a:pPr>
            <a:r>
              <a:rPr lang="ar-TN" sz="1750" dirty="0" smtClean="0">
                <a:latin typeface="Sakkal Majalla" panose="02000000000000000000" pitchFamily="2" charset="-78"/>
                <a:cs typeface="Sakkal Majalla" panose="02000000000000000000" pitchFamily="2" charset="-78"/>
              </a:rPr>
              <a:t>تمكين شركات الايواء السياحي بنظام اقتسام الوقت من تخصيص ثلث الوحدات </a:t>
            </a:r>
            <a:r>
              <a:rPr lang="ar-TN" sz="1750" dirty="0" err="1" smtClean="0">
                <a:latin typeface="Sakkal Majalla" panose="02000000000000000000" pitchFamily="2" charset="-78"/>
                <a:cs typeface="Sakkal Majalla" panose="02000000000000000000" pitchFamily="2" charset="-78"/>
              </a:rPr>
              <a:t>للايواء</a:t>
            </a:r>
            <a:r>
              <a:rPr lang="ar-TN" sz="1750" dirty="0" smtClean="0">
                <a:latin typeface="Sakkal Majalla" panose="02000000000000000000" pitchFamily="2" charset="-78"/>
                <a:cs typeface="Sakkal Majalla" panose="02000000000000000000" pitchFamily="2" charset="-78"/>
              </a:rPr>
              <a:t> العادي</a:t>
            </a:r>
          </a:p>
          <a:p>
            <a:pPr marL="342900" lvl="0" indent="-342900" algn="r" rtl="1">
              <a:buFont typeface="Wingdings" panose="05000000000000000000" pitchFamily="2" charset="2"/>
              <a:buChar char="ü"/>
            </a:pPr>
            <a:r>
              <a:rPr lang="ar-TN" sz="1750" dirty="0" smtClean="0">
                <a:solidFill>
                  <a:srgbClr val="FF0000"/>
                </a:solidFill>
                <a:latin typeface="Sakkal Majalla" panose="02000000000000000000" pitchFamily="2" charset="-78"/>
                <a:cs typeface="Sakkal Majalla" panose="02000000000000000000" pitchFamily="2" charset="-78"/>
              </a:rPr>
              <a:t> الطاقة </a:t>
            </a:r>
          </a:p>
          <a:p>
            <a:pPr marL="742950" lvl="1" indent="-285750" algn="r" rtl="1">
              <a:buFont typeface="Arial" panose="020B0604020202020204" pitchFamily="34" charset="0"/>
              <a:buChar char="•"/>
            </a:pPr>
            <a:r>
              <a:rPr lang="ar-TN" sz="1750" dirty="0" smtClean="0">
                <a:latin typeface="Sakkal Majalla" panose="02000000000000000000" pitchFamily="2" charset="-78"/>
                <a:cs typeface="Sakkal Majalla" panose="02000000000000000000" pitchFamily="2" charset="-78"/>
              </a:rPr>
              <a:t>إمكانية تكوين شركة تختص بإنتاج الكهرباء من الطاقات المتجددة و بيع الإنتاج للمستهلكين الذاتيين، مع تمكين الشركات من بيع الفائض سواء للشركة التونسية للكهرباء و الغاز او المنتجين الذاتيين الاخرين </a:t>
            </a:r>
          </a:p>
          <a:p>
            <a:pPr marL="342900" indent="-342900" algn="r" rtl="1">
              <a:buFont typeface="Wingdings" panose="05000000000000000000" pitchFamily="2" charset="2"/>
              <a:buChar char="ü"/>
            </a:pPr>
            <a:r>
              <a:rPr lang="ar-TN" sz="1750" dirty="0" smtClean="0">
                <a:solidFill>
                  <a:srgbClr val="FF0000"/>
                </a:solidFill>
                <a:latin typeface="Sakkal Majalla" panose="02000000000000000000" pitchFamily="2" charset="-78"/>
                <a:cs typeface="Sakkal Majalla" panose="02000000000000000000" pitchFamily="2" charset="-78"/>
              </a:rPr>
              <a:t> تكوين الشركات </a:t>
            </a:r>
          </a:p>
          <a:p>
            <a:pPr marL="742950" lvl="1" indent="-285750" algn="r" rtl="1">
              <a:buFont typeface="Arial" panose="020B0604020202020204" pitchFamily="34" charset="0"/>
              <a:buChar char="•"/>
            </a:pPr>
            <a:r>
              <a:rPr lang="ar-TN" sz="1750" dirty="0" smtClean="0">
                <a:latin typeface="Sakkal Majalla" panose="02000000000000000000" pitchFamily="2" charset="-78"/>
                <a:cs typeface="Sakkal Majalla" panose="02000000000000000000" pitchFamily="2" charset="-78"/>
              </a:rPr>
              <a:t> إمكانية انشاء شركة الشخص الواحد من قبل شخص معنوي و إمكانية تعيين وكيل عليها و الغاء وجوب تقديم وثيقة تفيد إيداع راس المال بالبنك بالنسبة للشركات ذات المسؤولية المحدودة </a:t>
            </a:r>
          </a:p>
          <a:p>
            <a:pPr marL="342900" lvl="1" indent="-342900" algn="r" rtl="1">
              <a:buFont typeface="Wingdings" panose="05000000000000000000" pitchFamily="2" charset="2"/>
              <a:buChar char="ü"/>
            </a:pPr>
            <a:r>
              <a:rPr lang="ar-TN" sz="1750" dirty="0">
                <a:solidFill>
                  <a:srgbClr val="FF0000"/>
                </a:solidFill>
                <a:latin typeface="Sakkal Majalla" panose="02000000000000000000" pitchFamily="2" charset="-78"/>
                <a:cs typeface="Sakkal Majalla" panose="02000000000000000000" pitchFamily="2" charset="-78"/>
              </a:rPr>
              <a:t> </a:t>
            </a:r>
            <a:r>
              <a:rPr lang="ar-TN" sz="1750" dirty="0" smtClean="0">
                <a:solidFill>
                  <a:srgbClr val="FF0000"/>
                </a:solidFill>
                <a:latin typeface="Sakkal Majalla" panose="02000000000000000000" pitchFamily="2" charset="-78"/>
                <a:cs typeface="Sakkal Majalla" panose="02000000000000000000" pitchFamily="2" charset="-78"/>
              </a:rPr>
              <a:t>تيسير تمويل المؤسسات 	</a:t>
            </a:r>
          </a:p>
          <a:p>
            <a:pPr marL="742950" lvl="2" indent="-285750" algn="r" rtl="1">
              <a:buFont typeface="Arial" panose="020B0604020202020204" pitchFamily="34" charset="0"/>
              <a:buChar char="•"/>
            </a:pPr>
            <a:r>
              <a:rPr lang="ar-TN" sz="1750" dirty="0" smtClean="0">
                <a:latin typeface="Sakkal Majalla" panose="02000000000000000000" pitchFamily="2" charset="-78"/>
                <a:cs typeface="Sakkal Majalla" panose="02000000000000000000" pitchFamily="2" charset="-78"/>
              </a:rPr>
              <a:t> </a:t>
            </a:r>
            <a:r>
              <a:rPr lang="ar-TN" sz="1750" dirty="0">
                <a:latin typeface="Sakkal Majalla" panose="02000000000000000000" pitchFamily="2" charset="-78"/>
                <a:cs typeface="Sakkal Majalla" panose="02000000000000000000" pitchFamily="2" charset="-78"/>
              </a:rPr>
              <a:t>تمكين </a:t>
            </a:r>
            <a:r>
              <a:rPr lang="ar-TN" sz="1750" dirty="0" smtClean="0">
                <a:latin typeface="Sakkal Majalla" panose="02000000000000000000" pitchFamily="2" charset="-78"/>
                <a:cs typeface="Sakkal Majalla" panose="02000000000000000000" pitchFamily="2" charset="-78"/>
              </a:rPr>
              <a:t>المؤسسات الصغرى و المتوسطة المنتجة بما فيها الفلاحية من تكفل الدولة ب3 نقاط من الفائدة المطبقة على القروض </a:t>
            </a:r>
          </a:p>
          <a:p>
            <a:pPr marL="742950" lvl="2" indent="-285750" algn="r" rtl="1">
              <a:buFont typeface="Arial" panose="020B0604020202020204" pitchFamily="34" charset="0"/>
              <a:buChar char="•"/>
            </a:pPr>
            <a:r>
              <a:rPr lang="ar-TN" sz="1750" dirty="0" smtClean="0">
                <a:latin typeface="Sakkal Majalla" panose="02000000000000000000" pitchFamily="2" charset="-78"/>
                <a:cs typeface="Sakkal Majalla" panose="02000000000000000000" pitchFamily="2" charset="-78"/>
              </a:rPr>
              <a:t>تنويع أدوات التمويل عبر انشاء صندوق الصناديق لتمويل صناديق الاستثمار</a:t>
            </a:r>
          </a:p>
          <a:p>
            <a:pPr marL="342900" lvl="2" indent="-342900" algn="r" rtl="1">
              <a:buFont typeface="Wingdings" panose="05000000000000000000" pitchFamily="2" charset="2"/>
              <a:buChar char="ü"/>
            </a:pPr>
            <a:r>
              <a:rPr lang="ar-TN" sz="1750" dirty="0" smtClean="0">
                <a:solidFill>
                  <a:srgbClr val="FF0000"/>
                </a:solidFill>
                <a:latin typeface="Sakkal Majalla" panose="02000000000000000000" pitchFamily="2" charset="-78"/>
                <a:cs typeface="Sakkal Majalla" panose="02000000000000000000" pitchFamily="2" charset="-78"/>
              </a:rPr>
              <a:t>تيسير إجراءات الشراكة بين القطاع العام و الخاص</a:t>
            </a:r>
          </a:p>
          <a:p>
            <a:pPr marL="800100" lvl="3" indent="-342900" algn="r" rtl="1">
              <a:buFont typeface="Arial" panose="020B0604020202020204" pitchFamily="34" charset="0"/>
              <a:buChar char="•"/>
            </a:pPr>
            <a:r>
              <a:rPr lang="ar-TN" sz="1750" dirty="0">
                <a:latin typeface="Sakkal Majalla" panose="02000000000000000000" pitchFamily="2" charset="-78"/>
                <a:cs typeface="Sakkal Majalla" panose="02000000000000000000" pitchFamily="2" charset="-78"/>
              </a:rPr>
              <a:t>تمكين المتحصل على عقد الشراكة بين القطاع العام و الخاص من حق الاستغلال مع منح العروض التلقائية هامش </a:t>
            </a:r>
            <a:r>
              <a:rPr lang="ar-TN" sz="1750" dirty="0" smtClean="0">
                <a:latin typeface="Sakkal Majalla" panose="02000000000000000000" pitchFamily="2" charset="-78"/>
                <a:cs typeface="Sakkal Majalla" panose="02000000000000000000" pitchFamily="2" charset="-78"/>
              </a:rPr>
              <a:t>تفضيل.</a:t>
            </a:r>
            <a:endParaRPr lang="fr-FR" sz="1750" dirty="0">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xmlns="" val="382790168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112273" y="337320"/>
            <a:ext cx="9144000" cy="430887"/>
          </a:xfrm>
          <a:prstGeom prst="rect">
            <a:avLst/>
          </a:prstGeom>
          <a:noFill/>
        </p:spPr>
        <p:txBody>
          <a:bodyPr wrap="square" rtlCol="0">
            <a:spAutoFit/>
          </a:bodyPr>
          <a:lstStyle/>
          <a:p>
            <a:pPr algn="ctr" rtl="1"/>
            <a:r>
              <a:rPr lang="ar-TN" sz="2200" b="1" dirty="0">
                <a:solidFill>
                  <a:srgbClr val="E51B2E"/>
                </a:solidFill>
                <a:latin typeface="Simplified Arabic" pitchFamily="18" charset="-78"/>
                <a:cs typeface="Simplified Arabic" pitchFamily="18" charset="-78"/>
              </a:rPr>
              <a:t>الأمر الحكومي عدد 417 لسنة 2018</a:t>
            </a:r>
          </a:p>
        </p:txBody>
      </p:sp>
      <p:sp>
        <p:nvSpPr>
          <p:cNvPr id="7" name="TextBox 32"/>
          <p:cNvSpPr txBox="1"/>
          <p:nvPr/>
        </p:nvSpPr>
        <p:spPr>
          <a:xfrm>
            <a:off x="1116045" y="986173"/>
            <a:ext cx="6818919" cy="461665"/>
          </a:xfrm>
          <a:prstGeom prst="rect">
            <a:avLst/>
          </a:prstGeom>
          <a:noFill/>
        </p:spPr>
        <p:txBody>
          <a:bodyPr wrap="square" rtlCol="0">
            <a:spAutoFit/>
          </a:bodyPr>
          <a:lstStyle/>
          <a:p>
            <a:pPr algn="ctr"/>
            <a:r>
              <a:rPr lang="ar-EG" sz="2400" b="1" spc="38" dirty="0">
                <a:solidFill>
                  <a:srgbClr val="FF0000"/>
                </a:solidFill>
                <a:latin typeface="Arial Black" pitchFamily="34" charset="0"/>
                <a:ea typeface="Open Sans" panose="020B0606030504020204" pitchFamily="34" charset="0"/>
                <a:cs typeface="Open Sans" panose="020B0606030504020204" pitchFamily="34" charset="0"/>
              </a:rPr>
              <a:t>قائمة التراخيص الملحقة بالأمر الحكومي</a:t>
            </a:r>
            <a:endParaRPr lang="fr-FR" sz="2400" b="1" spc="38" dirty="0">
              <a:solidFill>
                <a:srgbClr val="FF0000"/>
              </a:solidFill>
              <a:latin typeface="Arial Black" pitchFamily="34" charset="0"/>
              <a:ea typeface="Open Sans" panose="020B0606030504020204" pitchFamily="34" charset="0"/>
              <a:cs typeface="Open Sans" panose="020B0606030504020204" pitchFamily="34" charset="0"/>
            </a:endParaRPr>
          </a:p>
        </p:txBody>
      </p:sp>
      <p:sp>
        <p:nvSpPr>
          <p:cNvPr id="8" name="Rectangle 7"/>
          <p:cNvSpPr/>
          <p:nvPr/>
        </p:nvSpPr>
        <p:spPr>
          <a:xfrm>
            <a:off x="1545662" y="4668246"/>
            <a:ext cx="1830318" cy="312531"/>
          </a:xfrm>
          <a:prstGeom prst="rect">
            <a:avLst/>
          </a:prstGeom>
          <a:solidFill>
            <a:srgbClr val="E5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b="1" dirty="0" smtClean="0">
                <a:latin typeface="Sakkal Majalla" pitchFamily="2" charset="-78"/>
                <a:cs typeface="Sakkal Majalla" pitchFamily="2" charset="-78"/>
              </a:rPr>
              <a:t>(</a:t>
            </a:r>
            <a:r>
              <a:rPr lang="ar-EG" b="1" dirty="0">
                <a:latin typeface="Sakkal Majalla" pitchFamily="2" charset="-78"/>
                <a:cs typeface="Sakkal Majalla" pitchFamily="2" charset="-78"/>
              </a:rPr>
              <a:t>143 ترخيصا</a:t>
            </a:r>
            <a:r>
              <a:rPr lang="fr-FR" b="1" dirty="0" smtClean="0">
                <a:latin typeface="Sakkal Majalla" pitchFamily="2" charset="-78"/>
                <a:cs typeface="Sakkal Majalla" pitchFamily="2" charset="-78"/>
              </a:rPr>
              <a:t>)*</a:t>
            </a:r>
            <a:endParaRPr lang="fr-FR" b="1" dirty="0">
              <a:latin typeface="Sakkal Majalla" pitchFamily="2" charset="-78"/>
              <a:cs typeface="Sakkal Majalla" pitchFamily="2" charset="-78"/>
            </a:endParaRPr>
          </a:p>
        </p:txBody>
      </p:sp>
      <p:sp>
        <p:nvSpPr>
          <p:cNvPr id="9" name="Isosceles Triangle 4"/>
          <p:cNvSpPr/>
          <p:nvPr/>
        </p:nvSpPr>
        <p:spPr>
          <a:xfrm rot="10800000">
            <a:off x="2384621" y="3485986"/>
            <a:ext cx="194332" cy="156311"/>
          </a:xfrm>
          <a:prstGeom prst="triangle">
            <a:avLst/>
          </a:prstGeom>
          <a:solidFill>
            <a:srgbClr val="E5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Bebas Neue Bold" panose="020B0606020202050201" pitchFamily="34" charset="-94"/>
            </a:endParaRPr>
          </a:p>
        </p:txBody>
      </p:sp>
      <p:cxnSp>
        <p:nvCxnSpPr>
          <p:cNvPr id="10" name="Connecteur droit 9"/>
          <p:cNvCxnSpPr/>
          <p:nvPr/>
        </p:nvCxnSpPr>
        <p:spPr>
          <a:xfrm>
            <a:off x="2457995" y="3482823"/>
            <a:ext cx="4414500" cy="0"/>
          </a:xfrm>
          <a:prstGeom prst="line">
            <a:avLst/>
          </a:prstGeom>
          <a:ln>
            <a:solidFill>
              <a:srgbClr val="E51B2E"/>
            </a:solidFill>
          </a:ln>
        </p:spPr>
        <p:style>
          <a:lnRef idx="1">
            <a:schemeClr val="accent1"/>
          </a:lnRef>
          <a:fillRef idx="0">
            <a:schemeClr val="accent1"/>
          </a:fillRef>
          <a:effectRef idx="0">
            <a:schemeClr val="accent1"/>
          </a:effectRef>
          <a:fontRef idx="minor">
            <a:schemeClr val="tx1"/>
          </a:fontRef>
        </p:style>
      </p:cxnSp>
      <p:sp>
        <p:nvSpPr>
          <p:cNvPr id="11" name="Isosceles Triangle 4"/>
          <p:cNvSpPr/>
          <p:nvPr/>
        </p:nvSpPr>
        <p:spPr>
          <a:xfrm rot="10800000">
            <a:off x="4470913" y="3487352"/>
            <a:ext cx="194332" cy="156311"/>
          </a:xfrm>
          <a:prstGeom prst="triangle">
            <a:avLst/>
          </a:prstGeom>
          <a:solidFill>
            <a:srgbClr val="E5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Bebas Neue Bold" panose="020B0606020202050201" pitchFamily="34" charset="-94"/>
            </a:endParaRPr>
          </a:p>
        </p:txBody>
      </p:sp>
      <p:sp>
        <p:nvSpPr>
          <p:cNvPr id="12" name="Isosceles Triangle 4"/>
          <p:cNvSpPr/>
          <p:nvPr/>
        </p:nvSpPr>
        <p:spPr>
          <a:xfrm rot="10800000">
            <a:off x="6775329" y="3482823"/>
            <a:ext cx="194332" cy="156311"/>
          </a:xfrm>
          <a:prstGeom prst="triangle">
            <a:avLst/>
          </a:prstGeom>
          <a:solidFill>
            <a:srgbClr val="E5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Bebas Neue Bold" panose="020B0606020202050201" pitchFamily="34" charset="-94"/>
            </a:endParaRPr>
          </a:p>
        </p:txBody>
      </p:sp>
      <p:sp>
        <p:nvSpPr>
          <p:cNvPr id="13" name="Rectangle 12"/>
          <p:cNvSpPr/>
          <p:nvPr/>
        </p:nvSpPr>
        <p:spPr>
          <a:xfrm>
            <a:off x="1545662" y="3686286"/>
            <a:ext cx="1830318" cy="93560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EG" sz="1600" dirty="0">
                <a:solidFill>
                  <a:schemeClr val="tx1"/>
                </a:solidFill>
                <a:latin typeface="Sakkal Majalla" pitchFamily="2" charset="-78"/>
                <a:cs typeface="Sakkal Majalla" pitchFamily="2" charset="-78"/>
              </a:rPr>
              <a:t>قائمة التراخيص الإدارية المستوجبة لإنجاز مشروع</a:t>
            </a:r>
            <a:endParaRPr lang="fr-FR" sz="1600" dirty="0">
              <a:solidFill>
                <a:schemeClr val="tx1"/>
              </a:solidFill>
              <a:latin typeface="Sakkal Majalla" pitchFamily="2" charset="-78"/>
              <a:cs typeface="Sakkal Majalla" pitchFamily="2" charset="-78"/>
            </a:endParaRPr>
          </a:p>
        </p:txBody>
      </p:sp>
      <p:sp>
        <p:nvSpPr>
          <p:cNvPr id="14" name="Rectangle 13"/>
          <p:cNvSpPr/>
          <p:nvPr/>
        </p:nvSpPr>
        <p:spPr>
          <a:xfrm>
            <a:off x="2586305" y="3016097"/>
            <a:ext cx="4189024" cy="371254"/>
          </a:xfrm>
          <a:prstGeom prst="rect">
            <a:avLst/>
          </a:prstGeom>
          <a:solidFill>
            <a:srgbClr val="E5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ar-EG" b="1" dirty="0">
                <a:latin typeface="Sakkal Majalla" pitchFamily="2" charset="-78"/>
                <a:cs typeface="Sakkal Majalla" pitchFamily="2" charset="-78"/>
              </a:rPr>
              <a:t> 270 ترخيصا</a:t>
            </a:r>
            <a:endParaRPr lang="fr-FR" b="1" dirty="0">
              <a:latin typeface="Sakkal Majalla" pitchFamily="2" charset="-78"/>
              <a:cs typeface="Sakkal Majalla" pitchFamily="2" charset="-78"/>
            </a:endParaRPr>
          </a:p>
        </p:txBody>
      </p:sp>
      <p:sp>
        <p:nvSpPr>
          <p:cNvPr id="15" name="Rectangle 14"/>
          <p:cNvSpPr/>
          <p:nvPr/>
        </p:nvSpPr>
        <p:spPr>
          <a:xfrm>
            <a:off x="5970824" y="4670627"/>
            <a:ext cx="1830318" cy="312531"/>
          </a:xfrm>
          <a:prstGeom prst="rect">
            <a:avLst/>
          </a:prstGeom>
          <a:solidFill>
            <a:srgbClr val="E5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b="1" dirty="0" smtClean="0">
                <a:latin typeface="Sakkal Majalla" pitchFamily="2" charset="-78"/>
                <a:cs typeface="Sakkal Majalla" pitchFamily="2" charset="-78"/>
              </a:rPr>
              <a:t>(</a:t>
            </a:r>
            <a:r>
              <a:rPr lang="ar-EG" b="1" dirty="0">
                <a:latin typeface="Sakkal Majalla" pitchFamily="2" charset="-78"/>
                <a:cs typeface="Sakkal Majalla" pitchFamily="2" charset="-78"/>
              </a:rPr>
              <a:t>27 ترخيصا</a:t>
            </a:r>
            <a:r>
              <a:rPr lang="fr-FR" b="1" dirty="0" smtClean="0">
                <a:latin typeface="Sakkal Majalla" pitchFamily="2" charset="-78"/>
                <a:cs typeface="Sakkal Majalla" pitchFamily="2" charset="-78"/>
              </a:rPr>
              <a:t>)</a:t>
            </a:r>
            <a:endParaRPr lang="fr-FR" b="1" dirty="0">
              <a:latin typeface="Sakkal Majalla" pitchFamily="2" charset="-78"/>
              <a:cs typeface="Sakkal Majalla" pitchFamily="2" charset="-78"/>
            </a:endParaRPr>
          </a:p>
        </p:txBody>
      </p:sp>
      <p:sp>
        <p:nvSpPr>
          <p:cNvPr id="16" name="Rectangle 15"/>
          <p:cNvSpPr/>
          <p:nvPr/>
        </p:nvSpPr>
        <p:spPr>
          <a:xfrm>
            <a:off x="5970824" y="3688667"/>
            <a:ext cx="1830318" cy="93560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EG" sz="1600" dirty="0">
                <a:solidFill>
                  <a:schemeClr val="tx1"/>
                </a:solidFill>
                <a:latin typeface="Sakkal Majalla" pitchFamily="2" charset="-78"/>
                <a:cs typeface="Sakkal Majalla" pitchFamily="2" charset="-78"/>
              </a:rPr>
              <a:t>قائمة الأنشطة الاقتصادية الخاضعة لترخيص</a:t>
            </a:r>
            <a:endParaRPr lang="fr-FR" sz="1600" dirty="0">
              <a:solidFill>
                <a:schemeClr val="tx1"/>
              </a:solidFill>
              <a:latin typeface="Sakkal Majalla" pitchFamily="2" charset="-78"/>
              <a:cs typeface="Sakkal Majalla" pitchFamily="2" charset="-78"/>
            </a:endParaRPr>
          </a:p>
        </p:txBody>
      </p:sp>
      <p:sp>
        <p:nvSpPr>
          <p:cNvPr id="17" name="Rectangle 16"/>
          <p:cNvSpPr/>
          <p:nvPr/>
        </p:nvSpPr>
        <p:spPr>
          <a:xfrm>
            <a:off x="3702292" y="4680152"/>
            <a:ext cx="1830318" cy="312531"/>
          </a:xfrm>
          <a:prstGeom prst="rect">
            <a:avLst/>
          </a:prstGeom>
          <a:solidFill>
            <a:srgbClr val="E5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b="1" dirty="0" smtClean="0">
                <a:latin typeface="Sakkal Majalla" pitchFamily="2" charset="-78"/>
                <a:cs typeface="Sakkal Majalla" pitchFamily="2" charset="-78"/>
              </a:rPr>
              <a:t>(</a:t>
            </a:r>
            <a:r>
              <a:rPr lang="ar-EG" b="1" dirty="0">
                <a:latin typeface="Sakkal Majalla" pitchFamily="2" charset="-78"/>
                <a:cs typeface="Sakkal Majalla" pitchFamily="2" charset="-78"/>
              </a:rPr>
              <a:t>100 ترخيصا</a:t>
            </a:r>
            <a:r>
              <a:rPr lang="fr-FR" b="1" dirty="0" smtClean="0">
                <a:latin typeface="Sakkal Majalla" pitchFamily="2" charset="-78"/>
                <a:cs typeface="Sakkal Majalla" pitchFamily="2" charset="-78"/>
              </a:rPr>
              <a:t>)*</a:t>
            </a:r>
            <a:endParaRPr lang="fr-FR" b="1" dirty="0">
              <a:latin typeface="Sakkal Majalla" pitchFamily="2" charset="-78"/>
              <a:cs typeface="Sakkal Majalla" pitchFamily="2" charset="-78"/>
            </a:endParaRPr>
          </a:p>
        </p:txBody>
      </p:sp>
      <p:sp>
        <p:nvSpPr>
          <p:cNvPr id="18" name="Rectangle 17"/>
          <p:cNvSpPr/>
          <p:nvPr/>
        </p:nvSpPr>
        <p:spPr>
          <a:xfrm>
            <a:off x="3702292" y="3698192"/>
            <a:ext cx="1830318" cy="93560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EG" sz="1400" dirty="0">
                <a:solidFill>
                  <a:schemeClr val="tx1"/>
                </a:solidFill>
                <a:latin typeface="Sakkal Majalla" pitchFamily="2" charset="-78"/>
                <a:cs typeface="Sakkal Majalla" pitchFamily="2" charset="-78"/>
              </a:rPr>
              <a:t>قائمة الأنشطة الاقتصادية التي تم حذف تراخيص ممارستها والتي يمكن تعويضها بكراس شروط</a:t>
            </a:r>
            <a:endParaRPr lang="fr-FR" sz="1400" dirty="0">
              <a:solidFill>
                <a:schemeClr val="tx1"/>
              </a:solidFill>
              <a:latin typeface="Sakkal Majalla" pitchFamily="2" charset="-78"/>
              <a:cs typeface="Sakkal Majalla" pitchFamily="2" charset="-78"/>
            </a:endParaRPr>
          </a:p>
        </p:txBody>
      </p:sp>
      <p:sp>
        <p:nvSpPr>
          <p:cNvPr id="19" name="ZoneTexte 18"/>
          <p:cNvSpPr txBox="1"/>
          <p:nvPr/>
        </p:nvSpPr>
        <p:spPr>
          <a:xfrm>
            <a:off x="1425742" y="5188619"/>
            <a:ext cx="6406816" cy="369332"/>
          </a:xfrm>
          <a:prstGeom prst="rect">
            <a:avLst/>
          </a:prstGeom>
          <a:noFill/>
        </p:spPr>
        <p:txBody>
          <a:bodyPr wrap="square" rtlCol="0">
            <a:spAutoFit/>
          </a:bodyPr>
          <a:lstStyle/>
          <a:p>
            <a:pPr algn="r"/>
            <a:r>
              <a:rPr lang="ar-EG" b="1" dirty="0" err="1" smtClean="0">
                <a:latin typeface="Sakkal Majalla" pitchFamily="2" charset="-78"/>
                <a:cs typeface="Sakkal Majalla" pitchFamily="2" charset="-78"/>
              </a:rPr>
              <a:t>*</a:t>
            </a:r>
            <a:r>
              <a:rPr lang="ar-TN" b="1" dirty="0" smtClean="0">
                <a:latin typeface="Sakkal Majalla" pitchFamily="2" charset="-78"/>
                <a:cs typeface="Sakkal Majalla" pitchFamily="2" charset="-78"/>
              </a:rPr>
              <a:t> </a:t>
            </a:r>
            <a:r>
              <a:rPr lang="ar-EG" b="1" dirty="0" smtClean="0">
                <a:latin typeface="Sakkal Majalla" pitchFamily="2" charset="-78"/>
                <a:cs typeface="Sakkal Majalla" pitchFamily="2" charset="-78"/>
              </a:rPr>
              <a:t>26 </a:t>
            </a:r>
            <a:r>
              <a:rPr lang="ar-EG" b="1" dirty="0">
                <a:latin typeface="Sakkal Majalla" pitchFamily="2" charset="-78"/>
                <a:cs typeface="Sakkal Majalla" pitchFamily="2" charset="-78"/>
              </a:rPr>
              <a:t>ترخيص مستثناة من مبدأ السكوت</a:t>
            </a:r>
            <a:endParaRPr lang="fr-FR" b="1" dirty="0" smtClean="0">
              <a:latin typeface="Sakkal Majalla" pitchFamily="2" charset="-78"/>
              <a:cs typeface="Sakkal Majalla" pitchFamily="2" charset="-78"/>
            </a:endParaRPr>
          </a:p>
        </p:txBody>
      </p:sp>
      <p:sp>
        <p:nvSpPr>
          <p:cNvPr id="20" name="AutoShape 26"/>
          <p:cNvSpPr>
            <a:spLocks noChangeArrowheads="1"/>
          </p:cNvSpPr>
          <p:nvPr/>
        </p:nvSpPr>
        <p:spPr bwMode="auto">
          <a:xfrm>
            <a:off x="2586305" y="1726158"/>
            <a:ext cx="4189024" cy="1218303"/>
          </a:xfrm>
          <a:prstGeom prst="rect">
            <a:avLst/>
          </a:prstGeom>
          <a:solidFill>
            <a:schemeClr val="bg1">
              <a:lumMod val="95000"/>
            </a:schemeClr>
          </a:solidFill>
          <a:ln w="9525" algn="ctr">
            <a:noFill/>
            <a:prstDash val="solid"/>
            <a:round/>
            <a:headEnd/>
            <a:tailEnd/>
          </a:ln>
        </p:spPr>
        <p:txBody>
          <a:bodyPr lIns="107994" tIns="107994" rIns="107994" bIns="107994" anchor="ctr"/>
          <a:lstStyle/>
          <a:p>
            <a:pPr algn="just" defTabSz="1911350" rtl="1">
              <a:spcAft>
                <a:spcPts val="600"/>
              </a:spcAft>
              <a:buClr>
                <a:srgbClr val="C00000"/>
              </a:buClr>
              <a:buSzPct val="110000"/>
              <a:tabLst>
                <a:tab pos="533400" algn="l"/>
                <a:tab pos="7572376" algn="r"/>
                <a:tab pos="8572500" algn="l"/>
                <a:tab pos="11350626" algn="l"/>
              </a:tabLst>
            </a:pPr>
            <a:r>
              <a:rPr lang="ar-EG" altLang="fr-FR" sz="2000" dirty="0">
                <a:latin typeface="Sakkal Majalla" panose="02000000000000000000" pitchFamily="2" charset="-78"/>
                <a:cs typeface="Sakkal Majalla" panose="02000000000000000000" pitchFamily="2" charset="-78"/>
              </a:rPr>
              <a:t>القائمة الحصرية للأنشطة </a:t>
            </a:r>
            <a:r>
              <a:rPr lang="ar-EG" altLang="fr-FR" sz="2000" dirty="0" smtClean="0">
                <a:latin typeface="Sakkal Majalla" panose="02000000000000000000" pitchFamily="2" charset="-78"/>
                <a:cs typeface="Sakkal Majalla" panose="02000000000000000000" pitchFamily="2" charset="-78"/>
              </a:rPr>
              <a:t>الاقتصادية </a:t>
            </a:r>
            <a:r>
              <a:rPr lang="ar-EG" altLang="fr-FR" sz="2000" dirty="0">
                <a:latin typeface="Sakkal Majalla" panose="02000000000000000000" pitchFamily="2" charset="-78"/>
                <a:cs typeface="Sakkal Majalla" panose="02000000000000000000" pitchFamily="2" charset="-78"/>
              </a:rPr>
              <a:t>الخاضعة لترخيص و قائمة </a:t>
            </a:r>
            <a:r>
              <a:rPr lang="ar-EG" altLang="fr-FR" sz="2000" dirty="0" smtClean="0">
                <a:latin typeface="Sakkal Majalla" panose="02000000000000000000" pitchFamily="2" charset="-78"/>
                <a:cs typeface="Sakkal Majalla" panose="02000000000000000000" pitchFamily="2" charset="-78"/>
              </a:rPr>
              <a:t>التراخيص</a:t>
            </a:r>
            <a:r>
              <a:rPr lang="fr-FR" altLang="fr-FR" sz="2000" dirty="0" smtClean="0">
                <a:latin typeface="Sakkal Majalla" panose="02000000000000000000" pitchFamily="2" charset="-78"/>
                <a:cs typeface="Sakkal Majalla" panose="02000000000000000000" pitchFamily="2" charset="-78"/>
              </a:rPr>
              <a:t> </a:t>
            </a:r>
            <a:r>
              <a:rPr lang="ar-EG" altLang="fr-FR" sz="2000" dirty="0" smtClean="0">
                <a:latin typeface="Sakkal Majalla" panose="02000000000000000000" pitchFamily="2" charset="-78"/>
                <a:cs typeface="Sakkal Majalla" panose="02000000000000000000" pitchFamily="2" charset="-78"/>
              </a:rPr>
              <a:t>الإدارية</a:t>
            </a:r>
            <a:r>
              <a:rPr lang="fr-FR" altLang="fr-FR" sz="2000" dirty="0" smtClean="0">
                <a:latin typeface="Sakkal Majalla" panose="02000000000000000000" pitchFamily="2" charset="-78"/>
                <a:cs typeface="Sakkal Majalla" panose="02000000000000000000" pitchFamily="2" charset="-78"/>
              </a:rPr>
              <a:t> </a:t>
            </a:r>
            <a:r>
              <a:rPr lang="ar-EG" altLang="fr-FR" sz="2000" dirty="0" smtClean="0">
                <a:latin typeface="Sakkal Majalla" panose="02000000000000000000" pitchFamily="2" charset="-78"/>
                <a:cs typeface="Sakkal Majalla" panose="02000000000000000000" pitchFamily="2" charset="-78"/>
              </a:rPr>
              <a:t>لإنجاز </a:t>
            </a:r>
            <a:r>
              <a:rPr lang="ar-EG" altLang="fr-FR" sz="2000" dirty="0">
                <a:latin typeface="Sakkal Majalla" panose="02000000000000000000" pitchFamily="2" charset="-78"/>
                <a:cs typeface="Sakkal Majalla" panose="02000000000000000000" pitchFamily="2" charset="-78"/>
              </a:rPr>
              <a:t>مشروع</a:t>
            </a:r>
            <a:endParaRPr lang="fr-FR" altLang="fr-FR" sz="2000" dirty="0">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xmlns="" val="282523656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112273" y="337320"/>
            <a:ext cx="9144000" cy="430887"/>
          </a:xfrm>
          <a:prstGeom prst="rect">
            <a:avLst/>
          </a:prstGeom>
          <a:noFill/>
        </p:spPr>
        <p:txBody>
          <a:bodyPr wrap="square" rtlCol="0">
            <a:spAutoFit/>
          </a:bodyPr>
          <a:lstStyle/>
          <a:p>
            <a:pPr algn="ctr" rtl="1"/>
            <a:r>
              <a:rPr lang="ar-TN" sz="2200" b="1" dirty="0">
                <a:solidFill>
                  <a:srgbClr val="E51B2E"/>
                </a:solidFill>
                <a:latin typeface="Simplified Arabic" pitchFamily="18" charset="-78"/>
                <a:cs typeface="Simplified Arabic" pitchFamily="18" charset="-78"/>
              </a:rPr>
              <a:t>الأمر الحكومي عدد 417 لسنة 2018</a:t>
            </a:r>
          </a:p>
        </p:txBody>
      </p:sp>
      <p:sp>
        <p:nvSpPr>
          <p:cNvPr id="21" name="TextBox 32"/>
          <p:cNvSpPr txBox="1"/>
          <p:nvPr/>
        </p:nvSpPr>
        <p:spPr>
          <a:xfrm>
            <a:off x="1116045" y="986173"/>
            <a:ext cx="6818919" cy="461665"/>
          </a:xfrm>
          <a:prstGeom prst="rect">
            <a:avLst/>
          </a:prstGeom>
          <a:noFill/>
        </p:spPr>
        <p:txBody>
          <a:bodyPr wrap="square" rtlCol="0">
            <a:spAutoFit/>
          </a:bodyPr>
          <a:lstStyle/>
          <a:p>
            <a:pPr algn="r" rtl="1"/>
            <a:r>
              <a:rPr lang="ar-EG" sz="2400" b="1" spc="38" dirty="0">
                <a:solidFill>
                  <a:srgbClr val="FF0000"/>
                </a:solidFill>
                <a:latin typeface="Arial Black" pitchFamily="34" charset="0"/>
                <a:ea typeface="Open Sans" panose="020B0606030504020204" pitchFamily="34" charset="0"/>
                <a:cs typeface="Open Sans" panose="020B0606030504020204" pitchFamily="34" charset="0"/>
              </a:rPr>
              <a:t>أهم الأحكام</a:t>
            </a:r>
            <a:endParaRPr lang="fr-FR" sz="2400" b="1" spc="38" dirty="0">
              <a:solidFill>
                <a:srgbClr val="FF0000"/>
              </a:solidFill>
              <a:latin typeface="Arial Black" pitchFamily="34" charset="0"/>
              <a:ea typeface="Open Sans" panose="020B0606030504020204" pitchFamily="34" charset="0"/>
              <a:cs typeface="Open Sans" panose="020B0606030504020204" pitchFamily="34" charset="0"/>
            </a:endParaRPr>
          </a:p>
        </p:txBody>
      </p:sp>
      <p:sp>
        <p:nvSpPr>
          <p:cNvPr id="22" name="Rectangle 21"/>
          <p:cNvSpPr/>
          <p:nvPr/>
        </p:nvSpPr>
        <p:spPr>
          <a:xfrm>
            <a:off x="6256406" y="1693576"/>
            <a:ext cx="2265055" cy="1875026"/>
          </a:xfrm>
          <a:prstGeom prst="rect">
            <a:avLst/>
          </a:prstGeom>
          <a:solidFill>
            <a:srgbClr val="E5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1"/>
            <a:r>
              <a:rPr lang="ar-EG" sz="2400" b="1" dirty="0" smtClean="0">
                <a:latin typeface="Sakkal Majalla" pitchFamily="2" charset="-78"/>
                <a:cs typeface="Sakkal Majalla" pitchFamily="2" charset="-78"/>
              </a:rPr>
              <a:t>3 </a:t>
            </a:r>
            <a:r>
              <a:rPr lang="ar-EG" sz="2400" b="1" dirty="0">
                <a:latin typeface="Sakkal Majalla" pitchFamily="2" charset="-78"/>
                <a:cs typeface="Sakkal Majalla" pitchFamily="2" charset="-78"/>
              </a:rPr>
              <a:t>مبادئ جديدة</a:t>
            </a:r>
            <a:endParaRPr lang="fr-FR" sz="2400" b="1" dirty="0">
              <a:latin typeface="Sakkal Majalla" pitchFamily="2" charset="-78"/>
              <a:cs typeface="Sakkal Majalla" pitchFamily="2" charset="-78"/>
            </a:endParaRPr>
          </a:p>
        </p:txBody>
      </p:sp>
      <p:sp>
        <p:nvSpPr>
          <p:cNvPr id="23" name="AutoShape 26"/>
          <p:cNvSpPr>
            <a:spLocks noChangeArrowheads="1"/>
          </p:cNvSpPr>
          <p:nvPr/>
        </p:nvSpPr>
        <p:spPr bwMode="auto">
          <a:xfrm>
            <a:off x="674684" y="1676149"/>
            <a:ext cx="4189024" cy="396000"/>
          </a:xfrm>
          <a:prstGeom prst="rect">
            <a:avLst/>
          </a:prstGeom>
          <a:solidFill>
            <a:schemeClr val="bg1">
              <a:lumMod val="95000"/>
            </a:schemeClr>
          </a:solidFill>
          <a:ln w="9525" algn="ctr">
            <a:noFill/>
            <a:prstDash val="solid"/>
            <a:round/>
            <a:headEnd/>
            <a:tailEnd/>
          </a:ln>
        </p:spPr>
        <p:txBody>
          <a:bodyPr lIns="107994" tIns="107994" rIns="107994" bIns="107994" anchor="ctr"/>
          <a:lstStyle/>
          <a:p>
            <a:pPr algn="just" defTabSz="1911350" rtl="1">
              <a:spcAft>
                <a:spcPts val="600"/>
              </a:spcAft>
              <a:buClr>
                <a:srgbClr val="C00000"/>
              </a:buClr>
              <a:buSzPct val="110000"/>
              <a:tabLst>
                <a:tab pos="533400" algn="l"/>
                <a:tab pos="7572376" algn="r"/>
                <a:tab pos="8572500" algn="l"/>
                <a:tab pos="11350626" algn="l"/>
              </a:tabLst>
            </a:pPr>
            <a:r>
              <a:rPr lang="ar-EG" altLang="fr-FR" sz="1400" dirty="0" smtClean="0">
                <a:latin typeface="Calibri" panose="020F0502020204030204" pitchFamily="34" charset="0"/>
                <a:cs typeface="Calibri" panose="020F0502020204030204" pitchFamily="34" charset="0"/>
              </a:rPr>
              <a:t>إحداث</a:t>
            </a:r>
            <a:r>
              <a:rPr lang="fr-FR" altLang="fr-FR" sz="1400" dirty="0" smtClean="0">
                <a:latin typeface="Calibri" panose="020F0502020204030204" pitchFamily="34" charset="0"/>
                <a:cs typeface="Calibri" panose="020F0502020204030204" pitchFamily="34" charset="0"/>
              </a:rPr>
              <a:t> </a:t>
            </a:r>
            <a:r>
              <a:rPr lang="ar-EG" altLang="fr-FR" sz="1400" dirty="0" smtClean="0">
                <a:latin typeface="Calibri" panose="020F0502020204030204" pitchFamily="34" charset="0"/>
                <a:cs typeface="Calibri" panose="020F0502020204030204" pitchFamily="34" charset="0"/>
              </a:rPr>
              <a:t>مبدأ </a:t>
            </a:r>
            <a:r>
              <a:rPr lang="ar-EG" altLang="fr-FR" sz="1400" dirty="0">
                <a:latin typeface="Calibri" panose="020F0502020204030204" pitchFamily="34" charset="0"/>
                <a:cs typeface="Calibri" panose="020F0502020204030204" pitchFamily="34" charset="0"/>
              </a:rPr>
              <a:t>سكوت الإدارة</a:t>
            </a:r>
            <a:endParaRPr lang="fr-FR" altLang="fr-FR" sz="1400" dirty="0">
              <a:latin typeface="Calibri" panose="020F0502020204030204" pitchFamily="34" charset="0"/>
              <a:cs typeface="Calibri" panose="020F0502020204030204" pitchFamily="34" charset="0"/>
            </a:endParaRPr>
          </a:p>
        </p:txBody>
      </p:sp>
      <p:sp>
        <p:nvSpPr>
          <p:cNvPr id="24" name="AutoShape 26"/>
          <p:cNvSpPr>
            <a:spLocks noChangeArrowheads="1"/>
          </p:cNvSpPr>
          <p:nvPr/>
        </p:nvSpPr>
        <p:spPr bwMode="auto">
          <a:xfrm>
            <a:off x="5238648" y="1693576"/>
            <a:ext cx="441361" cy="396000"/>
          </a:xfrm>
          <a:prstGeom prst="rect">
            <a:avLst/>
          </a:prstGeom>
          <a:solidFill>
            <a:schemeClr val="bg1">
              <a:lumMod val="95000"/>
            </a:schemeClr>
          </a:solidFill>
          <a:ln w="9525" algn="ctr">
            <a:noFill/>
            <a:prstDash val="solid"/>
            <a:round/>
            <a:headEnd/>
            <a:tailEnd/>
          </a:ln>
        </p:spPr>
        <p:txBody>
          <a:bodyPr lIns="107994" tIns="107994" rIns="107994" bIns="107994" anchor="ctr"/>
          <a:lstStyle/>
          <a:p>
            <a:pPr algn="just" defTabSz="1911350" rtl="1">
              <a:spcAft>
                <a:spcPts val="600"/>
              </a:spcAft>
              <a:buClr>
                <a:srgbClr val="C00000"/>
              </a:buClr>
              <a:buSzPct val="110000"/>
              <a:tabLst>
                <a:tab pos="533400" algn="l"/>
                <a:tab pos="7572376" algn="r"/>
                <a:tab pos="8572500" algn="l"/>
                <a:tab pos="11350626" algn="l"/>
              </a:tabLst>
            </a:pPr>
            <a:r>
              <a:rPr lang="fr-FR" altLang="fr-FR" sz="1400" dirty="0">
                <a:latin typeface="Calibri" panose="020F0502020204030204" pitchFamily="34" charset="0"/>
                <a:cs typeface="Calibri" panose="020F0502020204030204" pitchFamily="34" charset="0"/>
              </a:rPr>
              <a:t>1</a:t>
            </a:r>
          </a:p>
        </p:txBody>
      </p:sp>
      <p:sp>
        <p:nvSpPr>
          <p:cNvPr id="25" name="AutoShape 26"/>
          <p:cNvSpPr>
            <a:spLocks noChangeArrowheads="1"/>
          </p:cNvSpPr>
          <p:nvPr/>
        </p:nvSpPr>
        <p:spPr bwMode="auto">
          <a:xfrm>
            <a:off x="674684" y="2137314"/>
            <a:ext cx="4189024" cy="648000"/>
          </a:xfrm>
          <a:prstGeom prst="rect">
            <a:avLst/>
          </a:prstGeom>
          <a:solidFill>
            <a:schemeClr val="bg1">
              <a:lumMod val="95000"/>
            </a:schemeClr>
          </a:solidFill>
          <a:ln w="9525" algn="ctr">
            <a:noFill/>
            <a:prstDash val="solid"/>
            <a:round/>
            <a:headEnd/>
            <a:tailEnd/>
          </a:ln>
        </p:spPr>
        <p:txBody>
          <a:bodyPr lIns="107994" tIns="107994" rIns="107994" bIns="107994" anchor="ctr"/>
          <a:lstStyle/>
          <a:p>
            <a:pPr algn="just" defTabSz="1911350" rtl="1">
              <a:spcAft>
                <a:spcPts val="600"/>
              </a:spcAft>
              <a:buClr>
                <a:srgbClr val="C00000"/>
              </a:buClr>
              <a:buSzPct val="110000"/>
              <a:tabLst>
                <a:tab pos="533400" algn="l"/>
                <a:tab pos="7572376" algn="r"/>
                <a:tab pos="8572500" algn="l"/>
                <a:tab pos="11350626" algn="l"/>
              </a:tabLst>
            </a:pPr>
            <a:r>
              <a:rPr lang="ar-EG" altLang="fr-FR" sz="1400" dirty="0">
                <a:latin typeface="Calibri" panose="020F0502020204030204" pitchFamily="34" charset="0"/>
                <a:cs typeface="Calibri" panose="020F0502020204030204" pitchFamily="34" charset="0"/>
              </a:rPr>
              <a:t>تحديد آجال 60 يوما بالنسبة للتراخيص التي لم يتم تحديد آجالها في النصوص القانونية</a:t>
            </a:r>
            <a:endParaRPr lang="fr-FR" altLang="fr-FR" sz="1400" dirty="0">
              <a:latin typeface="Calibri" panose="020F0502020204030204" pitchFamily="34" charset="0"/>
              <a:cs typeface="Calibri" panose="020F0502020204030204" pitchFamily="34" charset="0"/>
            </a:endParaRPr>
          </a:p>
        </p:txBody>
      </p:sp>
      <p:sp>
        <p:nvSpPr>
          <p:cNvPr id="26" name="AutoShape 26"/>
          <p:cNvSpPr>
            <a:spLocks noChangeArrowheads="1"/>
          </p:cNvSpPr>
          <p:nvPr/>
        </p:nvSpPr>
        <p:spPr bwMode="auto">
          <a:xfrm>
            <a:off x="5238648" y="2154741"/>
            <a:ext cx="441361" cy="648000"/>
          </a:xfrm>
          <a:prstGeom prst="rect">
            <a:avLst/>
          </a:prstGeom>
          <a:solidFill>
            <a:schemeClr val="bg1">
              <a:lumMod val="95000"/>
            </a:schemeClr>
          </a:solidFill>
          <a:ln w="9525" algn="ctr">
            <a:noFill/>
            <a:prstDash val="solid"/>
            <a:round/>
            <a:headEnd/>
            <a:tailEnd/>
          </a:ln>
        </p:spPr>
        <p:txBody>
          <a:bodyPr lIns="107994" tIns="107994" rIns="107994" bIns="107994" anchor="ctr"/>
          <a:lstStyle/>
          <a:p>
            <a:pPr algn="just" defTabSz="1911350" rtl="1">
              <a:spcAft>
                <a:spcPts val="600"/>
              </a:spcAft>
              <a:buClr>
                <a:srgbClr val="C00000"/>
              </a:buClr>
              <a:buSzPct val="110000"/>
              <a:tabLst>
                <a:tab pos="533400" algn="l"/>
                <a:tab pos="7572376" algn="r"/>
                <a:tab pos="8572500" algn="l"/>
                <a:tab pos="11350626" algn="l"/>
              </a:tabLst>
            </a:pPr>
            <a:r>
              <a:rPr lang="fr-FR" altLang="fr-FR" sz="1400" dirty="0" smtClean="0">
                <a:latin typeface="Calibri" panose="020F0502020204030204" pitchFamily="34" charset="0"/>
                <a:cs typeface="Calibri" panose="020F0502020204030204" pitchFamily="34" charset="0"/>
              </a:rPr>
              <a:t>2</a:t>
            </a:r>
            <a:endParaRPr lang="fr-FR" altLang="fr-FR" sz="1400" dirty="0">
              <a:latin typeface="Calibri" panose="020F0502020204030204" pitchFamily="34" charset="0"/>
              <a:cs typeface="Calibri" panose="020F0502020204030204" pitchFamily="34" charset="0"/>
            </a:endParaRPr>
          </a:p>
        </p:txBody>
      </p:sp>
      <p:sp>
        <p:nvSpPr>
          <p:cNvPr id="27" name="AutoShape 26"/>
          <p:cNvSpPr>
            <a:spLocks noChangeArrowheads="1"/>
          </p:cNvSpPr>
          <p:nvPr/>
        </p:nvSpPr>
        <p:spPr bwMode="auto">
          <a:xfrm>
            <a:off x="674684" y="2903175"/>
            <a:ext cx="4189024" cy="648000"/>
          </a:xfrm>
          <a:prstGeom prst="rect">
            <a:avLst/>
          </a:prstGeom>
          <a:solidFill>
            <a:schemeClr val="bg1">
              <a:lumMod val="95000"/>
            </a:schemeClr>
          </a:solidFill>
          <a:ln w="9525" algn="ctr">
            <a:noFill/>
            <a:prstDash val="solid"/>
            <a:round/>
            <a:headEnd/>
            <a:tailEnd/>
          </a:ln>
        </p:spPr>
        <p:txBody>
          <a:bodyPr lIns="107994" tIns="107994" rIns="107994" bIns="107994" anchor="ctr"/>
          <a:lstStyle/>
          <a:p>
            <a:pPr algn="just" defTabSz="1911350" rtl="1">
              <a:spcAft>
                <a:spcPts val="600"/>
              </a:spcAft>
              <a:buClr>
                <a:srgbClr val="C00000"/>
              </a:buClr>
              <a:buSzPct val="110000"/>
              <a:tabLst>
                <a:tab pos="533400" algn="l"/>
                <a:tab pos="7572376" algn="r"/>
                <a:tab pos="8572500" algn="l"/>
                <a:tab pos="11350626" algn="l"/>
              </a:tabLst>
            </a:pPr>
            <a:r>
              <a:rPr lang="ar-EG" altLang="fr-FR" sz="1400" dirty="0" smtClean="0">
                <a:latin typeface="Calibri" panose="020F0502020204030204" pitchFamily="34" charset="0"/>
                <a:cs typeface="Calibri" panose="020F0502020204030204" pitchFamily="34" charset="0"/>
              </a:rPr>
              <a:t>تركيز </a:t>
            </a:r>
            <a:r>
              <a:rPr lang="ar-EG" altLang="fr-FR" sz="1400" dirty="0">
                <a:latin typeface="Calibri" panose="020F0502020204030204" pitchFamily="34" charset="0"/>
                <a:cs typeface="Calibri" panose="020F0502020204030204" pitchFamily="34" charset="0"/>
              </a:rPr>
              <a:t>المخاطب الوحيد في الهيئة التونسية </a:t>
            </a:r>
            <a:r>
              <a:rPr lang="ar-EG" altLang="fr-FR" sz="1400" dirty="0" smtClean="0">
                <a:latin typeface="Calibri" panose="020F0502020204030204" pitchFamily="34" charset="0"/>
                <a:cs typeface="Calibri" panose="020F0502020204030204" pitchFamily="34" charset="0"/>
              </a:rPr>
              <a:t>للاستثمار </a:t>
            </a:r>
            <a:r>
              <a:rPr lang="ar-EG" altLang="fr-FR" sz="1400" dirty="0">
                <a:latin typeface="Calibri" panose="020F0502020204030204" pitchFamily="34" charset="0"/>
                <a:cs typeface="Calibri" panose="020F0502020204030204" pitchFamily="34" charset="0"/>
              </a:rPr>
              <a:t>الذي سيسند التراخيص </a:t>
            </a:r>
            <a:endParaRPr lang="fr-FR" altLang="fr-FR" sz="1400" dirty="0">
              <a:latin typeface="Calibri" panose="020F0502020204030204" pitchFamily="34" charset="0"/>
              <a:cs typeface="Calibri" panose="020F0502020204030204" pitchFamily="34" charset="0"/>
            </a:endParaRPr>
          </a:p>
        </p:txBody>
      </p:sp>
      <p:sp>
        <p:nvSpPr>
          <p:cNvPr id="28" name="AutoShape 26"/>
          <p:cNvSpPr>
            <a:spLocks noChangeArrowheads="1"/>
          </p:cNvSpPr>
          <p:nvPr/>
        </p:nvSpPr>
        <p:spPr bwMode="auto">
          <a:xfrm>
            <a:off x="5238648" y="2920602"/>
            <a:ext cx="441361" cy="648000"/>
          </a:xfrm>
          <a:prstGeom prst="rect">
            <a:avLst/>
          </a:prstGeom>
          <a:solidFill>
            <a:schemeClr val="bg1">
              <a:lumMod val="95000"/>
            </a:schemeClr>
          </a:solidFill>
          <a:ln w="9525" algn="ctr">
            <a:noFill/>
            <a:prstDash val="solid"/>
            <a:round/>
            <a:headEnd/>
            <a:tailEnd/>
          </a:ln>
        </p:spPr>
        <p:txBody>
          <a:bodyPr lIns="107994" tIns="107994" rIns="107994" bIns="107994" anchor="ctr"/>
          <a:lstStyle/>
          <a:p>
            <a:pPr algn="just" defTabSz="1911350" rtl="1">
              <a:spcAft>
                <a:spcPts val="600"/>
              </a:spcAft>
              <a:buClr>
                <a:srgbClr val="C00000"/>
              </a:buClr>
              <a:buSzPct val="110000"/>
              <a:tabLst>
                <a:tab pos="533400" algn="l"/>
                <a:tab pos="7572376" algn="r"/>
                <a:tab pos="8572500" algn="l"/>
                <a:tab pos="11350626" algn="l"/>
              </a:tabLst>
            </a:pPr>
            <a:r>
              <a:rPr lang="fr-FR" altLang="fr-FR" sz="1400" dirty="0" smtClean="0">
                <a:latin typeface="Calibri" panose="020F0502020204030204" pitchFamily="34" charset="0"/>
                <a:cs typeface="Calibri" panose="020F0502020204030204" pitchFamily="34" charset="0"/>
              </a:rPr>
              <a:t>3</a:t>
            </a:r>
            <a:endParaRPr lang="fr-FR" altLang="fr-FR" sz="1400" dirty="0">
              <a:latin typeface="Calibri" panose="020F0502020204030204" pitchFamily="34" charset="0"/>
              <a:cs typeface="Calibri" panose="020F0502020204030204" pitchFamily="34" charset="0"/>
            </a:endParaRPr>
          </a:p>
        </p:txBody>
      </p:sp>
      <p:sp>
        <p:nvSpPr>
          <p:cNvPr id="29" name="Rectangle 28"/>
          <p:cNvSpPr/>
          <p:nvPr/>
        </p:nvSpPr>
        <p:spPr>
          <a:xfrm>
            <a:off x="6256406" y="3814340"/>
            <a:ext cx="2265055" cy="2063266"/>
          </a:xfrm>
          <a:prstGeom prst="rect">
            <a:avLst/>
          </a:prstGeom>
          <a:solidFill>
            <a:srgbClr val="E5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1"/>
            <a:r>
              <a:rPr lang="ar-TN" sz="2400" b="1" dirty="0" smtClean="0">
                <a:latin typeface="Sakkal Majalla" pitchFamily="2" charset="-78"/>
                <a:cs typeface="Sakkal Majalla" pitchFamily="2" charset="-78"/>
              </a:rPr>
              <a:t>4 ملاحق </a:t>
            </a:r>
            <a:endParaRPr lang="fr-FR" sz="2400" b="1" dirty="0">
              <a:latin typeface="Sakkal Majalla" pitchFamily="2" charset="-78"/>
              <a:cs typeface="Sakkal Majalla" pitchFamily="2" charset="-78"/>
            </a:endParaRPr>
          </a:p>
        </p:txBody>
      </p:sp>
      <p:sp>
        <p:nvSpPr>
          <p:cNvPr id="30" name="AutoShape 26"/>
          <p:cNvSpPr>
            <a:spLocks noChangeArrowheads="1"/>
          </p:cNvSpPr>
          <p:nvPr/>
        </p:nvSpPr>
        <p:spPr bwMode="auto">
          <a:xfrm>
            <a:off x="5238648" y="3813654"/>
            <a:ext cx="441361" cy="396000"/>
          </a:xfrm>
          <a:prstGeom prst="rect">
            <a:avLst/>
          </a:prstGeom>
          <a:solidFill>
            <a:schemeClr val="bg1">
              <a:lumMod val="95000"/>
            </a:schemeClr>
          </a:solidFill>
          <a:ln w="9525" algn="ctr">
            <a:noFill/>
            <a:prstDash val="solid"/>
            <a:round/>
            <a:headEnd/>
            <a:tailEnd/>
          </a:ln>
        </p:spPr>
        <p:txBody>
          <a:bodyPr lIns="107994" tIns="107994" rIns="107994" bIns="107994" anchor="ctr"/>
          <a:lstStyle/>
          <a:p>
            <a:pPr algn="just" defTabSz="1911350" rtl="1">
              <a:spcAft>
                <a:spcPts val="600"/>
              </a:spcAft>
              <a:buClr>
                <a:srgbClr val="C00000"/>
              </a:buClr>
              <a:buSzPct val="110000"/>
              <a:tabLst>
                <a:tab pos="533400" algn="l"/>
                <a:tab pos="7572376" algn="r"/>
                <a:tab pos="8572500" algn="l"/>
                <a:tab pos="11350626" algn="l"/>
              </a:tabLst>
            </a:pPr>
            <a:r>
              <a:rPr lang="fr-FR" altLang="fr-FR" sz="1400" dirty="0">
                <a:latin typeface="Calibri" panose="020F0502020204030204" pitchFamily="34" charset="0"/>
                <a:cs typeface="Calibri" panose="020F0502020204030204" pitchFamily="34" charset="0"/>
              </a:rPr>
              <a:t>1</a:t>
            </a:r>
          </a:p>
        </p:txBody>
      </p:sp>
      <p:sp>
        <p:nvSpPr>
          <p:cNvPr id="34" name="AutoShape 26"/>
          <p:cNvSpPr>
            <a:spLocks noChangeArrowheads="1"/>
          </p:cNvSpPr>
          <p:nvPr/>
        </p:nvSpPr>
        <p:spPr bwMode="auto">
          <a:xfrm>
            <a:off x="5238647" y="4345203"/>
            <a:ext cx="441361" cy="396000"/>
          </a:xfrm>
          <a:prstGeom prst="rect">
            <a:avLst/>
          </a:prstGeom>
          <a:solidFill>
            <a:schemeClr val="bg1">
              <a:lumMod val="95000"/>
            </a:schemeClr>
          </a:solidFill>
          <a:ln w="9525" algn="ctr">
            <a:noFill/>
            <a:prstDash val="solid"/>
            <a:round/>
            <a:headEnd/>
            <a:tailEnd/>
          </a:ln>
        </p:spPr>
        <p:txBody>
          <a:bodyPr lIns="107994" tIns="107994" rIns="107994" bIns="107994" anchor="ctr"/>
          <a:lstStyle/>
          <a:p>
            <a:pPr algn="just" defTabSz="1911350" rtl="1">
              <a:spcAft>
                <a:spcPts val="600"/>
              </a:spcAft>
              <a:buClr>
                <a:srgbClr val="C00000"/>
              </a:buClr>
              <a:buSzPct val="110000"/>
              <a:tabLst>
                <a:tab pos="533400" algn="l"/>
                <a:tab pos="7572376" algn="r"/>
                <a:tab pos="8572500" algn="l"/>
                <a:tab pos="11350626" algn="l"/>
              </a:tabLst>
            </a:pPr>
            <a:r>
              <a:rPr lang="ar-TN" altLang="fr-FR" sz="1400" dirty="0" smtClean="0">
                <a:latin typeface="Calibri" panose="020F0502020204030204" pitchFamily="34" charset="0"/>
                <a:cs typeface="Calibri" panose="020F0502020204030204" pitchFamily="34" charset="0"/>
              </a:rPr>
              <a:t>2</a:t>
            </a:r>
            <a:endParaRPr lang="fr-FR" altLang="fr-FR" sz="1400" dirty="0">
              <a:latin typeface="Calibri" panose="020F0502020204030204" pitchFamily="34" charset="0"/>
              <a:cs typeface="Calibri" panose="020F0502020204030204" pitchFamily="34" charset="0"/>
            </a:endParaRPr>
          </a:p>
        </p:txBody>
      </p:sp>
      <p:sp>
        <p:nvSpPr>
          <p:cNvPr id="35" name="AutoShape 26"/>
          <p:cNvSpPr>
            <a:spLocks noChangeArrowheads="1"/>
          </p:cNvSpPr>
          <p:nvPr/>
        </p:nvSpPr>
        <p:spPr bwMode="auto">
          <a:xfrm>
            <a:off x="5238648" y="4876752"/>
            <a:ext cx="441361" cy="396000"/>
          </a:xfrm>
          <a:prstGeom prst="rect">
            <a:avLst/>
          </a:prstGeom>
          <a:solidFill>
            <a:schemeClr val="bg1">
              <a:lumMod val="95000"/>
            </a:schemeClr>
          </a:solidFill>
          <a:ln w="9525" algn="ctr">
            <a:noFill/>
            <a:prstDash val="solid"/>
            <a:round/>
            <a:headEnd/>
            <a:tailEnd/>
          </a:ln>
        </p:spPr>
        <p:txBody>
          <a:bodyPr lIns="107994" tIns="107994" rIns="107994" bIns="107994" anchor="ctr"/>
          <a:lstStyle/>
          <a:p>
            <a:pPr algn="just" defTabSz="1911350" rtl="1">
              <a:spcAft>
                <a:spcPts val="600"/>
              </a:spcAft>
              <a:buClr>
                <a:srgbClr val="C00000"/>
              </a:buClr>
              <a:buSzPct val="110000"/>
              <a:tabLst>
                <a:tab pos="533400" algn="l"/>
                <a:tab pos="7572376" algn="r"/>
                <a:tab pos="8572500" algn="l"/>
                <a:tab pos="11350626" algn="l"/>
              </a:tabLst>
            </a:pPr>
            <a:r>
              <a:rPr lang="ar-TN" altLang="fr-FR" sz="1400" dirty="0" smtClean="0">
                <a:latin typeface="Calibri" panose="020F0502020204030204" pitchFamily="34" charset="0"/>
                <a:cs typeface="Calibri" panose="020F0502020204030204" pitchFamily="34" charset="0"/>
              </a:rPr>
              <a:t>3</a:t>
            </a:r>
            <a:endParaRPr lang="fr-FR" altLang="fr-FR" sz="1400" dirty="0">
              <a:latin typeface="Calibri" panose="020F0502020204030204" pitchFamily="34" charset="0"/>
              <a:cs typeface="Calibri" panose="020F0502020204030204" pitchFamily="34" charset="0"/>
            </a:endParaRPr>
          </a:p>
        </p:txBody>
      </p:sp>
      <p:sp>
        <p:nvSpPr>
          <p:cNvPr id="36" name="AutoShape 26"/>
          <p:cNvSpPr>
            <a:spLocks noChangeArrowheads="1"/>
          </p:cNvSpPr>
          <p:nvPr/>
        </p:nvSpPr>
        <p:spPr bwMode="auto">
          <a:xfrm>
            <a:off x="5238646" y="5406822"/>
            <a:ext cx="441361" cy="396000"/>
          </a:xfrm>
          <a:prstGeom prst="rect">
            <a:avLst/>
          </a:prstGeom>
          <a:solidFill>
            <a:schemeClr val="bg1">
              <a:lumMod val="95000"/>
            </a:schemeClr>
          </a:solidFill>
          <a:ln w="9525" algn="ctr">
            <a:noFill/>
            <a:prstDash val="solid"/>
            <a:round/>
            <a:headEnd/>
            <a:tailEnd/>
          </a:ln>
        </p:spPr>
        <p:txBody>
          <a:bodyPr lIns="107994" tIns="107994" rIns="107994" bIns="107994" anchor="ctr"/>
          <a:lstStyle/>
          <a:p>
            <a:pPr algn="just" defTabSz="1911350" rtl="1">
              <a:spcAft>
                <a:spcPts val="600"/>
              </a:spcAft>
              <a:buClr>
                <a:srgbClr val="C00000"/>
              </a:buClr>
              <a:buSzPct val="110000"/>
              <a:tabLst>
                <a:tab pos="533400" algn="l"/>
                <a:tab pos="7572376" algn="r"/>
                <a:tab pos="8572500" algn="l"/>
                <a:tab pos="11350626" algn="l"/>
              </a:tabLst>
            </a:pPr>
            <a:r>
              <a:rPr lang="ar-TN" altLang="fr-FR" sz="1400" dirty="0" smtClean="0">
                <a:latin typeface="Calibri" panose="020F0502020204030204" pitchFamily="34" charset="0"/>
                <a:cs typeface="Calibri" panose="020F0502020204030204" pitchFamily="34" charset="0"/>
              </a:rPr>
              <a:t>4</a:t>
            </a:r>
            <a:endParaRPr lang="fr-FR" altLang="fr-FR" sz="1400" dirty="0">
              <a:latin typeface="Calibri" panose="020F0502020204030204" pitchFamily="34" charset="0"/>
              <a:cs typeface="Calibri" panose="020F0502020204030204" pitchFamily="34" charset="0"/>
            </a:endParaRPr>
          </a:p>
        </p:txBody>
      </p:sp>
      <p:sp>
        <p:nvSpPr>
          <p:cNvPr id="37" name="AutoShape 26"/>
          <p:cNvSpPr>
            <a:spLocks noChangeArrowheads="1"/>
          </p:cNvSpPr>
          <p:nvPr/>
        </p:nvSpPr>
        <p:spPr bwMode="auto">
          <a:xfrm>
            <a:off x="674684" y="3804777"/>
            <a:ext cx="4189024" cy="396000"/>
          </a:xfrm>
          <a:prstGeom prst="rect">
            <a:avLst/>
          </a:prstGeom>
          <a:solidFill>
            <a:schemeClr val="bg1">
              <a:lumMod val="95000"/>
            </a:schemeClr>
          </a:solidFill>
          <a:ln w="9525" algn="ctr">
            <a:noFill/>
            <a:prstDash val="solid"/>
            <a:round/>
            <a:headEnd/>
            <a:tailEnd/>
          </a:ln>
        </p:spPr>
        <p:txBody>
          <a:bodyPr lIns="107994" tIns="107994" rIns="107994" bIns="107994" anchor="ctr"/>
          <a:lstStyle/>
          <a:p>
            <a:pPr algn="just" defTabSz="1911350" rtl="1">
              <a:spcAft>
                <a:spcPts val="300"/>
              </a:spcAft>
              <a:buClr>
                <a:srgbClr val="C00000"/>
              </a:buClr>
              <a:buSzPct val="110000"/>
              <a:tabLst>
                <a:tab pos="533400" algn="l"/>
                <a:tab pos="7572376" algn="r"/>
                <a:tab pos="8572500" algn="l"/>
                <a:tab pos="11350626" algn="l"/>
              </a:tabLst>
            </a:pPr>
            <a:r>
              <a:rPr lang="ar-TN" altLang="fr-FR" sz="1400" dirty="0" smtClean="0">
                <a:latin typeface="Calibri" panose="020F0502020204030204" pitchFamily="34" charset="0"/>
                <a:cs typeface="Calibri" panose="020F0502020204030204" pitchFamily="34" charset="0"/>
              </a:rPr>
              <a:t>يحدد القائمة الحصرية و التفصيلية للأنشطة الاقتصادية الخاضعة للتراخيص </a:t>
            </a:r>
          </a:p>
        </p:txBody>
      </p:sp>
      <p:sp>
        <p:nvSpPr>
          <p:cNvPr id="38" name="AutoShape 26"/>
          <p:cNvSpPr>
            <a:spLocks noChangeArrowheads="1"/>
          </p:cNvSpPr>
          <p:nvPr/>
        </p:nvSpPr>
        <p:spPr bwMode="auto">
          <a:xfrm>
            <a:off x="674684" y="4353177"/>
            <a:ext cx="4189024" cy="396000"/>
          </a:xfrm>
          <a:prstGeom prst="rect">
            <a:avLst/>
          </a:prstGeom>
          <a:solidFill>
            <a:schemeClr val="bg1">
              <a:lumMod val="95000"/>
            </a:schemeClr>
          </a:solidFill>
          <a:ln w="9525" algn="ctr">
            <a:noFill/>
            <a:prstDash val="solid"/>
            <a:round/>
            <a:headEnd/>
            <a:tailEnd/>
          </a:ln>
        </p:spPr>
        <p:txBody>
          <a:bodyPr lIns="107994" tIns="107994" rIns="107994" bIns="107994" anchor="ctr"/>
          <a:lstStyle/>
          <a:p>
            <a:pPr algn="just" defTabSz="1911350" rtl="1">
              <a:spcAft>
                <a:spcPts val="300"/>
              </a:spcAft>
              <a:buClr>
                <a:srgbClr val="C00000"/>
              </a:buClr>
              <a:buSzPct val="110000"/>
              <a:tabLst>
                <a:tab pos="533400" algn="l"/>
                <a:tab pos="7572376" algn="r"/>
                <a:tab pos="8572500" algn="l"/>
                <a:tab pos="11350626" algn="l"/>
              </a:tabLst>
            </a:pPr>
            <a:r>
              <a:rPr lang="ar-TN" altLang="fr-FR" sz="1400" dirty="0" smtClean="0">
                <a:latin typeface="Calibri" panose="020F0502020204030204" pitchFamily="34" charset="0"/>
                <a:cs typeface="Calibri" panose="020F0502020204030204" pitchFamily="34" charset="0"/>
              </a:rPr>
              <a:t>يحدد قائمة تراخيص الأنشطة الاقتصادية التي تم حذفها   </a:t>
            </a:r>
          </a:p>
        </p:txBody>
      </p:sp>
      <p:sp>
        <p:nvSpPr>
          <p:cNvPr id="39" name="AutoShape 26"/>
          <p:cNvSpPr>
            <a:spLocks noChangeArrowheads="1"/>
          </p:cNvSpPr>
          <p:nvPr/>
        </p:nvSpPr>
        <p:spPr bwMode="auto">
          <a:xfrm>
            <a:off x="674684" y="4901577"/>
            <a:ext cx="4189024" cy="396000"/>
          </a:xfrm>
          <a:prstGeom prst="rect">
            <a:avLst/>
          </a:prstGeom>
          <a:solidFill>
            <a:schemeClr val="bg1">
              <a:lumMod val="95000"/>
            </a:schemeClr>
          </a:solidFill>
          <a:ln w="9525" algn="ctr">
            <a:noFill/>
            <a:prstDash val="solid"/>
            <a:round/>
            <a:headEnd/>
            <a:tailEnd/>
          </a:ln>
        </p:spPr>
        <p:txBody>
          <a:bodyPr lIns="107994" tIns="107994" rIns="107994" bIns="107994" anchor="ctr"/>
          <a:lstStyle/>
          <a:p>
            <a:pPr algn="just" defTabSz="1911350" rtl="1">
              <a:spcAft>
                <a:spcPts val="300"/>
              </a:spcAft>
              <a:buClr>
                <a:srgbClr val="C00000"/>
              </a:buClr>
              <a:buSzPct val="110000"/>
              <a:tabLst>
                <a:tab pos="533400" algn="l"/>
                <a:tab pos="7572376" algn="r"/>
                <a:tab pos="8572500" algn="l"/>
                <a:tab pos="11350626" algn="l"/>
              </a:tabLst>
            </a:pPr>
            <a:r>
              <a:rPr lang="ar-TN" altLang="fr-FR" sz="1400" dirty="0" smtClean="0">
                <a:latin typeface="Calibri" panose="020F0502020204030204" pitchFamily="34" charset="0"/>
                <a:cs typeface="Calibri" panose="020F0502020204030204" pitchFamily="34" charset="0"/>
              </a:rPr>
              <a:t>يحدد قائمة التراخيص الإدارية لإحداث المشروع   </a:t>
            </a:r>
          </a:p>
        </p:txBody>
      </p:sp>
      <p:sp>
        <p:nvSpPr>
          <p:cNvPr id="40" name="AutoShape 26"/>
          <p:cNvSpPr>
            <a:spLocks noChangeArrowheads="1"/>
          </p:cNvSpPr>
          <p:nvPr/>
        </p:nvSpPr>
        <p:spPr bwMode="auto">
          <a:xfrm>
            <a:off x="674684" y="5406822"/>
            <a:ext cx="4189024" cy="396000"/>
          </a:xfrm>
          <a:prstGeom prst="rect">
            <a:avLst/>
          </a:prstGeom>
          <a:solidFill>
            <a:schemeClr val="bg1">
              <a:lumMod val="95000"/>
            </a:schemeClr>
          </a:solidFill>
          <a:ln w="9525" algn="ctr">
            <a:noFill/>
            <a:prstDash val="solid"/>
            <a:round/>
            <a:headEnd/>
            <a:tailEnd/>
          </a:ln>
        </p:spPr>
        <p:txBody>
          <a:bodyPr lIns="107994" tIns="107994" rIns="107994" bIns="107994" anchor="ctr"/>
          <a:lstStyle/>
          <a:p>
            <a:pPr algn="just" defTabSz="1911350" rtl="1">
              <a:spcAft>
                <a:spcPts val="300"/>
              </a:spcAft>
              <a:buClr>
                <a:srgbClr val="C00000"/>
              </a:buClr>
              <a:buSzPct val="110000"/>
              <a:tabLst>
                <a:tab pos="533400" algn="l"/>
                <a:tab pos="7572376" algn="r"/>
                <a:tab pos="8572500" algn="l"/>
                <a:tab pos="11350626" algn="l"/>
              </a:tabLst>
            </a:pPr>
            <a:r>
              <a:rPr lang="ar-TN" altLang="fr-FR" sz="1400" dirty="0" smtClean="0">
                <a:latin typeface="Calibri" panose="020F0502020204030204" pitchFamily="34" charset="0"/>
                <a:cs typeface="Calibri" panose="020F0502020204030204" pitchFamily="34" charset="0"/>
              </a:rPr>
              <a:t>يحدد قائمة التراخيص المستثناة من مبدا سكوت الإدارة    </a:t>
            </a:r>
          </a:p>
        </p:txBody>
      </p:sp>
    </p:spTree>
    <p:extLst>
      <p:ext uri="{BB962C8B-B14F-4D97-AF65-F5344CB8AC3E}">
        <p14:creationId xmlns:p14="http://schemas.microsoft.com/office/powerpoint/2010/main" xmlns="" val="177510723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a:spLocks noGrp="1"/>
          </p:cNvSpPr>
          <p:nvPr>
            <p:ph type="ctrTitle" idx="4294967295"/>
          </p:nvPr>
        </p:nvSpPr>
        <p:spPr>
          <a:xfrm>
            <a:off x="0" y="1770063"/>
            <a:ext cx="9144000" cy="3284537"/>
          </a:xfrm>
        </p:spPr>
        <p:txBody>
          <a:bodyPr anchor="ctr">
            <a:normAutofit/>
          </a:bodyPr>
          <a:lstStyle/>
          <a:p>
            <a:pPr algn="ctr" defTabSz="457200" eaLnBrk="0" hangingPunct="0">
              <a:defRPr/>
            </a:pPr>
            <a:r>
              <a:rPr lang="ar-TN" sz="3200" dirty="0">
                <a:solidFill>
                  <a:srgbClr val="FF0000"/>
                </a:solidFill>
                <a:latin typeface="Simplified Arabic" pitchFamily="18" charset="-78"/>
                <a:ea typeface="+mn-ea"/>
                <a:cs typeface="Simplified Arabic" pitchFamily="18" charset="-78"/>
              </a:rPr>
              <a:t> </a:t>
            </a:r>
            <a:r>
              <a:rPr lang="ar-TN" sz="3200" dirty="0" smtClean="0">
                <a:solidFill>
                  <a:srgbClr val="FF0000"/>
                </a:solidFill>
                <a:latin typeface="Simplified Arabic" pitchFamily="18" charset="-78"/>
                <a:ea typeface="+mn-ea"/>
                <a:cs typeface="Simplified Arabic" pitchFamily="18" charset="-78"/>
              </a:rPr>
              <a:t>منوال النموّ لسنة </a:t>
            </a:r>
            <a:r>
              <a:rPr lang="ar-TN" sz="2800" dirty="0" smtClean="0">
                <a:solidFill>
                  <a:srgbClr val="FF0000"/>
                </a:solidFill>
                <a:latin typeface="Times New Roman" panose="02020603050405020304" pitchFamily="18" charset="0"/>
                <a:ea typeface="+mn-ea"/>
                <a:cs typeface="Times New Roman" panose="02020603050405020304" pitchFamily="18" charset="0"/>
              </a:rPr>
              <a:t>2020</a:t>
            </a:r>
            <a:endParaRPr lang="fr-FR" sz="3200" dirty="0">
              <a:solidFill>
                <a:srgbClr val="FF0000"/>
              </a:solidFill>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xmlns="" val="268729759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nvPr>
        </p:nvGraphicFramePr>
        <p:xfrm>
          <a:off x="1589" y="1590"/>
          <a:ext cx="1587" cy="1587"/>
        </p:xfrm>
        <a:graphic>
          <a:graphicData uri="http://schemas.openxmlformats.org/presentationml/2006/ole">
            <p:oleObj spid="_x0000_s142456" name="think-cell Slide" r:id="rId6" imgW="360" imgH="360" progId="">
              <p:embed/>
            </p:oleObj>
          </a:graphicData>
        </a:graphic>
      </p:graphicFrame>
      <p:sp>
        <p:nvSpPr>
          <p:cNvPr id="9218" name="FilePath" hidden="1"/>
          <p:cNvSpPr txBox="1">
            <a:spLocks noChangeArrowheads="1"/>
          </p:cNvSpPr>
          <p:nvPr/>
        </p:nvSpPr>
        <p:spPr bwMode="auto">
          <a:xfrm>
            <a:off x="4103079" y="127000"/>
            <a:ext cx="4689231" cy="146258"/>
          </a:xfrm>
          <a:prstGeom prst="rect">
            <a:avLst/>
          </a:prstGeom>
          <a:noFill/>
          <a:ln w="3175" algn="ctr">
            <a:noFill/>
            <a:miter lim="800000"/>
            <a:headEnd/>
            <a:tailEnd/>
          </a:ln>
        </p:spPr>
        <p:txBody>
          <a:bodyPr lIns="17996" tIns="17996" rIns="17996" bIns="17996">
            <a:spAutoFit/>
          </a:bodyPr>
          <a:lstStyle/>
          <a:p>
            <a:pPr algn="r"/>
            <a:r>
              <a:rPr lang="en-GB" sz="700" dirty="0">
                <a:solidFill>
                  <a:srgbClr val="BEBEBE"/>
                </a:solidFill>
              </a:rPr>
              <a:t>G:\1022_TEMELIN_11264\03 Presentations\120118 Kick-off\2012 01 26 </a:t>
            </a:r>
            <a:r>
              <a:rPr lang="en-GB" sz="700" dirty="0" err="1">
                <a:solidFill>
                  <a:srgbClr val="BEBEBE"/>
                </a:solidFill>
              </a:rPr>
              <a:t>Temelin</a:t>
            </a:r>
            <a:r>
              <a:rPr lang="en-GB" sz="700" dirty="0">
                <a:solidFill>
                  <a:srgbClr val="BEBEBE"/>
                </a:solidFill>
              </a:rPr>
              <a:t> - kick-off_v6.ppt</a:t>
            </a:r>
          </a:p>
        </p:txBody>
      </p:sp>
      <p:sp>
        <p:nvSpPr>
          <p:cNvPr id="7" name="Text Placeholder 9"/>
          <p:cNvSpPr txBox="1">
            <a:spLocks/>
          </p:cNvSpPr>
          <p:nvPr/>
        </p:nvSpPr>
        <p:spPr bwMode="gray">
          <a:xfrm>
            <a:off x="133164" y="273258"/>
            <a:ext cx="8940985" cy="58261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lnSpcReduction="10000"/>
          </a:bodyPr>
          <a:lstStyle>
            <a:lvl1pPr marL="0" indent="0" algn="l" defTabSz="91323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2" indent="0" algn="r">
              <a:buFont typeface="Arial" charset="0"/>
              <a:buNone/>
              <a:tabLst>
                <a:tab pos="4306888" algn="l"/>
              </a:tabLst>
            </a:pPr>
            <a:r>
              <a:rPr lang="ar-TN" sz="2200" b="1" dirty="0" smtClean="0">
                <a:solidFill>
                  <a:srgbClr val="E51B2E"/>
                </a:solidFill>
                <a:latin typeface="Simplified Arabic" pitchFamily="18" charset="-78"/>
                <a:cs typeface="Simplified Arabic" pitchFamily="18" charset="-78"/>
              </a:rPr>
              <a:t>منوال النموّ لسنة </a:t>
            </a:r>
            <a:r>
              <a:rPr lang="ar-TN" sz="2000" b="1" dirty="0" smtClean="0">
                <a:solidFill>
                  <a:srgbClr val="E51B2E"/>
                </a:solidFill>
                <a:latin typeface="Times New Roman" panose="02020603050405020304" pitchFamily="18" charset="0"/>
                <a:cs typeface="Times New Roman" panose="02020603050405020304" pitchFamily="18" charset="0"/>
              </a:rPr>
              <a:t>2020</a:t>
            </a:r>
            <a:endParaRPr lang="ar-TN" sz="2400" b="1" dirty="0">
              <a:solidFill>
                <a:srgbClr val="E51B2E"/>
              </a:solidFill>
              <a:latin typeface="Times New Roman" panose="02020603050405020304" pitchFamily="18" charset="0"/>
              <a:cs typeface="Times New Roman" panose="02020603050405020304" pitchFamily="18" charset="0"/>
            </a:endParaRPr>
          </a:p>
          <a:p>
            <a:pPr marL="0" lvl="2" indent="0">
              <a:buNone/>
              <a:tabLst>
                <a:tab pos="4306888" algn="l"/>
              </a:tabLst>
            </a:pPr>
            <a:r>
              <a:rPr lang="ar-TN" sz="1800" b="1" dirty="0" smtClean="0">
                <a:latin typeface="Simplified Arabic" pitchFamily="18" charset="-78"/>
                <a:cs typeface="Simplified Arabic" pitchFamily="18" charset="-78"/>
              </a:rPr>
              <a:t>الأهداف المحورية </a:t>
            </a:r>
            <a:endParaRPr lang="ar-TN" sz="1800" b="1" dirty="0">
              <a:latin typeface="Simplified Arabic" pitchFamily="18" charset="-78"/>
              <a:cs typeface="Simplified Arabic" pitchFamily="18" charset="-78"/>
            </a:endParaRPr>
          </a:p>
          <a:p>
            <a:pPr marL="0" lvl="2" indent="0">
              <a:buNone/>
              <a:tabLst>
                <a:tab pos="4306888" algn="l"/>
              </a:tabLst>
            </a:pPr>
            <a:endParaRPr lang="ar-TN" sz="1700" b="1" dirty="0">
              <a:latin typeface="Simplified Arabic" pitchFamily="18" charset="-78"/>
              <a:cs typeface="Simplified Arabic" pitchFamily="18" charset="-78"/>
            </a:endParaRPr>
          </a:p>
        </p:txBody>
      </p:sp>
      <p:sp>
        <p:nvSpPr>
          <p:cNvPr id="9" name="ZoneTexte 8"/>
          <p:cNvSpPr txBox="1"/>
          <p:nvPr/>
        </p:nvSpPr>
        <p:spPr>
          <a:xfrm>
            <a:off x="700203" y="1440612"/>
            <a:ext cx="7806906" cy="3243532"/>
          </a:xfrm>
          <a:prstGeom prst="rect">
            <a:avLst/>
          </a:prstGeom>
          <a:ln w="12700">
            <a:solidFill>
              <a:srgbClr val="C00000"/>
            </a:solidFill>
            <a:headEnd/>
            <a:tailEnd/>
          </a:ln>
          <a:extLst/>
        </p:spPr>
        <p:style>
          <a:lnRef idx="2">
            <a:schemeClr val="accent4"/>
          </a:lnRef>
          <a:fillRef idx="1">
            <a:schemeClr val="lt1"/>
          </a:fillRef>
          <a:effectRef idx="0">
            <a:schemeClr val="accent4"/>
          </a:effectRef>
          <a:fontRef idx="minor">
            <a:schemeClr val="dk1"/>
          </a:fontRef>
        </p:style>
        <p:txBody>
          <a:bodyPr vert="horz" wrap="square" lIns="76200" tIns="76200" rIns="76200" bIns="76200" numCol="1" rtlCol="0" anchor="t" anchorCtr="0" compatLnSpc="1">
            <a:prstTxWarp prst="textNoShape">
              <a:avLst/>
            </a:prstTxWarp>
            <a:noAutofit/>
          </a:bodyPr>
          <a:lstStyle/>
          <a:p>
            <a:pPr marL="877888" lvl="1" indent="-342900" algn="just" rtl="1">
              <a:lnSpc>
                <a:spcPct val="150000"/>
              </a:lnSpc>
              <a:spcBef>
                <a:spcPts val="600"/>
              </a:spcBef>
              <a:buClr>
                <a:srgbClr val="FF0000"/>
              </a:buClr>
              <a:buSzPct val="80000"/>
              <a:buFont typeface="Wingdings" panose="05000000000000000000" pitchFamily="2" charset="2"/>
              <a:buChar char="q"/>
            </a:pPr>
            <a:r>
              <a:rPr lang="ar-TN" sz="2200" b="1" dirty="0" smtClean="0">
                <a:latin typeface="Simplified Arabic" pitchFamily="18" charset="-78"/>
                <a:cs typeface="Simplified Arabic" pitchFamily="18" charset="-78"/>
              </a:rPr>
              <a:t>دفع نسق النموّ </a:t>
            </a:r>
            <a:endParaRPr lang="ar-TN" sz="2200" b="1" dirty="0">
              <a:latin typeface="Simplified Arabic" pitchFamily="18" charset="-78"/>
              <a:cs typeface="Simplified Arabic" pitchFamily="18" charset="-78"/>
            </a:endParaRPr>
          </a:p>
          <a:p>
            <a:pPr marL="877888" lvl="1" indent="-342900" algn="just" rtl="1">
              <a:lnSpc>
                <a:spcPct val="150000"/>
              </a:lnSpc>
              <a:spcBef>
                <a:spcPts val="600"/>
              </a:spcBef>
              <a:buClr>
                <a:srgbClr val="FF0000"/>
              </a:buClr>
              <a:buSzPct val="80000"/>
              <a:buFont typeface="Wingdings" panose="05000000000000000000" pitchFamily="2" charset="2"/>
              <a:buChar char="q"/>
            </a:pPr>
            <a:r>
              <a:rPr lang="ar-TN" sz="2200" b="1" dirty="0">
                <a:latin typeface="Simplified Arabic" pitchFamily="18" charset="-78"/>
                <a:cs typeface="Simplified Arabic" pitchFamily="18" charset="-78"/>
              </a:rPr>
              <a:t>مزيد التحكم في التوازنات المالية</a:t>
            </a:r>
          </a:p>
          <a:p>
            <a:pPr marL="877888" lvl="1" indent="-342900" algn="just" rtl="1">
              <a:lnSpc>
                <a:spcPct val="150000"/>
              </a:lnSpc>
              <a:spcBef>
                <a:spcPts val="600"/>
              </a:spcBef>
              <a:buClr>
                <a:srgbClr val="FF0000"/>
              </a:buClr>
              <a:buSzPct val="80000"/>
              <a:buFont typeface="Wingdings" panose="05000000000000000000" pitchFamily="2" charset="2"/>
              <a:buChar char="q"/>
            </a:pPr>
            <a:r>
              <a:rPr lang="ar-TN" sz="2200" b="1" dirty="0">
                <a:latin typeface="Simplified Arabic" pitchFamily="18" charset="-78"/>
                <a:cs typeface="Simplified Arabic" pitchFamily="18" charset="-78"/>
              </a:rPr>
              <a:t>التسريع في تنفيذ الإصلاحات </a:t>
            </a:r>
            <a:r>
              <a:rPr lang="ar-TN" sz="2200" b="1" dirty="0" smtClean="0">
                <a:latin typeface="Simplified Arabic" pitchFamily="18" charset="-78"/>
                <a:cs typeface="Simplified Arabic" pitchFamily="18" charset="-78"/>
              </a:rPr>
              <a:t>الكبرى</a:t>
            </a:r>
          </a:p>
          <a:p>
            <a:pPr marL="877888" lvl="1" indent="-342900" algn="just" rtl="1">
              <a:lnSpc>
                <a:spcPct val="150000"/>
              </a:lnSpc>
              <a:spcBef>
                <a:spcPts val="600"/>
              </a:spcBef>
              <a:buClr>
                <a:srgbClr val="FF0000"/>
              </a:buClr>
              <a:buSzPct val="80000"/>
              <a:buFont typeface="Wingdings" panose="05000000000000000000" pitchFamily="2" charset="2"/>
              <a:buChar char="q"/>
            </a:pPr>
            <a:r>
              <a:rPr lang="ar-TN" sz="2200" b="1" dirty="0" smtClean="0">
                <a:latin typeface="Simplified Arabic" pitchFamily="18" charset="-78"/>
                <a:cs typeface="Simplified Arabic" pitchFamily="18" charset="-78"/>
              </a:rPr>
              <a:t>تعزيز الادماج الاجتماعي وتدعيم الاستثمار في رأس المال البشري</a:t>
            </a:r>
          </a:p>
          <a:p>
            <a:pPr marL="877888" lvl="1" indent="-342900" algn="just" rtl="1">
              <a:lnSpc>
                <a:spcPct val="150000"/>
              </a:lnSpc>
              <a:spcBef>
                <a:spcPts val="600"/>
              </a:spcBef>
              <a:buClr>
                <a:srgbClr val="FF0000"/>
              </a:buClr>
              <a:buSzPct val="80000"/>
              <a:buFont typeface="Wingdings" panose="05000000000000000000" pitchFamily="2" charset="2"/>
              <a:buChar char="q"/>
            </a:pPr>
            <a:r>
              <a:rPr lang="ar-TN" sz="2200" b="1" dirty="0">
                <a:latin typeface="Simplified Arabic" pitchFamily="18" charset="-78"/>
                <a:cs typeface="Simplified Arabic" pitchFamily="18" charset="-78"/>
              </a:rPr>
              <a:t>تنمية الجهات الداخلية وتكريس اللامركزية </a:t>
            </a:r>
            <a:endParaRPr lang="fr-FR" sz="2200" b="1" dirty="0">
              <a:latin typeface="Simplified Arabic" panose="02020603050405020304" pitchFamily="18" charset="-78"/>
              <a:cs typeface="Simplified Arabic" panose="02020603050405020304" pitchFamily="18" charset="-78"/>
            </a:endParaRPr>
          </a:p>
          <a:p>
            <a:pPr marL="877888" lvl="1" indent="-342900" algn="just" rtl="1">
              <a:lnSpc>
                <a:spcPct val="150000"/>
              </a:lnSpc>
              <a:spcBef>
                <a:spcPts val="600"/>
              </a:spcBef>
              <a:buClr>
                <a:srgbClr val="FF0000"/>
              </a:buClr>
              <a:buSzPct val="80000"/>
              <a:buFont typeface="Wingdings" panose="05000000000000000000" pitchFamily="2" charset="2"/>
              <a:buChar char="q"/>
            </a:pPr>
            <a:endParaRPr lang="fr-FR" sz="1600" b="1" dirty="0" smtClean="0">
              <a:latin typeface="Simplified Arabic" pitchFamily="18" charset="-78"/>
              <a:cs typeface="Simplified Arabic" pitchFamily="18" charset="-78"/>
            </a:endParaRPr>
          </a:p>
          <a:p>
            <a:pPr marL="180975" indent="-180975" algn="just" rtl="1">
              <a:lnSpc>
                <a:spcPct val="114000"/>
              </a:lnSpc>
              <a:spcBef>
                <a:spcPts val="600"/>
              </a:spcBef>
              <a:spcAft>
                <a:spcPts val="600"/>
              </a:spcAft>
              <a:buClr>
                <a:srgbClr val="FF0000"/>
              </a:buClr>
              <a:buSzPct val="80000"/>
              <a:buFont typeface="Arial" pitchFamily="34" charset="0"/>
              <a:buChar char="•"/>
            </a:pPr>
            <a:endParaRPr lang="fr-FR" sz="1600" b="1" dirty="0" smtClean="0">
              <a:latin typeface="Simplified Arabic" pitchFamily="18" charset="-78"/>
              <a:cs typeface="Simplified Arabic" pitchFamily="18" charset="-78"/>
            </a:endParaRPr>
          </a:p>
          <a:p>
            <a:pPr marL="180975" indent="-180975" algn="just" rtl="1">
              <a:lnSpc>
                <a:spcPct val="114000"/>
              </a:lnSpc>
              <a:spcBef>
                <a:spcPts val="600"/>
              </a:spcBef>
              <a:spcAft>
                <a:spcPts val="600"/>
              </a:spcAft>
              <a:buClr>
                <a:srgbClr val="FF0000"/>
              </a:buClr>
              <a:buSzPct val="80000"/>
              <a:buFont typeface="Arial" pitchFamily="34" charset="0"/>
              <a:buChar char="•"/>
            </a:pPr>
            <a:endParaRPr lang="ar-TN" sz="1600" b="1" dirty="0">
              <a:latin typeface="Simplified Arabic" pitchFamily="18" charset="-78"/>
              <a:cs typeface="Simplified Arabic" pitchFamily="18" charset="-78"/>
            </a:endParaRPr>
          </a:p>
        </p:txBody>
      </p:sp>
    </p:spTree>
    <p:custDataLst>
      <p:tags r:id="rId2"/>
    </p:custDataLst>
    <p:extLst>
      <p:ext uri="{BB962C8B-B14F-4D97-AF65-F5344CB8AC3E}">
        <p14:creationId xmlns:p14="http://schemas.microsoft.com/office/powerpoint/2010/main" xmlns="" val="409294102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nvPr>
        </p:nvGraphicFramePr>
        <p:xfrm>
          <a:off x="1589" y="1590"/>
          <a:ext cx="1587" cy="1587"/>
        </p:xfrm>
        <a:graphic>
          <a:graphicData uri="http://schemas.openxmlformats.org/presentationml/2006/ole">
            <p:oleObj spid="_x0000_s143481" name="think-cell Slide" r:id="rId6" imgW="360" imgH="360" progId="">
              <p:embed/>
            </p:oleObj>
          </a:graphicData>
        </a:graphic>
      </p:graphicFrame>
      <p:sp>
        <p:nvSpPr>
          <p:cNvPr id="9218" name="FilePath" hidden="1"/>
          <p:cNvSpPr txBox="1">
            <a:spLocks noChangeArrowheads="1"/>
          </p:cNvSpPr>
          <p:nvPr/>
        </p:nvSpPr>
        <p:spPr bwMode="auto">
          <a:xfrm>
            <a:off x="4103079" y="127000"/>
            <a:ext cx="4689231" cy="146258"/>
          </a:xfrm>
          <a:prstGeom prst="rect">
            <a:avLst/>
          </a:prstGeom>
          <a:noFill/>
          <a:ln w="3175" algn="ctr">
            <a:noFill/>
            <a:miter lim="800000"/>
            <a:headEnd/>
            <a:tailEnd/>
          </a:ln>
        </p:spPr>
        <p:txBody>
          <a:bodyPr lIns="17996" tIns="17996" rIns="17996" bIns="17996">
            <a:spAutoFit/>
          </a:bodyPr>
          <a:lstStyle/>
          <a:p>
            <a:pPr algn="r"/>
            <a:r>
              <a:rPr lang="en-GB" sz="700" dirty="0">
                <a:solidFill>
                  <a:srgbClr val="BEBEBE"/>
                </a:solidFill>
              </a:rPr>
              <a:t>G:\1022_TEMELIN_11264\03 Presentations\120118 Kick-off\2012 01 26 </a:t>
            </a:r>
            <a:r>
              <a:rPr lang="en-GB" sz="700" dirty="0" err="1">
                <a:solidFill>
                  <a:srgbClr val="BEBEBE"/>
                </a:solidFill>
              </a:rPr>
              <a:t>Temelin</a:t>
            </a:r>
            <a:r>
              <a:rPr lang="en-GB" sz="700" dirty="0">
                <a:solidFill>
                  <a:srgbClr val="BEBEBE"/>
                </a:solidFill>
              </a:rPr>
              <a:t> - kick-off_v6.ppt</a:t>
            </a:r>
          </a:p>
        </p:txBody>
      </p:sp>
      <p:sp>
        <p:nvSpPr>
          <p:cNvPr id="7" name="Text Placeholder 9"/>
          <p:cNvSpPr txBox="1">
            <a:spLocks/>
          </p:cNvSpPr>
          <p:nvPr/>
        </p:nvSpPr>
        <p:spPr bwMode="gray">
          <a:xfrm>
            <a:off x="133164" y="359522"/>
            <a:ext cx="8940985" cy="58261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lnSpcReduction="10000"/>
          </a:bodyPr>
          <a:lstStyle>
            <a:lvl1pPr marL="0" indent="0" algn="l" defTabSz="91323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2" indent="0" algn="r" rtl="1">
              <a:buFont typeface="Arial" charset="0"/>
              <a:buNone/>
              <a:tabLst>
                <a:tab pos="4306888" algn="l"/>
              </a:tabLst>
            </a:pPr>
            <a:r>
              <a:rPr lang="ar-TN" sz="2200" b="1" dirty="0" smtClean="0">
                <a:solidFill>
                  <a:srgbClr val="E51B2E"/>
                </a:solidFill>
                <a:latin typeface="Simplified Arabic" pitchFamily="18" charset="-78"/>
                <a:cs typeface="Simplified Arabic" pitchFamily="18" charset="-78"/>
              </a:rPr>
              <a:t>منوال النموّ لسنة </a:t>
            </a:r>
            <a:r>
              <a:rPr lang="ar-TN" sz="2000" b="1" dirty="0">
                <a:solidFill>
                  <a:srgbClr val="E51B2E"/>
                </a:solidFill>
                <a:latin typeface="Times New Roman" panose="02020603050405020304" pitchFamily="18" charset="0"/>
                <a:cs typeface="Times New Roman" panose="02020603050405020304" pitchFamily="18" charset="0"/>
              </a:rPr>
              <a:t>2020</a:t>
            </a:r>
            <a:endParaRPr lang="ar-TN" sz="2400" b="1" dirty="0">
              <a:solidFill>
                <a:srgbClr val="E51B2E"/>
              </a:solidFill>
              <a:latin typeface="Times New Roman" panose="02020603050405020304" pitchFamily="18" charset="0"/>
              <a:cs typeface="Times New Roman" panose="02020603050405020304" pitchFamily="18" charset="0"/>
            </a:endParaRPr>
          </a:p>
          <a:p>
            <a:pPr marL="0" lvl="2" indent="0">
              <a:buNone/>
              <a:tabLst>
                <a:tab pos="4306888" algn="l"/>
              </a:tabLst>
            </a:pPr>
            <a:r>
              <a:rPr lang="ar-TN" sz="1800" b="1" dirty="0" smtClean="0">
                <a:solidFill>
                  <a:srgbClr val="E51B2E"/>
                </a:solidFill>
                <a:latin typeface="Simplified Arabic" pitchFamily="18" charset="-78"/>
                <a:cs typeface="Simplified Arabic" pitchFamily="18" charset="-78"/>
              </a:rPr>
              <a:t> </a:t>
            </a:r>
            <a:r>
              <a:rPr lang="ar-TN" sz="1800" b="1" dirty="0" smtClean="0">
                <a:latin typeface="Simplified Arabic" pitchFamily="18" charset="-78"/>
                <a:cs typeface="Simplified Arabic" pitchFamily="18" charset="-78"/>
              </a:rPr>
              <a:t>الفرضيات الأساسية </a:t>
            </a:r>
          </a:p>
          <a:p>
            <a:pPr marL="0" lvl="2" indent="0">
              <a:buNone/>
              <a:tabLst>
                <a:tab pos="4306888" algn="l"/>
              </a:tabLst>
            </a:pPr>
            <a:endParaRPr lang="ar-TN" sz="1700" b="1" dirty="0">
              <a:latin typeface="Simplified Arabic" pitchFamily="18" charset="-78"/>
              <a:cs typeface="Simplified Arabic" pitchFamily="18" charset="-78"/>
            </a:endParaRPr>
          </a:p>
        </p:txBody>
      </p:sp>
      <p:sp>
        <p:nvSpPr>
          <p:cNvPr id="9" name="ZoneTexte 8"/>
          <p:cNvSpPr txBox="1"/>
          <p:nvPr/>
        </p:nvSpPr>
        <p:spPr>
          <a:xfrm>
            <a:off x="474453" y="1708030"/>
            <a:ext cx="7894633" cy="3528204"/>
          </a:xfrm>
          <a:prstGeom prst="rect">
            <a:avLst/>
          </a:prstGeom>
          <a:ln w="12700">
            <a:solidFill>
              <a:srgbClr val="C00000"/>
            </a:solidFill>
            <a:headEnd/>
            <a:tailEnd/>
          </a:ln>
          <a:extLst/>
        </p:spPr>
        <p:style>
          <a:lnRef idx="2">
            <a:schemeClr val="accent4"/>
          </a:lnRef>
          <a:fillRef idx="1">
            <a:schemeClr val="lt1"/>
          </a:fillRef>
          <a:effectRef idx="0">
            <a:schemeClr val="accent4"/>
          </a:effectRef>
          <a:fontRef idx="minor">
            <a:schemeClr val="dk1"/>
          </a:fontRef>
        </p:style>
        <p:txBody>
          <a:bodyPr vert="horz" wrap="square" lIns="76200" tIns="76200" rIns="76200" bIns="76200" numCol="1" rtlCol="0" anchor="t" anchorCtr="0" compatLnSpc="1">
            <a:prstTxWarp prst="textNoShape">
              <a:avLst/>
            </a:prstTxWarp>
            <a:noAutofit/>
          </a:bodyPr>
          <a:lstStyle/>
          <a:p>
            <a:pPr marL="342900" lvl="0" indent="-342900" algn="r" rtl="1">
              <a:lnSpc>
                <a:spcPct val="150000"/>
              </a:lnSpc>
              <a:spcBef>
                <a:spcPts val="600"/>
              </a:spcBef>
              <a:spcAft>
                <a:spcPts val="600"/>
              </a:spcAft>
              <a:buClr>
                <a:srgbClr val="FF0000"/>
              </a:buClr>
              <a:buSzPct val="80000"/>
              <a:buFont typeface="Arial" panose="020B0604020202020204" pitchFamily="34" charset="0"/>
              <a:buChar char="•"/>
              <a:tabLst>
                <a:tab pos="16510" algn="r"/>
                <a:tab pos="236855" algn="r"/>
                <a:tab pos="5490845" algn="l"/>
              </a:tabLst>
            </a:pPr>
            <a:r>
              <a:rPr lang="ar-TN" sz="2200" b="1" dirty="0">
                <a:latin typeface="Simplified Arabic" panose="02020603050405020304" pitchFamily="18" charset="-78"/>
                <a:ea typeface="Calibri" panose="020F0502020204030204" pitchFamily="34" charset="0"/>
                <a:cs typeface="Simplified Arabic" panose="02020603050405020304" pitchFamily="18" charset="-78"/>
              </a:rPr>
              <a:t>انتاج الحبوب في </a:t>
            </a:r>
            <a:r>
              <a:rPr lang="ar-TN" sz="2200" b="1" dirty="0" smtClean="0">
                <a:latin typeface="Simplified Arabic" panose="02020603050405020304" pitchFamily="18" charset="-78"/>
                <a:ea typeface="Calibri" panose="020F0502020204030204" pitchFamily="34" charset="0"/>
                <a:cs typeface="Simplified Arabic" panose="02020603050405020304" pitchFamily="18" charset="-78"/>
              </a:rPr>
              <a:t>حدود</a:t>
            </a:r>
            <a:r>
              <a:rPr lang="fr-FR" sz="2000" b="1" dirty="0" smtClean="0">
                <a:latin typeface="Times New Roman" panose="02020603050405020304" pitchFamily="18" charset="0"/>
                <a:ea typeface="Calibri" panose="020F0502020204030204" pitchFamily="34" charset="0"/>
                <a:cs typeface="Times New Roman" panose="02020603050405020304" pitchFamily="18" charset="0"/>
              </a:rPr>
              <a:t>19</a:t>
            </a:r>
            <a:r>
              <a:rPr lang="fr-FR" sz="2200" b="1" dirty="0" smtClean="0">
                <a:latin typeface="Simplified Arabic" panose="02020603050405020304" pitchFamily="18" charset="-78"/>
                <a:ea typeface="Calibri" panose="020F0502020204030204" pitchFamily="34" charset="0"/>
                <a:cs typeface="Simplified Arabic" panose="02020603050405020304" pitchFamily="18" charset="-78"/>
              </a:rPr>
              <a:t> </a:t>
            </a:r>
            <a:r>
              <a:rPr lang="ar-TN" sz="2200" b="1" dirty="0" smtClean="0">
                <a:latin typeface="Simplified Arabic" panose="02020603050405020304" pitchFamily="18" charset="-78"/>
                <a:ea typeface="Calibri" panose="020F0502020204030204" pitchFamily="34" charset="0"/>
                <a:cs typeface="Simplified Arabic" panose="02020603050405020304" pitchFamily="18" charset="-78"/>
              </a:rPr>
              <a:t> مليون </a:t>
            </a:r>
            <a:r>
              <a:rPr lang="ar-TN" sz="2200" b="1" dirty="0">
                <a:latin typeface="Simplified Arabic" panose="02020603050405020304" pitchFamily="18" charset="-78"/>
                <a:ea typeface="Calibri" panose="020F0502020204030204" pitchFamily="34" charset="0"/>
                <a:cs typeface="Simplified Arabic" panose="02020603050405020304" pitchFamily="18" charset="-78"/>
              </a:rPr>
              <a:t>قنطار مقابل </a:t>
            </a:r>
            <a:r>
              <a:rPr lang="fr-FR" sz="2000" b="1" dirty="0">
                <a:latin typeface="Times New Roman" panose="02020603050405020304" pitchFamily="18" charset="0"/>
                <a:ea typeface="Calibri" panose="020F0502020204030204" pitchFamily="34" charset="0"/>
                <a:cs typeface="Times New Roman" panose="02020603050405020304" pitchFamily="18" charset="0"/>
              </a:rPr>
              <a:t>24</a:t>
            </a:r>
            <a:r>
              <a:rPr lang="ar-TN" sz="2200" b="1" dirty="0">
                <a:latin typeface="Simplified Arabic" panose="02020603050405020304" pitchFamily="18" charset="-78"/>
                <a:ea typeface="Calibri" panose="020F0502020204030204" pitchFamily="34" charset="0"/>
                <a:cs typeface="Simplified Arabic" panose="02020603050405020304" pitchFamily="18" charset="-78"/>
              </a:rPr>
              <a:t> م ق سنة </a:t>
            </a:r>
            <a:r>
              <a:rPr lang="fr-FR" sz="2000" b="1" dirty="0">
                <a:latin typeface="Times New Roman" panose="02020603050405020304" pitchFamily="18" charset="0"/>
                <a:ea typeface="Calibri" panose="020F0502020204030204" pitchFamily="34" charset="0"/>
                <a:cs typeface="Times New Roman" panose="02020603050405020304" pitchFamily="18" charset="0"/>
              </a:rPr>
              <a:t>2019</a:t>
            </a:r>
            <a:r>
              <a:rPr lang="ar-TN" sz="2200" b="1" dirty="0">
                <a:latin typeface="Simplified Arabic" panose="02020603050405020304" pitchFamily="18" charset="-78"/>
                <a:ea typeface="Calibri" panose="020F0502020204030204" pitchFamily="34" charset="0"/>
                <a:cs typeface="Simplified Arabic" panose="02020603050405020304" pitchFamily="18" charset="-78"/>
              </a:rPr>
              <a:t> وارتفاع انتاج زيتون الزيت (</a:t>
            </a:r>
            <a:r>
              <a:rPr lang="fr-FR" sz="2000" b="1" dirty="0">
                <a:latin typeface="Times New Roman" panose="02020603050405020304" pitchFamily="18" charset="0"/>
                <a:ea typeface="Calibri" panose="020F0502020204030204" pitchFamily="34" charset="0"/>
                <a:cs typeface="Times New Roman" panose="02020603050405020304" pitchFamily="18" charset="0"/>
              </a:rPr>
              <a:t>1.7</a:t>
            </a:r>
            <a:r>
              <a:rPr lang="ar-TN" sz="2200" b="1" dirty="0">
                <a:latin typeface="Simplified Arabic" panose="02020603050405020304" pitchFamily="18" charset="-78"/>
                <a:ea typeface="Calibri" panose="020F0502020204030204" pitchFamily="34" charset="0"/>
                <a:cs typeface="Simplified Arabic" panose="02020603050405020304" pitchFamily="18" charset="-78"/>
              </a:rPr>
              <a:t> مليون طن سنة </a:t>
            </a:r>
            <a:r>
              <a:rPr lang="fr-FR" sz="2000" b="1" dirty="0">
                <a:latin typeface="Times New Roman" panose="02020603050405020304" pitchFamily="18" charset="0"/>
                <a:ea typeface="Calibri" panose="020F0502020204030204" pitchFamily="34" charset="0"/>
                <a:cs typeface="Times New Roman" panose="02020603050405020304" pitchFamily="18" charset="0"/>
              </a:rPr>
              <a:t>2020</a:t>
            </a:r>
            <a:r>
              <a:rPr lang="ar-TN" sz="2200" b="1" dirty="0">
                <a:latin typeface="Simplified Arabic" panose="02020603050405020304" pitchFamily="18" charset="-78"/>
                <a:ea typeface="Calibri" panose="020F0502020204030204" pitchFamily="34" charset="0"/>
                <a:cs typeface="Simplified Arabic" panose="02020603050405020304" pitchFamily="18" charset="-78"/>
              </a:rPr>
              <a:t> مقابل </a:t>
            </a:r>
            <a:r>
              <a:rPr lang="ar-TN" sz="2000" b="1" dirty="0" smtClean="0">
                <a:latin typeface="Times New Roman" panose="02020603050405020304" pitchFamily="18" charset="0"/>
                <a:ea typeface="Calibri" panose="020F0502020204030204" pitchFamily="34" charset="0"/>
                <a:cs typeface="Times New Roman" panose="02020603050405020304" pitchFamily="18" charset="0"/>
              </a:rPr>
              <a:t>0,8</a:t>
            </a:r>
            <a:r>
              <a:rPr lang="fr-FR" sz="2200" b="1" dirty="0" smtClean="0">
                <a:latin typeface="Times New Roman" panose="02020603050405020304" pitchFamily="18" charset="0"/>
                <a:ea typeface="Calibri" panose="020F0502020204030204" pitchFamily="34" charset="0"/>
                <a:cs typeface="Times New Roman" panose="02020603050405020304" pitchFamily="18" charset="0"/>
              </a:rPr>
              <a:t> </a:t>
            </a:r>
            <a:r>
              <a:rPr lang="ar-TN" sz="2200" b="1" dirty="0" smtClean="0">
                <a:latin typeface="Simplified Arabic" panose="02020603050405020304" pitchFamily="18" charset="-78"/>
                <a:ea typeface="Calibri" panose="020F0502020204030204" pitchFamily="34" charset="0"/>
                <a:cs typeface="Simplified Arabic" panose="02020603050405020304" pitchFamily="18" charset="-78"/>
              </a:rPr>
              <a:t> مليون </a:t>
            </a:r>
            <a:r>
              <a:rPr lang="ar-TN" sz="2200" b="1" dirty="0">
                <a:latin typeface="Simplified Arabic" panose="02020603050405020304" pitchFamily="18" charset="-78"/>
                <a:ea typeface="Calibri" panose="020F0502020204030204" pitchFamily="34" charset="0"/>
                <a:cs typeface="Simplified Arabic" panose="02020603050405020304" pitchFamily="18" charset="-78"/>
              </a:rPr>
              <a:t>طن سنة </a:t>
            </a:r>
            <a:r>
              <a:rPr lang="fr-FR" sz="2000" b="1" dirty="0">
                <a:latin typeface="Times New Roman" panose="02020603050405020304" pitchFamily="18" charset="0"/>
                <a:ea typeface="Calibri" panose="020F0502020204030204" pitchFamily="34" charset="0"/>
                <a:cs typeface="Times New Roman" panose="02020603050405020304" pitchFamily="18" charset="0"/>
              </a:rPr>
              <a:t>2019</a:t>
            </a:r>
            <a:r>
              <a:rPr lang="ar-TN" sz="2200" b="1" dirty="0">
                <a:latin typeface="Simplified Arabic" panose="02020603050405020304" pitchFamily="18" charset="-78"/>
                <a:ea typeface="Calibri" panose="020F0502020204030204" pitchFamily="34" charset="0"/>
                <a:cs typeface="Simplified Arabic" panose="02020603050405020304" pitchFamily="18" charset="-78"/>
              </a:rPr>
              <a:t>).</a:t>
            </a:r>
            <a:endParaRPr lang="fr-FR" sz="2200" b="1" dirty="0">
              <a:latin typeface="Simplified Arabic" panose="02020603050405020304" pitchFamily="18" charset="-78"/>
              <a:ea typeface="Calibri" panose="020F0502020204030204" pitchFamily="34" charset="0"/>
              <a:cs typeface="Simplified Arabic" panose="02020603050405020304" pitchFamily="18" charset="-78"/>
            </a:endParaRPr>
          </a:p>
          <a:p>
            <a:pPr marL="342900" lvl="0" indent="-342900" algn="r" rtl="1">
              <a:lnSpc>
                <a:spcPct val="150000"/>
              </a:lnSpc>
              <a:spcBef>
                <a:spcPts val="600"/>
              </a:spcBef>
              <a:spcAft>
                <a:spcPts val="600"/>
              </a:spcAft>
              <a:buClr>
                <a:srgbClr val="FF0000"/>
              </a:buClr>
              <a:buSzPct val="80000"/>
              <a:buFont typeface="Arial" panose="020B0604020202020204" pitchFamily="34" charset="0"/>
              <a:buChar char="•"/>
              <a:tabLst>
                <a:tab pos="16510" algn="r"/>
                <a:tab pos="236855" algn="r"/>
                <a:tab pos="5490845" algn="l"/>
              </a:tabLst>
            </a:pPr>
            <a:r>
              <a:rPr lang="ar-TN" sz="2200" b="1" dirty="0">
                <a:latin typeface="Simplified Arabic" panose="02020603050405020304" pitchFamily="18" charset="-78"/>
                <a:ea typeface="Calibri" panose="020F0502020204030204" pitchFamily="34" charset="0"/>
                <a:cs typeface="Simplified Arabic" panose="02020603050405020304" pitchFamily="18" charset="-78"/>
              </a:rPr>
              <a:t>دخول حقل نوارة حيز الاستغلال الفعلي.</a:t>
            </a:r>
            <a:endParaRPr lang="fr-FR" sz="2200" b="1" dirty="0">
              <a:latin typeface="Simplified Arabic" panose="02020603050405020304" pitchFamily="18" charset="-78"/>
              <a:ea typeface="Calibri" panose="020F0502020204030204" pitchFamily="34" charset="0"/>
              <a:cs typeface="Simplified Arabic" panose="02020603050405020304" pitchFamily="18" charset="-78"/>
            </a:endParaRPr>
          </a:p>
          <a:p>
            <a:pPr marL="342900" lvl="0" indent="-342900" algn="r" rtl="1">
              <a:lnSpc>
                <a:spcPct val="150000"/>
              </a:lnSpc>
              <a:spcBef>
                <a:spcPts val="600"/>
              </a:spcBef>
              <a:spcAft>
                <a:spcPts val="600"/>
              </a:spcAft>
              <a:buClr>
                <a:srgbClr val="FF0000"/>
              </a:buClr>
              <a:buSzPct val="80000"/>
              <a:buFont typeface="Arial" panose="020B0604020202020204" pitchFamily="34" charset="0"/>
              <a:buChar char="•"/>
              <a:tabLst>
                <a:tab pos="16510" algn="r"/>
                <a:tab pos="236855" algn="r"/>
                <a:tab pos="5490845" algn="l"/>
              </a:tabLst>
            </a:pPr>
            <a:r>
              <a:rPr lang="ar-TN" sz="2200" b="1" dirty="0" smtClean="0">
                <a:latin typeface="Simplified Arabic" panose="02020603050405020304" pitchFamily="18" charset="-78"/>
                <a:ea typeface="Calibri" panose="020F0502020204030204" pitchFamily="34" charset="0"/>
                <a:cs typeface="Simplified Arabic" panose="02020603050405020304" pitchFamily="18" charset="-78"/>
              </a:rPr>
              <a:t>تطور </a:t>
            </a:r>
            <a:r>
              <a:rPr lang="ar-TN" sz="2200" b="1" dirty="0">
                <a:latin typeface="Simplified Arabic" panose="02020603050405020304" pitchFamily="18" charset="-78"/>
                <a:ea typeface="Calibri" panose="020F0502020204030204" pitchFamily="34" charset="0"/>
                <a:cs typeface="Simplified Arabic" panose="02020603050405020304" pitchFamily="18" charset="-78"/>
              </a:rPr>
              <a:t>الليالي السياحية واستهداف استقطاب </a:t>
            </a:r>
            <a:r>
              <a:rPr lang="fr-FR" sz="2000" b="1" dirty="0">
                <a:latin typeface="Times New Roman" panose="02020603050405020304" pitchFamily="18" charset="0"/>
                <a:ea typeface="Calibri" panose="020F0502020204030204" pitchFamily="34" charset="0"/>
                <a:cs typeface="Times New Roman" panose="02020603050405020304" pitchFamily="18" charset="0"/>
              </a:rPr>
              <a:t>8</a:t>
            </a:r>
            <a:r>
              <a:rPr lang="ar-TN" sz="2200" b="1" dirty="0">
                <a:latin typeface="Simplified Arabic" panose="02020603050405020304" pitchFamily="18" charset="-78"/>
                <a:ea typeface="Calibri" panose="020F0502020204030204" pitchFamily="34" charset="0"/>
                <a:cs typeface="Simplified Arabic" panose="02020603050405020304" pitchFamily="18" charset="-78"/>
              </a:rPr>
              <a:t> مليون سائح سنة </a:t>
            </a:r>
            <a:r>
              <a:rPr lang="fr-FR" sz="2000" b="1" dirty="0">
                <a:latin typeface="Times New Roman" panose="02020603050405020304" pitchFamily="18" charset="0"/>
                <a:ea typeface="Calibri" panose="020F0502020204030204" pitchFamily="34" charset="0"/>
                <a:cs typeface="Times New Roman" panose="02020603050405020304" pitchFamily="18" charset="0"/>
              </a:rPr>
              <a:t>2020</a:t>
            </a:r>
            <a:r>
              <a:rPr lang="ar-TN" sz="2200" b="1" dirty="0">
                <a:latin typeface="Simplified Arabic" panose="02020603050405020304" pitchFamily="18" charset="-78"/>
                <a:ea typeface="Calibri" panose="020F0502020204030204" pitchFamily="34" charset="0"/>
                <a:cs typeface="Simplified Arabic" panose="02020603050405020304" pitchFamily="18" charset="-78"/>
              </a:rPr>
              <a:t>. </a:t>
            </a:r>
            <a:endParaRPr lang="fr-FR" sz="2200" b="1" dirty="0">
              <a:latin typeface="Simplified Arabic" panose="02020603050405020304" pitchFamily="18" charset="-78"/>
              <a:ea typeface="Calibri" panose="020F0502020204030204" pitchFamily="34" charset="0"/>
              <a:cs typeface="Simplified Arabic" panose="02020603050405020304" pitchFamily="18" charset="-78"/>
            </a:endParaRPr>
          </a:p>
          <a:p>
            <a:pPr marL="342900" indent="-342900" algn="r" rtl="1">
              <a:lnSpc>
                <a:spcPct val="150000"/>
              </a:lnSpc>
              <a:buClr>
                <a:srgbClr val="FF0000"/>
              </a:buClr>
              <a:buSzPct val="80000"/>
              <a:buFont typeface="Arial" panose="020B0604020202020204" pitchFamily="34" charset="0"/>
              <a:buChar char="•"/>
            </a:pPr>
            <a:r>
              <a:rPr lang="ar-TN" sz="2200" b="1" dirty="0">
                <a:latin typeface="Simplified Arabic" panose="02020603050405020304" pitchFamily="18" charset="-78"/>
                <a:ea typeface="Calibri" panose="020F0502020204030204" pitchFamily="34" charset="0"/>
                <a:cs typeface="Simplified Arabic" panose="02020603050405020304" pitchFamily="18" charset="-78"/>
              </a:rPr>
              <a:t>سعر برميل النفط : </a:t>
            </a:r>
            <a:r>
              <a:rPr lang="fr-FR" sz="2000" b="1" dirty="0">
                <a:latin typeface="Times New Roman" panose="02020603050405020304" pitchFamily="18" charset="0"/>
                <a:ea typeface="Calibri" panose="020F0502020204030204" pitchFamily="34" charset="0"/>
                <a:cs typeface="Times New Roman" panose="02020603050405020304" pitchFamily="18" charset="0"/>
              </a:rPr>
              <a:t>65</a:t>
            </a:r>
            <a:r>
              <a:rPr lang="ar-TN" sz="2200" b="1" dirty="0">
                <a:latin typeface="Simplified Arabic" panose="02020603050405020304" pitchFamily="18" charset="-78"/>
                <a:ea typeface="Calibri" panose="020F0502020204030204" pitchFamily="34" charset="0"/>
                <a:cs typeface="Simplified Arabic" panose="02020603050405020304" pitchFamily="18" charset="-78"/>
              </a:rPr>
              <a:t> دولار</a:t>
            </a:r>
            <a:r>
              <a:rPr lang="ar-TN" sz="2200" b="1" dirty="0" smtClean="0">
                <a:latin typeface="Simplified Arabic" panose="02020603050405020304" pitchFamily="18" charset="-78"/>
                <a:ea typeface="Calibri" panose="020F0502020204030204" pitchFamily="34" charset="0"/>
                <a:cs typeface="Simplified Arabic" panose="02020603050405020304" pitchFamily="18" charset="-78"/>
              </a:rPr>
              <a:t>.</a:t>
            </a:r>
            <a:endParaRPr lang="ar-TN" sz="2200" b="1" dirty="0" smtClean="0">
              <a:latin typeface="Simplified Arabic" pitchFamily="18" charset="-78"/>
              <a:cs typeface="Simplified Arabic" pitchFamily="18" charset="-78"/>
            </a:endParaRPr>
          </a:p>
          <a:p>
            <a:pPr marL="180975" indent="-180975" algn="r" rtl="1">
              <a:lnSpc>
                <a:spcPct val="114000"/>
              </a:lnSpc>
              <a:spcBef>
                <a:spcPts val="600"/>
              </a:spcBef>
              <a:spcAft>
                <a:spcPts val="600"/>
              </a:spcAft>
              <a:buClr>
                <a:srgbClr val="FF0000"/>
              </a:buClr>
              <a:buSzPct val="80000"/>
              <a:buFont typeface="Arial" pitchFamily="34" charset="0"/>
              <a:buChar char="•"/>
            </a:pPr>
            <a:endParaRPr lang="fr-FR" sz="1600" b="1" dirty="0" smtClean="0">
              <a:latin typeface="Simplified Arabic" pitchFamily="18" charset="-78"/>
              <a:cs typeface="Simplified Arabic" pitchFamily="18" charset="-78"/>
            </a:endParaRPr>
          </a:p>
          <a:p>
            <a:pPr marL="180975" indent="-180975" algn="just" rtl="1">
              <a:lnSpc>
                <a:spcPct val="114000"/>
              </a:lnSpc>
              <a:spcBef>
                <a:spcPts val="600"/>
              </a:spcBef>
              <a:spcAft>
                <a:spcPts val="600"/>
              </a:spcAft>
              <a:buClr>
                <a:srgbClr val="FF0000"/>
              </a:buClr>
              <a:buSzPct val="80000"/>
              <a:buFont typeface="Arial" pitchFamily="34" charset="0"/>
              <a:buChar char="•"/>
            </a:pPr>
            <a:endParaRPr lang="fr-FR" sz="1600" b="1" dirty="0" smtClean="0">
              <a:latin typeface="Simplified Arabic" pitchFamily="18" charset="-78"/>
              <a:cs typeface="Simplified Arabic" pitchFamily="18" charset="-78"/>
            </a:endParaRPr>
          </a:p>
          <a:p>
            <a:pPr marL="180975" indent="-180975" algn="just" rtl="1">
              <a:lnSpc>
                <a:spcPct val="114000"/>
              </a:lnSpc>
              <a:spcBef>
                <a:spcPts val="600"/>
              </a:spcBef>
              <a:spcAft>
                <a:spcPts val="600"/>
              </a:spcAft>
              <a:buClr>
                <a:srgbClr val="FF0000"/>
              </a:buClr>
              <a:buSzPct val="80000"/>
              <a:buFont typeface="Arial" pitchFamily="34" charset="0"/>
              <a:buChar char="•"/>
            </a:pPr>
            <a:endParaRPr lang="ar-TN" sz="1600" b="1" dirty="0">
              <a:latin typeface="Simplified Arabic" pitchFamily="18" charset="-78"/>
              <a:cs typeface="Simplified Arabic" pitchFamily="18" charset="-78"/>
            </a:endParaRPr>
          </a:p>
        </p:txBody>
      </p:sp>
    </p:spTree>
    <p:custDataLst>
      <p:tags r:id="rId2"/>
    </p:custDataLst>
    <p:extLst>
      <p:ext uri="{BB962C8B-B14F-4D97-AF65-F5344CB8AC3E}">
        <p14:creationId xmlns:p14="http://schemas.microsoft.com/office/powerpoint/2010/main" xmlns="" val="401605738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nvPr>
        </p:nvGraphicFramePr>
        <p:xfrm>
          <a:off x="1589" y="1590"/>
          <a:ext cx="1587" cy="1587"/>
        </p:xfrm>
        <a:graphic>
          <a:graphicData uri="http://schemas.openxmlformats.org/presentationml/2006/ole">
            <p:oleObj spid="_x0000_s274441" name="think-cell Slide" r:id="rId6" imgW="360" imgH="360" progId="">
              <p:embed/>
            </p:oleObj>
          </a:graphicData>
        </a:graphic>
      </p:graphicFrame>
      <p:sp>
        <p:nvSpPr>
          <p:cNvPr id="10" name="Text Placeholder 9"/>
          <p:cNvSpPr>
            <a:spLocks noGrp="1"/>
          </p:cNvSpPr>
          <p:nvPr>
            <p:ph type="body" sz="quarter" idx="4294967295"/>
          </p:nvPr>
        </p:nvSpPr>
        <p:spPr>
          <a:xfrm>
            <a:off x="80814" y="292374"/>
            <a:ext cx="8981798" cy="615553"/>
          </a:xfrm>
        </p:spPr>
        <p:txBody>
          <a:bodyPr/>
          <a:lstStyle/>
          <a:p>
            <a:pPr algn="r" rtl="1"/>
            <a:r>
              <a:rPr lang="ar-TN" sz="2200" b="1" dirty="0" smtClean="0">
                <a:solidFill>
                  <a:srgbClr val="E51B2E"/>
                </a:solidFill>
                <a:latin typeface="Simplified Arabic" pitchFamily="18" charset="-78"/>
                <a:ea typeface="ＭＳ Ｐゴシック" pitchFamily="34" charset="-128"/>
                <a:cs typeface="Simplified Arabic" pitchFamily="18" charset="-78"/>
              </a:rPr>
              <a:t>منوال النموّ لسنة </a:t>
            </a:r>
            <a:r>
              <a:rPr lang="ar-TN" sz="2000" b="1" kern="1200" dirty="0" smtClean="0">
                <a:solidFill>
                  <a:srgbClr val="E51B2E"/>
                </a:solidFill>
                <a:latin typeface="Times New Roman" panose="02020603050405020304" pitchFamily="18" charset="0"/>
                <a:ea typeface="ＭＳ Ｐゴシック" pitchFamily="34" charset="-128"/>
                <a:cs typeface="Times New Roman" panose="02020603050405020304" pitchFamily="18" charset="0"/>
              </a:rPr>
              <a:t>2020</a:t>
            </a:r>
            <a:endParaRPr lang="ar-TN" sz="2200" b="1" kern="1200" dirty="0" smtClean="0">
              <a:solidFill>
                <a:srgbClr val="E51B2E"/>
              </a:solidFill>
              <a:latin typeface="Times New Roman" panose="02020603050405020304" pitchFamily="18" charset="0"/>
              <a:ea typeface="ＭＳ Ｐゴシック" pitchFamily="34" charset="-128"/>
              <a:cs typeface="Times New Roman" panose="02020603050405020304" pitchFamily="18" charset="0"/>
            </a:endParaRPr>
          </a:p>
          <a:p>
            <a:pPr algn="l"/>
            <a:r>
              <a:rPr lang="ar-TN" sz="1800" b="1" dirty="0" smtClean="0">
                <a:solidFill>
                  <a:schemeClr val="tx1"/>
                </a:solidFill>
                <a:latin typeface="Times New Roman" panose="02020603050405020304" pitchFamily="18" charset="0"/>
                <a:cs typeface="Times New Roman" panose="02020603050405020304" pitchFamily="18" charset="0"/>
              </a:rPr>
              <a:t>دفع نسق النمو   </a:t>
            </a:r>
            <a:endParaRPr lang="ar-JO" sz="1200" b="1" dirty="0">
              <a:solidFill>
                <a:schemeClr val="tx1"/>
              </a:solidFill>
              <a:latin typeface="Times New Roman" panose="02020603050405020304" pitchFamily="18" charset="0"/>
              <a:cs typeface="Times New Roman" panose="02020603050405020304" pitchFamily="18" charset="0"/>
            </a:endParaRPr>
          </a:p>
        </p:txBody>
      </p:sp>
      <p:sp>
        <p:nvSpPr>
          <p:cNvPr id="9218" name="FilePath" hidden="1"/>
          <p:cNvSpPr txBox="1">
            <a:spLocks noChangeArrowheads="1"/>
          </p:cNvSpPr>
          <p:nvPr/>
        </p:nvSpPr>
        <p:spPr bwMode="auto">
          <a:xfrm>
            <a:off x="4103079" y="127000"/>
            <a:ext cx="4689231" cy="146258"/>
          </a:xfrm>
          <a:prstGeom prst="rect">
            <a:avLst/>
          </a:prstGeom>
          <a:noFill/>
          <a:ln w="3175" algn="ctr">
            <a:noFill/>
            <a:miter lim="800000"/>
            <a:headEnd/>
            <a:tailEnd/>
          </a:ln>
        </p:spPr>
        <p:txBody>
          <a:bodyPr lIns="17996" tIns="17996" rIns="17996" bIns="17996">
            <a:spAutoFit/>
          </a:bodyPr>
          <a:lstStyle/>
          <a:p>
            <a:pPr algn="r"/>
            <a:r>
              <a:rPr lang="en-GB" sz="700" dirty="0">
                <a:solidFill>
                  <a:srgbClr val="BEBEBE"/>
                </a:solidFill>
              </a:rPr>
              <a:t>G:\1022_TEMELIN_11264\03 Presentations\120118 Kick-off\2012 01 26 </a:t>
            </a:r>
            <a:r>
              <a:rPr lang="en-GB" sz="700" dirty="0" err="1">
                <a:solidFill>
                  <a:srgbClr val="BEBEBE"/>
                </a:solidFill>
              </a:rPr>
              <a:t>Temelin</a:t>
            </a:r>
            <a:r>
              <a:rPr lang="en-GB" sz="700" dirty="0">
                <a:solidFill>
                  <a:srgbClr val="BEBEBE"/>
                </a:solidFill>
              </a:rPr>
              <a:t> - kick-off_v6.ppt</a:t>
            </a:r>
          </a:p>
        </p:txBody>
      </p:sp>
      <p:graphicFrame>
        <p:nvGraphicFramePr>
          <p:cNvPr id="25" name="Tableau 24"/>
          <p:cNvGraphicFramePr>
            <a:graphicFrameLocks noGrp="1"/>
          </p:cNvGraphicFramePr>
          <p:nvPr>
            <p:extLst>
              <p:ext uri="{D42A27DB-BD31-4B8C-83A1-F6EECF244321}">
                <p14:modId xmlns:p14="http://schemas.microsoft.com/office/powerpoint/2010/main" xmlns="" val="1196054343"/>
              </p:ext>
            </p:extLst>
          </p:nvPr>
        </p:nvGraphicFramePr>
        <p:xfrm>
          <a:off x="1403929" y="1348681"/>
          <a:ext cx="6557816" cy="4297657"/>
        </p:xfrm>
        <a:graphic>
          <a:graphicData uri="http://schemas.openxmlformats.org/drawingml/2006/table">
            <a:tbl>
              <a:tblPr firstRow="1" bandRow="1">
                <a:tableStyleId>{1FECB4D8-DB02-4DC6-A0A2-4F2EBAE1DC90}</a:tableStyleId>
              </a:tblPr>
              <a:tblGrid>
                <a:gridCol w="1085431">
                  <a:extLst>
                    <a:ext uri="{9D8B030D-6E8A-4147-A177-3AD203B41FA5}">
                      <a16:colId xmlns:a16="http://schemas.microsoft.com/office/drawing/2014/main" xmlns="" val="20000"/>
                    </a:ext>
                  </a:extLst>
                </a:gridCol>
                <a:gridCol w="1085431">
                  <a:extLst>
                    <a:ext uri="{9D8B030D-6E8A-4147-A177-3AD203B41FA5}">
                      <a16:colId xmlns:a16="http://schemas.microsoft.com/office/drawing/2014/main" xmlns="" val="20002"/>
                    </a:ext>
                  </a:extLst>
                </a:gridCol>
                <a:gridCol w="1085431">
                  <a:extLst>
                    <a:ext uri="{9D8B030D-6E8A-4147-A177-3AD203B41FA5}">
                      <a16:colId xmlns:a16="http://schemas.microsoft.com/office/drawing/2014/main" xmlns="" val="2380470876"/>
                    </a:ext>
                  </a:extLst>
                </a:gridCol>
                <a:gridCol w="1085431">
                  <a:extLst>
                    <a:ext uri="{9D8B030D-6E8A-4147-A177-3AD203B41FA5}">
                      <a16:colId xmlns:a16="http://schemas.microsoft.com/office/drawing/2014/main" xmlns="" val="2749285411"/>
                    </a:ext>
                  </a:extLst>
                </a:gridCol>
                <a:gridCol w="2216092">
                  <a:extLst>
                    <a:ext uri="{9D8B030D-6E8A-4147-A177-3AD203B41FA5}">
                      <a16:colId xmlns:a16="http://schemas.microsoft.com/office/drawing/2014/main" xmlns="" val="20008"/>
                    </a:ext>
                  </a:extLst>
                </a:gridCol>
              </a:tblGrid>
              <a:tr h="628706">
                <a:tc>
                  <a:txBody>
                    <a:bodyPr/>
                    <a:lstStyle/>
                    <a:p>
                      <a:pPr algn="ctr" rtl="1"/>
                      <a:r>
                        <a:rPr lang="ar-TN" sz="1800" b="1" dirty="0" smtClean="0">
                          <a:latin typeface="Times New Roman" panose="02020603050405020304" pitchFamily="18" charset="0"/>
                          <a:cs typeface="Times New Roman" panose="02020603050405020304" pitchFamily="18" charset="0"/>
                        </a:rPr>
                        <a:t>2020</a:t>
                      </a:r>
                      <a:endParaRPr lang="fr-FR" sz="1800" b="1" dirty="0">
                        <a:solidFill>
                          <a:schemeClr val="tx1"/>
                        </a:solidFill>
                        <a:latin typeface="Times New Roman" panose="02020603050405020304" pitchFamily="18" charset="0"/>
                        <a:cs typeface="Times New Roman" panose="02020603050405020304" pitchFamily="18" charset="0"/>
                      </a:endParaRPr>
                    </a:p>
                  </a:txBody>
                  <a:tcPr anchor="ctr"/>
                </a:tc>
                <a:tc>
                  <a:txBody>
                    <a:bodyPr/>
                    <a:lstStyle/>
                    <a:p>
                      <a:pPr algn="ctr" rtl="1"/>
                      <a:r>
                        <a:rPr lang="ar-TN" sz="1800" b="1" dirty="0" smtClean="0">
                          <a:latin typeface="Times New Roman" panose="02020603050405020304" pitchFamily="18" charset="0"/>
                          <a:cs typeface="Times New Roman" panose="02020603050405020304" pitchFamily="18" charset="0"/>
                        </a:rPr>
                        <a:t>2019</a:t>
                      </a:r>
                      <a:endParaRPr lang="fr-FR" sz="1800" b="1" dirty="0">
                        <a:solidFill>
                          <a:schemeClr val="tx1"/>
                        </a:solidFill>
                        <a:latin typeface="Times New Roman" panose="02020603050405020304" pitchFamily="18" charset="0"/>
                        <a:cs typeface="Times New Roman" panose="02020603050405020304" pitchFamily="18" charset="0"/>
                      </a:endParaRPr>
                    </a:p>
                  </a:txBody>
                  <a:tcPr anchor="ctr"/>
                </a:tc>
                <a:tc>
                  <a:txBody>
                    <a:bodyPr/>
                    <a:lstStyle/>
                    <a:p>
                      <a:pPr algn="ctr" rtl="1"/>
                      <a:r>
                        <a:rPr lang="fr-FR" sz="1800" b="1" dirty="0" smtClean="0">
                          <a:latin typeface="Times New Roman" panose="02020603050405020304" pitchFamily="18" charset="0"/>
                          <a:cs typeface="Times New Roman" panose="02020603050405020304" pitchFamily="18" charset="0"/>
                        </a:rPr>
                        <a:t>2018</a:t>
                      </a:r>
                      <a:endParaRPr lang="fr-FR" sz="1800" b="1" dirty="0">
                        <a:solidFill>
                          <a:schemeClr val="tx1"/>
                        </a:solidFill>
                        <a:latin typeface="Times New Roman" panose="02020603050405020304" pitchFamily="18" charset="0"/>
                        <a:cs typeface="Times New Roman" panose="02020603050405020304" pitchFamily="18" charset="0"/>
                      </a:endParaRPr>
                    </a:p>
                  </a:txBody>
                  <a:tcPr anchor="ctr"/>
                </a:tc>
                <a:tc>
                  <a:txBody>
                    <a:bodyPr/>
                    <a:lstStyle/>
                    <a:p>
                      <a:pPr algn="ctr" rtl="1"/>
                      <a:r>
                        <a:rPr lang="fr-FR" sz="1800" b="1" dirty="0" smtClean="0">
                          <a:latin typeface="Times New Roman" panose="02020603050405020304" pitchFamily="18" charset="0"/>
                          <a:cs typeface="Times New Roman" panose="02020603050405020304" pitchFamily="18" charset="0"/>
                        </a:rPr>
                        <a:t>2017</a:t>
                      </a:r>
                      <a:endParaRPr lang="fr-FR" sz="1800" b="1" dirty="0">
                        <a:solidFill>
                          <a:schemeClr val="tx1"/>
                        </a:solidFill>
                        <a:latin typeface="Times New Roman" panose="02020603050405020304" pitchFamily="18" charset="0"/>
                        <a:cs typeface="Times New Roman" panose="02020603050405020304" pitchFamily="18" charset="0"/>
                      </a:endParaRPr>
                    </a:p>
                  </a:txBody>
                  <a:tcPr anchor="ctr"/>
                </a:tc>
                <a:tc>
                  <a:txBody>
                    <a:bodyPr/>
                    <a:lstStyle/>
                    <a:p>
                      <a:pPr algn="r" rtl="1"/>
                      <a:r>
                        <a:rPr lang="ar-TN" sz="1800" b="1" dirty="0" err="1" smtClean="0">
                          <a:latin typeface="Simplified Arabic" panose="02020603050405020304" pitchFamily="18" charset="-78"/>
                          <a:cs typeface="Simplified Arabic" panose="02020603050405020304" pitchFamily="18" charset="-78"/>
                        </a:rPr>
                        <a:t>(</a:t>
                      </a:r>
                      <a:r>
                        <a:rPr lang="fr-FR" sz="1800" b="1" dirty="0" smtClean="0">
                          <a:latin typeface="Simplified Arabic" panose="02020603050405020304" pitchFamily="18" charset="-78"/>
                          <a:cs typeface="Simplified Arabic" panose="02020603050405020304" pitchFamily="18" charset="-78"/>
                        </a:rPr>
                        <a:t>%</a:t>
                      </a:r>
                      <a:r>
                        <a:rPr lang="ar-TN" sz="1800" b="1" dirty="0" smtClean="0">
                          <a:latin typeface="Simplified Arabic" panose="02020603050405020304" pitchFamily="18" charset="-78"/>
                          <a:cs typeface="Simplified Arabic" panose="02020603050405020304" pitchFamily="18" charset="-78"/>
                        </a:rPr>
                        <a:t>، بالأسعار القارة</a:t>
                      </a:r>
                      <a:r>
                        <a:rPr lang="ar-TN" sz="1800" b="1" dirty="0" err="1" smtClean="0">
                          <a:latin typeface="Simplified Arabic" panose="02020603050405020304" pitchFamily="18" charset="-78"/>
                          <a:cs typeface="Simplified Arabic" panose="02020603050405020304" pitchFamily="18" charset="-78"/>
                        </a:rPr>
                        <a:t>)</a:t>
                      </a:r>
                      <a:endParaRPr lang="fr-FR" sz="1800" b="1" dirty="0">
                        <a:solidFill>
                          <a:schemeClr val="tx1"/>
                        </a:solidFill>
                        <a:latin typeface="Simplified Arabic" pitchFamily="18" charset="-78"/>
                        <a:cs typeface="Simplified Arabic" pitchFamily="18" charset="-78"/>
                      </a:endParaRPr>
                    </a:p>
                  </a:txBody>
                  <a:tcPr anchor="ctr"/>
                </a:tc>
                <a:extLst>
                  <a:ext uri="{0D108BD9-81ED-4DB2-BD59-A6C34878D82A}">
                    <a16:rowId xmlns:a16="http://schemas.microsoft.com/office/drawing/2014/main" xmlns="" val="10000"/>
                  </a:ext>
                </a:extLst>
              </a:tr>
              <a:tr h="525421">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2,7</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1,4</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2,5</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1,9</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r" rtl="1"/>
                      <a:r>
                        <a:rPr lang="ar-TN" sz="1800" b="1" dirty="0" smtClean="0">
                          <a:latin typeface="Simplified Arabic" panose="02020603050405020304" pitchFamily="18" charset="-78"/>
                          <a:cs typeface="Simplified Arabic" panose="02020603050405020304" pitchFamily="18" charset="-78"/>
                        </a:rPr>
                        <a:t>نمو الناتج المحلي الإجمالي </a:t>
                      </a:r>
                      <a:endParaRPr lang="fr-FR" sz="1800" b="1" dirty="0">
                        <a:solidFill>
                          <a:schemeClr val="tx1"/>
                        </a:solidFill>
                        <a:latin typeface="Simplified Arabic" panose="02020603050405020304" pitchFamily="18" charset="-78"/>
                        <a:cs typeface="Simplified Arabic" panose="02020603050405020304" pitchFamily="18" charset="-78"/>
                      </a:endParaRPr>
                    </a:p>
                  </a:txBody>
                  <a:tcPr anchor="ctr"/>
                </a:tc>
                <a:extLst>
                  <a:ext uri="{0D108BD9-81ED-4DB2-BD59-A6C34878D82A}">
                    <a16:rowId xmlns:a16="http://schemas.microsoft.com/office/drawing/2014/main" xmlns="" val="10001"/>
                  </a:ext>
                </a:extLst>
              </a:tr>
              <a:tr h="628706">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5,2</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1,7</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9,8</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2,0</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indent="0" algn="r" defTabSz="914206" rtl="1" eaLnBrk="1" latinLnBrk="0" hangingPunct="1"/>
                      <a:r>
                        <a:rPr lang="ar-TN" sz="1800" b="1" kern="1200" dirty="0" smtClean="0">
                          <a:latin typeface="Simplified Arabic" panose="02020603050405020304" pitchFamily="18" charset="-78"/>
                          <a:cs typeface="Simplified Arabic" panose="02020603050405020304" pitchFamily="18" charset="-78"/>
                        </a:rPr>
                        <a:t>الفلاحة</a:t>
                      </a:r>
                      <a:r>
                        <a:rPr lang="ar-TN" sz="1800" b="1" kern="1200" baseline="0" dirty="0" smtClean="0">
                          <a:latin typeface="Simplified Arabic" panose="02020603050405020304" pitchFamily="18" charset="-78"/>
                          <a:cs typeface="Simplified Arabic" panose="02020603050405020304" pitchFamily="18" charset="-78"/>
                        </a:rPr>
                        <a:t> والصيد البحري</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a16="http://schemas.microsoft.com/office/drawing/2014/main" xmlns="" val="10002"/>
                  </a:ext>
                </a:extLst>
              </a:tr>
              <a:tr h="628706">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1,5</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0,3-</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0,6</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0,5</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indent="0" algn="r" defTabSz="914206" rtl="1" eaLnBrk="1" latinLnBrk="0" hangingPunct="1"/>
                      <a:r>
                        <a:rPr lang="ar-TN" sz="1800" b="1" kern="1200" dirty="0" smtClean="0">
                          <a:latin typeface="Simplified Arabic" panose="02020603050405020304" pitchFamily="18" charset="-78"/>
                          <a:cs typeface="Simplified Arabic" panose="02020603050405020304" pitchFamily="18" charset="-78"/>
                        </a:rPr>
                        <a:t>الصناعات المعملية</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a16="http://schemas.microsoft.com/office/drawing/2014/main" xmlns="" val="10003"/>
                  </a:ext>
                </a:extLst>
              </a:tr>
              <a:tr h="628706">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7,0</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0,9</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1,2</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3,4</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indent="0" algn="r" defTabSz="914206" rtl="1" eaLnBrk="1" latinLnBrk="0" hangingPunct="1"/>
                      <a:r>
                        <a:rPr lang="ar-TN" sz="1800" b="1" kern="1200" dirty="0" smtClean="0">
                          <a:latin typeface="Simplified Arabic" panose="02020603050405020304" pitchFamily="18" charset="-78"/>
                          <a:cs typeface="Simplified Arabic" panose="02020603050405020304" pitchFamily="18" charset="-78"/>
                        </a:rPr>
                        <a:t>الصناعات غير المعملية</a:t>
                      </a:r>
                      <a:endParaRPr lang="ar-TN" sz="1800" b="1" kern="1200" dirty="0" smtClean="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a16="http://schemas.microsoft.com/office/drawing/2014/main" xmlns="" val="10004"/>
                  </a:ext>
                </a:extLst>
              </a:tr>
              <a:tr h="628706">
                <a:tc>
                  <a:txBody>
                    <a:bodyPr/>
                    <a:lstStyle/>
                    <a:p>
                      <a:pPr algn="ctr" fontAlgn="ctr"/>
                      <a:r>
                        <a:rPr lang="fr-FR" sz="1800" b="1" u="none" strike="noStrike" dirty="0" smtClean="0">
                          <a:effectLst/>
                          <a:latin typeface="Times New Roman" panose="02020603050405020304" pitchFamily="18" charset="0"/>
                          <a:cs typeface="Times New Roman" panose="02020603050405020304" pitchFamily="18" charset="0"/>
                        </a:rPr>
                        <a:t>2,6</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2,2</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3,2</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800" b="1" u="none" strike="noStrike" dirty="0" smtClean="0">
                          <a:effectLst/>
                          <a:latin typeface="Times New Roman" panose="02020603050405020304" pitchFamily="18" charset="0"/>
                          <a:cs typeface="Times New Roman" panose="02020603050405020304" pitchFamily="18" charset="0"/>
                        </a:rPr>
                        <a:t>4,5</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indent="0" algn="r" defTabSz="914206" rtl="1" eaLnBrk="1" latinLnBrk="0" hangingPunct="1"/>
                      <a:r>
                        <a:rPr lang="ar-TN" sz="1800" b="1" kern="1200" dirty="0" smtClean="0">
                          <a:latin typeface="Simplified Arabic" panose="02020603050405020304" pitchFamily="18" charset="-78"/>
                          <a:cs typeface="Simplified Arabic" panose="02020603050405020304" pitchFamily="18" charset="-78"/>
                        </a:rPr>
                        <a:t>الخدمات المسوقة</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a16="http://schemas.microsoft.com/office/drawing/2014/main" xmlns="" val="10005"/>
                  </a:ext>
                </a:extLst>
              </a:tr>
              <a:tr h="628706">
                <a:tc>
                  <a:txBody>
                    <a:bodyPr/>
                    <a:lstStyle/>
                    <a:p>
                      <a:pPr algn="ctr" fontAlgn="ctr"/>
                      <a:r>
                        <a:rPr lang="fr-FR" sz="1800" b="1" i="0" u="none" strike="noStrike" dirty="0" smtClean="0">
                          <a:effectLst/>
                          <a:latin typeface="Times New Roman" panose="02020603050405020304" pitchFamily="18" charset="0"/>
                          <a:cs typeface="Times New Roman" panose="02020603050405020304" pitchFamily="18" charset="0"/>
                        </a:rPr>
                        <a:t>1,5</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fr-FR" sz="1800" b="1" i="0" u="none" strike="noStrike" dirty="0" smtClean="0">
                          <a:effectLst/>
                          <a:latin typeface="Times New Roman" panose="02020603050405020304" pitchFamily="18" charset="0"/>
                          <a:cs typeface="Times New Roman" panose="02020603050405020304" pitchFamily="18" charset="0"/>
                        </a:rPr>
                        <a:t>1,0</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fr-FR" sz="1800" b="1" i="0" u="none" strike="noStrike" dirty="0" smtClean="0">
                          <a:effectLst/>
                          <a:latin typeface="Times New Roman" panose="02020603050405020304" pitchFamily="18" charset="0"/>
                          <a:cs typeface="Times New Roman" panose="02020603050405020304" pitchFamily="18" charset="0"/>
                        </a:rPr>
                        <a:t>0,3</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fr-FR" sz="1800" b="1" i="0" u="none" strike="noStrike" dirty="0" smtClean="0">
                          <a:effectLst/>
                          <a:latin typeface="Times New Roman" panose="02020603050405020304" pitchFamily="18" charset="0"/>
                          <a:cs typeface="Times New Roman" panose="02020603050405020304" pitchFamily="18" charset="0"/>
                        </a:rPr>
                        <a:t>0,7</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indent="0" algn="r" defTabSz="914206" rtl="1" eaLnBrk="1" latinLnBrk="0" hangingPunct="1"/>
                      <a:r>
                        <a:rPr lang="ar-TN" sz="1800" b="1" kern="1200" dirty="0" smtClean="0">
                          <a:solidFill>
                            <a:schemeClr val="tx1"/>
                          </a:solidFill>
                          <a:latin typeface="Simplified Arabic" panose="02020603050405020304" pitchFamily="18" charset="-78"/>
                          <a:ea typeface="+mn-ea"/>
                          <a:cs typeface="Simplified Arabic" panose="02020603050405020304" pitchFamily="18" charset="-78"/>
                        </a:rPr>
                        <a:t>الخدمات غير المسوّقة</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a16="http://schemas.microsoft.com/office/drawing/2014/main" xmlns="" val="1238206143"/>
                  </a:ext>
                </a:extLst>
              </a:tr>
            </a:tbl>
          </a:graphicData>
        </a:graphic>
      </p:graphicFrame>
    </p:spTree>
    <p:custDataLst>
      <p:tags r:id="rId2"/>
    </p:custDataLst>
    <p:extLst>
      <p:ext uri="{BB962C8B-B14F-4D97-AF65-F5344CB8AC3E}">
        <p14:creationId xmlns:p14="http://schemas.microsoft.com/office/powerpoint/2010/main" xmlns="" val="34063140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nvPr>
        </p:nvGraphicFramePr>
        <p:xfrm>
          <a:off x="1589" y="1590"/>
          <a:ext cx="1587" cy="1587"/>
        </p:xfrm>
        <a:graphic>
          <a:graphicData uri="http://schemas.openxmlformats.org/presentationml/2006/ole">
            <p:oleObj spid="_x0000_s168012" name="think-cell Slide" r:id="rId6" imgW="360" imgH="360" progId="">
              <p:embed/>
            </p:oleObj>
          </a:graphicData>
        </a:graphic>
      </p:graphicFrame>
      <p:sp>
        <p:nvSpPr>
          <p:cNvPr id="10" name="Text Placeholder 9"/>
          <p:cNvSpPr>
            <a:spLocks noGrp="1"/>
          </p:cNvSpPr>
          <p:nvPr>
            <p:ph type="body" sz="quarter" idx="4294967295"/>
          </p:nvPr>
        </p:nvSpPr>
        <p:spPr>
          <a:xfrm>
            <a:off x="80814" y="292374"/>
            <a:ext cx="8981798" cy="615553"/>
          </a:xfrm>
        </p:spPr>
        <p:txBody>
          <a:bodyPr/>
          <a:lstStyle/>
          <a:p>
            <a:pPr algn="r" rtl="1"/>
            <a:r>
              <a:rPr lang="ar-TN" sz="2200" b="1" dirty="0" smtClean="0">
                <a:solidFill>
                  <a:srgbClr val="E51B2E"/>
                </a:solidFill>
                <a:latin typeface="Simplified Arabic" pitchFamily="18" charset="-78"/>
                <a:ea typeface="ＭＳ Ｐゴシック" pitchFamily="34" charset="-128"/>
                <a:cs typeface="Simplified Arabic" pitchFamily="18" charset="-78"/>
              </a:rPr>
              <a:t>منوال النموّ لسنة </a:t>
            </a:r>
            <a:r>
              <a:rPr lang="ar-TN" sz="2000" b="1" kern="1200" dirty="0" smtClean="0">
                <a:solidFill>
                  <a:srgbClr val="E51B2E"/>
                </a:solidFill>
                <a:latin typeface="Times New Roman" panose="02020603050405020304" pitchFamily="18" charset="0"/>
                <a:ea typeface="ＭＳ Ｐゴシック" pitchFamily="34" charset="-128"/>
                <a:cs typeface="Times New Roman" panose="02020603050405020304" pitchFamily="18" charset="0"/>
              </a:rPr>
              <a:t>2020</a:t>
            </a:r>
            <a:endParaRPr lang="ar-TN" sz="2200" b="1" kern="1200" dirty="0" smtClean="0">
              <a:solidFill>
                <a:srgbClr val="E51B2E"/>
              </a:solidFill>
              <a:latin typeface="Times New Roman" panose="02020603050405020304" pitchFamily="18" charset="0"/>
              <a:ea typeface="ＭＳ Ｐゴシック" pitchFamily="34" charset="-128"/>
              <a:cs typeface="Times New Roman" panose="02020603050405020304" pitchFamily="18" charset="0"/>
            </a:endParaRPr>
          </a:p>
          <a:p>
            <a:pPr algn="l"/>
            <a:r>
              <a:rPr lang="ar-TN" sz="1800" b="1" dirty="0" smtClean="0">
                <a:solidFill>
                  <a:schemeClr val="tx1"/>
                </a:solidFill>
                <a:latin typeface="Times New Roman" panose="02020603050405020304" pitchFamily="18" charset="0"/>
                <a:cs typeface="Times New Roman" panose="02020603050405020304" pitchFamily="18" charset="0"/>
              </a:rPr>
              <a:t>تنشيط محركات النمو </a:t>
            </a:r>
            <a:endParaRPr lang="ar-JO" sz="1200" b="1" dirty="0">
              <a:solidFill>
                <a:schemeClr val="tx1"/>
              </a:solidFill>
              <a:latin typeface="Times New Roman" panose="02020603050405020304" pitchFamily="18" charset="0"/>
              <a:cs typeface="Times New Roman" panose="02020603050405020304" pitchFamily="18" charset="0"/>
            </a:endParaRPr>
          </a:p>
        </p:txBody>
      </p:sp>
      <p:sp>
        <p:nvSpPr>
          <p:cNvPr id="9218" name="FilePath" hidden="1"/>
          <p:cNvSpPr txBox="1">
            <a:spLocks noChangeArrowheads="1"/>
          </p:cNvSpPr>
          <p:nvPr/>
        </p:nvSpPr>
        <p:spPr bwMode="auto">
          <a:xfrm>
            <a:off x="4103079" y="127000"/>
            <a:ext cx="4689231" cy="146258"/>
          </a:xfrm>
          <a:prstGeom prst="rect">
            <a:avLst/>
          </a:prstGeom>
          <a:noFill/>
          <a:ln w="3175" algn="ctr">
            <a:noFill/>
            <a:miter lim="800000"/>
            <a:headEnd/>
            <a:tailEnd/>
          </a:ln>
        </p:spPr>
        <p:txBody>
          <a:bodyPr lIns="17996" tIns="17996" rIns="17996" bIns="17996">
            <a:spAutoFit/>
          </a:bodyPr>
          <a:lstStyle/>
          <a:p>
            <a:pPr algn="r"/>
            <a:r>
              <a:rPr lang="en-GB" sz="700" dirty="0">
                <a:solidFill>
                  <a:srgbClr val="BEBEBE"/>
                </a:solidFill>
              </a:rPr>
              <a:t>G:\1022_TEMELIN_11264\03 Presentations\120118 Kick-off\2012 01 26 </a:t>
            </a:r>
            <a:r>
              <a:rPr lang="en-GB" sz="700" dirty="0" err="1">
                <a:solidFill>
                  <a:srgbClr val="BEBEBE"/>
                </a:solidFill>
              </a:rPr>
              <a:t>Temelin</a:t>
            </a:r>
            <a:r>
              <a:rPr lang="en-GB" sz="700" dirty="0">
                <a:solidFill>
                  <a:srgbClr val="BEBEBE"/>
                </a:solidFill>
              </a:rPr>
              <a:t> - kick-off_v6.ppt</a:t>
            </a:r>
          </a:p>
        </p:txBody>
      </p:sp>
      <p:graphicFrame>
        <p:nvGraphicFramePr>
          <p:cNvPr id="25" name="Tableau 24"/>
          <p:cNvGraphicFramePr>
            <a:graphicFrameLocks noGrp="1"/>
          </p:cNvGraphicFramePr>
          <p:nvPr>
            <p:extLst>
              <p:ext uri="{D42A27DB-BD31-4B8C-83A1-F6EECF244321}">
                <p14:modId xmlns:p14="http://schemas.microsoft.com/office/powerpoint/2010/main" xmlns="" val="3393112463"/>
              </p:ext>
            </p:extLst>
          </p:nvPr>
        </p:nvGraphicFramePr>
        <p:xfrm>
          <a:off x="955355" y="1334388"/>
          <a:ext cx="7304466" cy="4297657"/>
        </p:xfrm>
        <a:graphic>
          <a:graphicData uri="http://schemas.openxmlformats.org/drawingml/2006/table">
            <a:tbl>
              <a:tblPr firstRow="1" bandRow="1">
                <a:tableStyleId>{1FECB4D8-DB02-4DC6-A0A2-4F2EBAE1DC90}</a:tableStyleId>
              </a:tblPr>
              <a:tblGrid>
                <a:gridCol w="1080000">
                  <a:extLst>
                    <a:ext uri="{9D8B030D-6E8A-4147-A177-3AD203B41FA5}">
                      <a16:colId xmlns="" xmlns:a16="http://schemas.microsoft.com/office/drawing/2014/main" val="20000"/>
                    </a:ext>
                  </a:extLst>
                </a:gridCol>
                <a:gridCol w="1080000">
                  <a:extLst>
                    <a:ext uri="{9D8B030D-6E8A-4147-A177-3AD203B41FA5}">
                      <a16:colId xmlns="" xmlns:a16="http://schemas.microsoft.com/office/drawing/2014/main" val="20002"/>
                    </a:ext>
                  </a:extLst>
                </a:gridCol>
                <a:gridCol w="1080000">
                  <a:extLst>
                    <a:ext uri="{9D8B030D-6E8A-4147-A177-3AD203B41FA5}">
                      <a16:colId xmlns="" xmlns:a16="http://schemas.microsoft.com/office/drawing/2014/main" val="2380470876"/>
                    </a:ext>
                  </a:extLst>
                </a:gridCol>
                <a:gridCol w="1080000">
                  <a:extLst>
                    <a:ext uri="{9D8B030D-6E8A-4147-A177-3AD203B41FA5}">
                      <a16:colId xmlns="" xmlns:a16="http://schemas.microsoft.com/office/drawing/2014/main" val="2749285411"/>
                    </a:ext>
                  </a:extLst>
                </a:gridCol>
                <a:gridCol w="2984466">
                  <a:extLst>
                    <a:ext uri="{9D8B030D-6E8A-4147-A177-3AD203B41FA5}">
                      <a16:colId xmlns="" xmlns:a16="http://schemas.microsoft.com/office/drawing/2014/main" val="20008"/>
                    </a:ext>
                  </a:extLst>
                </a:gridCol>
              </a:tblGrid>
              <a:tr h="628706">
                <a:tc>
                  <a:txBody>
                    <a:bodyPr/>
                    <a:lstStyle/>
                    <a:p>
                      <a:pPr algn="ctr" rtl="1"/>
                      <a:r>
                        <a:rPr lang="ar-TN" sz="1800" b="1" dirty="0" smtClean="0">
                          <a:latin typeface="Times New Roman" panose="02020603050405020304" pitchFamily="18" charset="0"/>
                          <a:cs typeface="Times New Roman" panose="02020603050405020304" pitchFamily="18" charset="0"/>
                        </a:rPr>
                        <a:t>2020</a:t>
                      </a:r>
                      <a:endParaRPr lang="fr-FR" sz="1800" b="1" dirty="0">
                        <a:solidFill>
                          <a:schemeClr val="tx1"/>
                        </a:solidFill>
                        <a:latin typeface="Times New Roman" panose="02020603050405020304" pitchFamily="18" charset="0"/>
                        <a:cs typeface="Times New Roman" panose="02020603050405020304" pitchFamily="18" charset="0"/>
                      </a:endParaRPr>
                    </a:p>
                  </a:txBody>
                  <a:tcPr anchor="ctr"/>
                </a:tc>
                <a:tc>
                  <a:txBody>
                    <a:bodyPr/>
                    <a:lstStyle/>
                    <a:p>
                      <a:pPr algn="ctr" rtl="1"/>
                      <a:r>
                        <a:rPr lang="ar-TN" sz="1800" b="1" dirty="0" smtClean="0">
                          <a:latin typeface="Times New Roman" panose="02020603050405020304" pitchFamily="18" charset="0"/>
                          <a:cs typeface="Times New Roman" panose="02020603050405020304" pitchFamily="18" charset="0"/>
                        </a:rPr>
                        <a:t>2019</a:t>
                      </a:r>
                      <a:endParaRPr lang="fr-FR" sz="1800" b="1" dirty="0">
                        <a:solidFill>
                          <a:schemeClr val="tx1"/>
                        </a:solidFill>
                        <a:latin typeface="Times New Roman" panose="02020603050405020304" pitchFamily="18" charset="0"/>
                        <a:cs typeface="Times New Roman" panose="02020603050405020304" pitchFamily="18" charset="0"/>
                      </a:endParaRPr>
                    </a:p>
                  </a:txBody>
                  <a:tcPr anchor="ctr"/>
                </a:tc>
                <a:tc>
                  <a:txBody>
                    <a:bodyPr/>
                    <a:lstStyle/>
                    <a:p>
                      <a:pPr algn="ctr" rtl="1"/>
                      <a:r>
                        <a:rPr lang="ar-TN" sz="1800" b="1" dirty="0" smtClean="0">
                          <a:latin typeface="Times New Roman" panose="02020603050405020304" pitchFamily="18" charset="0"/>
                          <a:cs typeface="Times New Roman" panose="02020603050405020304" pitchFamily="18" charset="0"/>
                        </a:rPr>
                        <a:t>2018</a:t>
                      </a:r>
                      <a:endParaRPr lang="fr-FR" sz="1800" b="1" dirty="0">
                        <a:solidFill>
                          <a:schemeClr val="tx1"/>
                        </a:solidFill>
                        <a:latin typeface="Times New Roman" panose="02020603050405020304" pitchFamily="18" charset="0"/>
                        <a:cs typeface="Times New Roman" panose="02020603050405020304" pitchFamily="18" charset="0"/>
                      </a:endParaRPr>
                    </a:p>
                  </a:txBody>
                  <a:tcPr anchor="ctr"/>
                </a:tc>
                <a:tc>
                  <a:txBody>
                    <a:bodyPr/>
                    <a:lstStyle/>
                    <a:p>
                      <a:pPr algn="ctr" rtl="1"/>
                      <a:r>
                        <a:rPr lang="ar-TN" sz="1800" b="1" dirty="0" smtClean="0">
                          <a:latin typeface="Times New Roman" panose="02020603050405020304" pitchFamily="18" charset="0"/>
                          <a:cs typeface="Times New Roman" panose="02020603050405020304" pitchFamily="18" charset="0"/>
                        </a:rPr>
                        <a:t>2017</a:t>
                      </a:r>
                      <a:endParaRPr lang="fr-FR" sz="1800" b="1" dirty="0">
                        <a:solidFill>
                          <a:schemeClr val="tx1"/>
                        </a:solidFill>
                        <a:latin typeface="Times New Roman" panose="02020603050405020304" pitchFamily="18" charset="0"/>
                        <a:cs typeface="Times New Roman" panose="02020603050405020304" pitchFamily="18" charset="0"/>
                      </a:endParaRPr>
                    </a:p>
                  </a:txBody>
                  <a:tcPr anchor="ctr"/>
                </a:tc>
                <a:tc>
                  <a:txBody>
                    <a:bodyPr/>
                    <a:lstStyle/>
                    <a:p>
                      <a:pPr marL="0" indent="0" algn="r" defTabSz="914206" rtl="1" eaLnBrk="1" latinLnBrk="0" hangingPunct="1"/>
                      <a:r>
                        <a:rPr lang="ar-TN" sz="1800" b="1" kern="1200" dirty="0" smtClean="0">
                          <a:latin typeface="Simplified Arabic" panose="02020603050405020304" pitchFamily="18" charset="-78"/>
                          <a:cs typeface="Simplified Arabic" panose="02020603050405020304" pitchFamily="18" charset="-78"/>
                        </a:rPr>
                        <a:t>(بالأسعار الجارية</a:t>
                      </a:r>
                      <a:r>
                        <a:rPr lang="ar-TN" sz="1800" b="1" kern="1200" dirty="0" err="1" smtClean="0">
                          <a:latin typeface="Simplified Arabic" panose="02020603050405020304" pitchFamily="18" charset="-78"/>
                          <a:cs typeface="Simplified Arabic" panose="02020603050405020304" pitchFamily="18" charset="-78"/>
                        </a:rPr>
                        <a:t>)</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 xmlns:a16="http://schemas.microsoft.com/office/drawing/2014/main" val="10000"/>
                  </a:ext>
                </a:extLst>
              </a:tr>
              <a:tr h="525421">
                <a:tc>
                  <a:txBody>
                    <a:bodyPr/>
                    <a:lstStyle/>
                    <a:p>
                      <a:pPr algn="ctr" fontAlgn="ctr"/>
                      <a:r>
                        <a:rPr lang="ar-TN" sz="1600" b="1" u="none" strike="noStrike" dirty="0" smtClean="0">
                          <a:effectLst/>
                          <a:latin typeface="Times New Roman" panose="02020603050405020304" pitchFamily="18" charset="0"/>
                          <a:cs typeface="Times New Roman" panose="02020603050405020304" pitchFamily="18" charset="0"/>
                        </a:rPr>
                        <a:t>23</a:t>
                      </a:r>
                      <a:r>
                        <a:rPr lang="fr-FR" sz="1600" b="1" u="none" strike="noStrike" dirty="0" smtClean="0">
                          <a:effectLst/>
                          <a:latin typeface="Times New Roman" panose="02020603050405020304" pitchFamily="18" charset="0"/>
                          <a:cs typeface="Times New Roman" panose="02020603050405020304" pitchFamily="18" charset="0"/>
                        </a:rPr>
                        <a:t> </a:t>
                      </a:r>
                      <a:r>
                        <a:rPr lang="ar-TN" sz="1600" b="1" u="none" strike="noStrike" dirty="0" smtClean="0">
                          <a:effectLst/>
                          <a:latin typeface="Times New Roman" panose="02020603050405020304" pitchFamily="18" charset="0"/>
                          <a:cs typeface="Times New Roman" panose="02020603050405020304" pitchFamily="18" charset="0"/>
                        </a:rPr>
                        <a:t>149</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600" b="1" u="none" strike="noStrike" dirty="0" smtClean="0">
                          <a:effectLst/>
                          <a:latin typeface="Times New Roman" panose="02020603050405020304" pitchFamily="18" charset="0"/>
                          <a:cs typeface="Times New Roman" panose="02020603050405020304" pitchFamily="18" charset="0"/>
                        </a:rPr>
                        <a:t>21</a:t>
                      </a:r>
                      <a:r>
                        <a:rPr lang="fr-FR" sz="1600" b="1" u="none" strike="noStrike" dirty="0" smtClean="0">
                          <a:effectLst/>
                          <a:latin typeface="Times New Roman" panose="02020603050405020304" pitchFamily="18" charset="0"/>
                          <a:cs typeface="Times New Roman" panose="02020603050405020304" pitchFamily="18" charset="0"/>
                        </a:rPr>
                        <a:t> </a:t>
                      </a:r>
                      <a:r>
                        <a:rPr lang="ar-TN" sz="1600" b="1" u="none" strike="noStrike" dirty="0" smtClean="0">
                          <a:effectLst/>
                          <a:latin typeface="Times New Roman" panose="02020603050405020304" pitchFamily="18" charset="0"/>
                          <a:cs typeface="Times New Roman" panose="02020603050405020304" pitchFamily="18" charset="0"/>
                        </a:rPr>
                        <a:t>117</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600" b="1" u="none" strike="noStrike" dirty="0" smtClean="0">
                          <a:effectLst/>
                          <a:latin typeface="Times New Roman" panose="02020603050405020304" pitchFamily="18" charset="0"/>
                          <a:cs typeface="Times New Roman" panose="02020603050405020304" pitchFamily="18" charset="0"/>
                        </a:rPr>
                        <a:t>19</a:t>
                      </a:r>
                      <a:r>
                        <a:rPr lang="fr-FR" sz="1600" b="1" u="none" strike="noStrike" dirty="0" smtClean="0">
                          <a:effectLst/>
                          <a:latin typeface="Times New Roman" panose="02020603050405020304" pitchFamily="18" charset="0"/>
                          <a:cs typeface="Times New Roman" panose="02020603050405020304" pitchFamily="18" charset="0"/>
                        </a:rPr>
                        <a:t> </a:t>
                      </a:r>
                      <a:r>
                        <a:rPr lang="ar-TN" sz="1600" b="1" u="none" strike="noStrike" dirty="0" smtClean="0">
                          <a:effectLst/>
                          <a:latin typeface="Times New Roman" panose="02020603050405020304" pitchFamily="18" charset="0"/>
                          <a:cs typeface="Times New Roman" panose="02020603050405020304" pitchFamily="18" charset="0"/>
                        </a:rPr>
                        <a:t>566</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600" b="1" u="none" strike="noStrike" dirty="0" smtClean="0">
                          <a:effectLst/>
                          <a:latin typeface="Times New Roman" panose="02020603050405020304" pitchFamily="18" charset="0"/>
                          <a:cs typeface="Times New Roman" panose="02020603050405020304" pitchFamily="18" charset="0"/>
                        </a:rPr>
                        <a:t>18</a:t>
                      </a:r>
                      <a:r>
                        <a:rPr lang="fr-FR" sz="1600" b="1" u="none" strike="noStrike" dirty="0" smtClean="0">
                          <a:effectLst/>
                          <a:latin typeface="Times New Roman" panose="02020603050405020304" pitchFamily="18" charset="0"/>
                          <a:cs typeface="Times New Roman" panose="02020603050405020304" pitchFamily="18" charset="0"/>
                        </a:rPr>
                        <a:t> </a:t>
                      </a:r>
                      <a:r>
                        <a:rPr lang="ar-TN" sz="1600" b="1" u="none" strike="noStrike" dirty="0" smtClean="0">
                          <a:effectLst/>
                          <a:latin typeface="Times New Roman" panose="02020603050405020304" pitchFamily="18" charset="0"/>
                          <a:cs typeface="Times New Roman" panose="02020603050405020304" pitchFamily="18" charset="0"/>
                        </a:rPr>
                        <a:t>138,7</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indent="0" algn="r" defTabSz="914206" rtl="1" eaLnBrk="1" latinLnBrk="0" hangingPunct="1"/>
                      <a:r>
                        <a:rPr lang="ar-TN" sz="1800" b="1" kern="1200" dirty="0" smtClean="0">
                          <a:latin typeface="Simplified Arabic" panose="02020603050405020304" pitchFamily="18" charset="-78"/>
                          <a:cs typeface="Simplified Arabic" panose="02020603050405020304" pitchFamily="18" charset="-78"/>
                        </a:rPr>
                        <a:t>الاستثمارات الجملية</a:t>
                      </a:r>
                      <a:r>
                        <a:rPr lang="ar-TN" sz="1800" b="1" kern="1200" baseline="0" dirty="0" smtClean="0">
                          <a:latin typeface="Simplified Arabic" panose="02020603050405020304" pitchFamily="18" charset="-78"/>
                          <a:cs typeface="Simplified Arabic" panose="02020603050405020304" pitchFamily="18" charset="-78"/>
                        </a:rPr>
                        <a:t> </a:t>
                      </a:r>
                      <a:r>
                        <a:rPr lang="ar-TN" sz="1800" b="1" kern="1200" dirty="0" smtClean="0">
                          <a:latin typeface="Simplified Arabic" panose="02020603050405020304" pitchFamily="18" charset="-78"/>
                          <a:cs typeface="Simplified Arabic" panose="02020603050405020304" pitchFamily="18" charset="-78"/>
                        </a:rPr>
                        <a:t>(م د)</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 xmlns:a16="http://schemas.microsoft.com/office/drawing/2014/main" val="10001"/>
                  </a:ext>
                </a:extLst>
              </a:tr>
              <a:tr h="628706">
                <a:tc>
                  <a:txBody>
                    <a:bodyPr/>
                    <a:lstStyle/>
                    <a:p>
                      <a:pPr algn="ctr" fontAlgn="ctr"/>
                      <a:r>
                        <a:rPr lang="fr-FR" sz="1600" b="1" u="none" strike="noStrike" dirty="0">
                          <a:effectLst/>
                          <a:latin typeface="Times New Roman" panose="02020603050405020304" pitchFamily="18" charset="0"/>
                          <a:cs typeface="Times New Roman" panose="02020603050405020304" pitchFamily="18" charset="0"/>
                        </a:rPr>
                        <a:t>9,6</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fr-FR" sz="1600" b="1" u="none" strike="noStrike" dirty="0">
                          <a:effectLst/>
                          <a:latin typeface="Times New Roman" panose="02020603050405020304" pitchFamily="18" charset="0"/>
                          <a:cs typeface="Times New Roman" panose="02020603050405020304" pitchFamily="18" charset="0"/>
                        </a:rPr>
                        <a:t>7,9</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600" b="1" u="none" strike="noStrike" dirty="0" smtClean="0">
                          <a:effectLst/>
                          <a:latin typeface="Times New Roman" panose="02020603050405020304" pitchFamily="18" charset="0"/>
                          <a:cs typeface="Times New Roman" panose="02020603050405020304" pitchFamily="18" charset="0"/>
                        </a:rPr>
                        <a:t>7,9</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600" b="1" u="none" strike="noStrike" dirty="0" smtClean="0">
                          <a:effectLst/>
                          <a:latin typeface="Times New Roman" panose="02020603050405020304" pitchFamily="18" charset="0"/>
                          <a:cs typeface="Times New Roman" panose="02020603050405020304" pitchFamily="18" charset="0"/>
                        </a:rPr>
                        <a:t>4,4</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indent="0" algn="r" defTabSz="914206" rtl="1" eaLnBrk="1" latinLnBrk="0" hangingPunct="1"/>
                      <a:r>
                        <a:rPr lang="ar-TN" sz="1800" b="1" kern="1200" dirty="0" smtClean="0">
                          <a:latin typeface="Simplified Arabic" panose="02020603050405020304" pitchFamily="18" charset="-78"/>
                          <a:cs typeface="Simplified Arabic" panose="02020603050405020304" pitchFamily="18" charset="-78"/>
                        </a:rPr>
                        <a:t>التطور(</a:t>
                      </a:r>
                      <a:r>
                        <a:rPr lang="fr-FR" sz="1800" b="1" kern="1200" dirty="0" smtClean="0">
                          <a:latin typeface="Simplified Arabic" panose="02020603050405020304" pitchFamily="18" charset="-78"/>
                          <a:cs typeface="Simplified Arabic" panose="02020603050405020304" pitchFamily="18" charset="-78"/>
                        </a:rPr>
                        <a:t>%</a:t>
                      </a:r>
                      <a:r>
                        <a:rPr lang="ar-TN" sz="1800" b="1" kern="1200" dirty="0" err="1" smtClean="0">
                          <a:latin typeface="Simplified Arabic" panose="02020603050405020304" pitchFamily="18" charset="-78"/>
                          <a:cs typeface="Simplified Arabic" panose="02020603050405020304" pitchFamily="18" charset="-78"/>
                        </a:rPr>
                        <a:t>)</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 xmlns:a16="http://schemas.microsoft.com/office/drawing/2014/main" val="10002"/>
                  </a:ext>
                </a:extLst>
              </a:tr>
              <a:tr h="628706">
                <a:tc>
                  <a:txBody>
                    <a:bodyPr/>
                    <a:lstStyle/>
                    <a:p>
                      <a:pPr algn="ctr" fontAlgn="ctr"/>
                      <a:r>
                        <a:rPr lang="fr-FR" sz="1600" b="1" u="none" strike="noStrike" dirty="0">
                          <a:effectLst/>
                          <a:latin typeface="Times New Roman" panose="02020603050405020304" pitchFamily="18" charset="0"/>
                          <a:cs typeface="Times New Roman" panose="02020603050405020304" pitchFamily="18" charset="0"/>
                        </a:rPr>
                        <a:t>18,5</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fr-FR" sz="1600" b="1" u="none" strike="noStrike" dirty="0">
                          <a:effectLst/>
                          <a:latin typeface="Times New Roman" panose="02020603050405020304" pitchFamily="18" charset="0"/>
                          <a:cs typeface="Times New Roman" panose="02020603050405020304" pitchFamily="18" charset="0"/>
                        </a:rPr>
                        <a:t>18,5</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600" b="1" u="none" strike="noStrike" dirty="0" smtClean="0">
                          <a:effectLst/>
                          <a:latin typeface="Times New Roman" panose="02020603050405020304" pitchFamily="18" charset="0"/>
                          <a:cs typeface="Times New Roman" panose="02020603050405020304" pitchFamily="18" charset="0"/>
                        </a:rPr>
                        <a:t>18,5</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600" b="1" u="none" strike="noStrike" dirty="0" smtClean="0">
                          <a:effectLst/>
                          <a:latin typeface="Times New Roman" panose="02020603050405020304" pitchFamily="18" charset="0"/>
                          <a:cs typeface="Times New Roman" panose="02020603050405020304" pitchFamily="18" charset="0"/>
                        </a:rPr>
                        <a:t>18,8</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indent="0" algn="r" defTabSz="914206" rtl="1" eaLnBrk="1" latinLnBrk="0" hangingPunct="1"/>
                      <a:r>
                        <a:rPr lang="ar-TN" sz="1800" b="1" kern="1200" dirty="0" smtClean="0">
                          <a:latin typeface="Simplified Arabic" panose="02020603050405020304" pitchFamily="18" charset="-78"/>
                          <a:cs typeface="Simplified Arabic" panose="02020603050405020304" pitchFamily="18" charset="-78"/>
                        </a:rPr>
                        <a:t>النسبة من الناتج</a:t>
                      </a:r>
                      <a:r>
                        <a:rPr lang="ar-TN" sz="1800" b="1" kern="1200" baseline="0" dirty="0" smtClean="0">
                          <a:latin typeface="Simplified Arabic" panose="02020603050405020304" pitchFamily="18" charset="-78"/>
                          <a:cs typeface="Simplified Arabic" panose="02020603050405020304" pitchFamily="18" charset="-78"/>
                        </a:rPr>
                        <a:t> </a:t>
                      </a:r>
                      <a:r>
                        <a:rPr lang="ar-TN" sz="1800" b="1" kern="1200" dirty="0" smtClean="0">
                          <a:latin typeface="Simplified Arabic" panose="02020603050405020304" pitchFamily="18" charset="-78"/>
                          <a:cs typeface="Simplified Arabic" panose="02020603050405020304" pitchFamily="18" charset="-78"/>
                        </a:rPr>
                        <a:t>(</a:t>
                      </a:r>
                      <a:r>
                        <a:rPr lang="fr-FR" sz="1800" b="1" kern="1200" dirty="0" smtClean="0">
                          <a:latin typeface="Simplified Arabic" panose="02020603050405020304" pitchFamily="18" charset="-78"/>
                          <a:cs typeface="Simplified Arabic" panose="02020603050405020304" pitchFamily="18" charset="-78"/>
                        </a:rPr>
                        <a:t>%</a:t>
                      </a:r>
                      <a:r>
                        <a:rPr lang="ar-TN" sz="1800" b="1" kern="1200" dirty="0" err="1" smtClean="0">
                          <a:latin typeface="Simplified Arabic" panose="02020603050405020304" pitchFamily="18" charset="-78"/>
                          <a:cs typeface="Simplified Arabic" panose="02020603050405020304" pitchFamily="18" charset="-78"/>
                        </a:rPr>
                        <a:t>)</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 xmlns:a16="http://schemas.microsoft.com/office/drawing/2014/main" val="10003"/>
                  </a:ext>
                </a:extLst>
              </a:tr>
              <a:tr h="628706">
                <a:tc>
                  <a:txBody>
                    <a:bodyPr/>
                    <a:lstStyle/>
                    <a:p>
                      <a:pPr algn="ctr" fontAlgn="ct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indent="0" algn="r" defTabSz="914206" rtl="1" eaLnBrk="1" latinLnBrk="0" hangingPunct="1"/>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 xmlns:a16="http://schemas.microsoft.com/office/drawing/2014/main" val="10004"/>
                  </a:ext>
                </a:extLst>
              </a:tr>
              <a:tr h="628706">
                <a:tc>
                  <a:txBody>
                    <a:bodyPr/>
                    <a:lstStyle/>
                    <a:p>
                      <a:pPr algn="ctr" fontAlgn="ctr"/>
                      <a:r>
                        <a:rPr lang="ar-TN" sz="1600" b="1" u="none" strike="noStrike" dirty="0" smtClean="0">
                          <a:effectLst/>
                          <a:latin typeface="Times New Roman" panose="02020603050405020304" pitchFamily="18" charset="0"/>
                          <a:cs typeface="Times New Roman" panose="02020603050405020304" pitchFamily="18" charset="0"/>
                        </a:rPr>
                        <a:t>13,3</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600" b="1" u="none" strike="noStrike" dirty="0" smtClean="0">
                          <a:effectLst/>
                          <a:latin typeface="Times New Roman" panose="02020603050405020304" pitchFamily="18" charset="0"/>
                          <a:cs typeface="Times New Roman" panose="02020603050405020304" pitchFamily="18" charset="0"/>
                        </a:rPr>
                        <a:t>12,4</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600" b="1" u="none" strike="noStrike" dirty="0" smtClean="0">
                          <a:effectLst/>
                          <a:latin typeface="Times New Roman" panose="02020603050405020304" pitchFamily="18" charset="0"/>
                          <a:cs typeface="Times New Roman" panose="02020603050405020304" pitchFamily="18" charset="0"/>
                        </a:rPr>
                        <a:t>20,4</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600" b="1" u="none" strike="noStrike" dirty="0" smtClean="0">
                          <a:effectLst/>
                          <a:latin typeface="Times New Roman" panose="02020603050405020304" pitchFamily="18" charset="0"/>
                          <a:cs typeface="Times New Roman" panose="02020603050405020304" pitchFamily="18" charset="0"/>
                        </a:rPr>
                        <a:t>17,4</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indent="0" algn="r" defTabSz="914206" rtl="1" eaLnBrk="1" latinLnBrk="0" hangingPunct="1"/>
                      <a:r>
                        <a:rPr lang="ar-TN" sz="1800" b="1" kern="1200" dirty="0" smtClean="0">
                          <a:latin typeface="Simplified Arabic" panose="02020603050405020304" pitchFamily="18" charset="-78"/>
                          <a:cs typeface="Simplified Arabic" panose="02020603050405020304" pitchFamily="18" charset="-78"/>
                        </a:rPr>
                        <a:t>تطور الصادرات</a:t>
                      </a:r>
                      <a:r>
                        <a:rPr lang="ar-TN" sz="1800" b="1" kern="1200" baseline="0" dirty="0" smtClean="0">
                          <a:latin typeface="Simplified Arabic" panose="02020603050405020304" pitchFamily="18" charset="-78"/>
                          <a:cs typeface="Simplified Arabic" panose="02020603050405020304" pitchFamily="18" charset="-78"/>
                        </a:rPr>
                        <a:t> (السلع والخدمات)</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 xmlns:a16="http://schemas.microsoft.com/office/drawing/2014/main" val="10005"/>
                  </a:ext>
                </a:extLst>
              </a:tr>
              <a:tr h="628706">
                <a:tc>
                  <a:txBody>
                    <a:bodyPr/>
                    <a:lstStyle/>
                    <a:p>
                      <a:pPr algn="ctr" fontAlgn="ctr"/>
                      <a:r>
                        <a:rPr lang="ar-TN" sz="1600" b="1" u="none" strike="noStrike" dirty="0" smtClean="0">
                          <a:effectLst/>
                          <a:latin typeface="Times New Roman" panose="02020603050405020304" pitchFamily="18" charset="0"/>
                          <a:cs typeface="Times New Roman" panose="02020603050405020304" pitchFamily="18" charset="0"/>
                        </a:rPr>
                        <a:t>51,6</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600" b="1" u="none" strike="noStrike" dirty="0" smtClean="0">
                          <a:effectLst/>
                          <a:latin typeface="Times New Roman" panose="02020603050405020304" pitchFamily="18" charset="0"/>
                          <a:cs typeface="Times New Roman" panose="02020603050405020304" pitchFamily="18" charset="0"/>
                        </a:rPr>
                        <a:t>49,9</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600" b="1" u="none" strike="noStrike" dirty="0" smtClean="0">
                          <a:effectLst/>
                          <a:latin typeface="Times New Roman" panose="02020603050405020304" pitchFamily="18" charset="0"/>
                          <a:cs typeface="Times New Roman" panose="02020603050405020304" pitchFamily="18" charset="0"/>
                        </a:rPr>
                        <a:t>48,1</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ar-TN" sz="1600" b="1" u="none" strike="noStrike" dirty="0" smtClean="0">
                          <a:effectLst/>
                          <a:latin typeface="Times New Roman" panose="02020603050405020304" pitchFamily="18" charset="0"/>
                          <a:cs typeface="Times New Roman" panose="02020603050405020304" pitchFamily="18" charset="0"/>
                        </a:rPr>
                        <a:t>43,8</a:t>
                      </a:r>
                      <a:endParaRPr lang="fr-FR" sz="16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indent="0" algn="r" defTabSz="914206" rtl="1" eaLnBrk="1" latinLnBrk="0" hangingPunct="1"/>
                      <a:r>
                        <a:rPr lang="ar-TN" sz="1800" b="1" kern="1200" dirty="0" smtClean="0">
                          <a:latin typeface="Simplified Arabic" panose="02020603050405020304" pitchFamily="18" charset="-78"/>
                          <a:cs typeface="Simplified Arabic" panose="02020603050405020304" pitchFamily="18" charset="-78"/>
                        </a:rPr>
                        <a:t>المجهود التصديري (</a:t>
                      </a:r>
                      <a:r>
                        <a:rPr lang="fr-FR" sz="1800" b="1" kern="1200" dirty="0" smtClean="0">
                          <a:latin typeface="Simplified Arabic" panose="02020603050405020304" pitchFamily="18" charset="-78"/>
                          <a:cs typeface="Simplified Arabic" panose="02020603050405020304" pitchFamily="18" charset="-78"/>
                        </a:rPr>
                        <a:t>%</a:t>
                      </a:r>
                      <a:r>
                        <a:rPr lang="ar-TN" sz="1800" b="1" kern="1200" dirty="0" smtClean="0">
                          <a:latin typeface="Simplified Arabic" panose="02020603050405020304" pitchFamily="18" charset="-78"/>
                          <a:cs typeface="Simplified Arabic" panose="02020603050405020304" pitchFamily="18" charset="-78"/>
                        </a:rPr>
                        <a:t> من الناتج)</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 xmlns:a16="http://schemas.microsoft.com/office/drawing/2014/main" val="3469514011"/>
                  </a:ext>
                </a:extLst>
              </a:tr>
            </a:tbl>
          </a:graphicData>
        </a:graphic>
      </p:graphicFrame>
    </p:spTree>
    <p:custDataLst>
      <p:tags r:id="rId2"/>
    </p:custDataLst>
    <p:extLst>
      <p:ext uri="{BB962C8B-B14F-4D97-AF65-F5344CB8AC3E}">
        <p14:creationId xmlns:p14="http://schemas.microsoft.com/office/powerpoint/2010/main" xmlns="" val="148926521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nvPr>
        </p:nvGraphicFramePr>
        <p:xfrm>
          <a:off x="1589" y="1590"/>
          <a:ext cx="1587" cy="1587"/>
        </p:xfrm>
        <a:graphic>
          <a:graphicData uri="http://schemas.openxmlformats.org/presentationml/2006/ole">
            <p:oleObj spid="_x0000_s169036" name="think-cell Slide" r:id="rId6" imgW="360" imgH="360" progId="">
              <p:embed/>
            </p:oleObj>
          </a:graphicData>
        </a:graphic>
      </p:graphicFrame>
      <p:sp>
        <p:nvSpPr>
          <p:cNvPr id="10" name="Text Placeholder 9"/>
          <p:cNvSpPr>
            <a:spLocks noGrp="1"/>
          </p:cNvSpPr>
          <p:nvPr>
            <p:ph type="body" sz="quarter" idx="4294967295"/>
          </p:nvPr>
        </p:nvSpPr>
        <p:spPr>
          <a:xfrm>
            <a:off x="80814" y="292374"/>
            <a:ext cx="8981798" cy="615553"/>
          </a:xfrm>
        </p:spPr>
        <p:txBody>
          <a:bodyPr/>
          <a:lstStyle/>
          <a:p>
            <a:pPr algn="r" rtl="1"/>
            <a:r>
              <a:rPr lang="ar-TN" sz="2200" b="1" dirty="0" smtClean="0">
                <a:solidFill>
                  <a:srgbClr val="E51B2E"/>
                </a:solidFill>
                <a:latin typeface="Simplified Arabic" pitchFamily="18" charset="-78"/>
                <a:ea typeface="ＭＳ Ｐゴシック" pitchFamily="34" charset="-128"/>
                <a:cs typeface="Simplified Arabic" pitchFamily="18" charset="-78"/>
              </a:rPr>
              <a:t>منوال النموّ لسنة </a:t>
            </a:r>
            <a:r>
              <a:rPr lang="ar-TN" sz="2000" b="1" kern="1200" dirty="0" smtClean="0">
                <a:solidFill>
                  <a:srgbClr val="E51B2E"/>
                </a:solidFill>
                <a:latin typeface="Times New Roman" panose="02020603050405020304" pitchFamily="18" charset="0"/>
                <a:ea typeface="ＭＳ Ｐゴシック" pitchFamily="34" charset="-128"/>
                <a:cs typeface="Times New Roman" panose="02020603050405020304" pitchFamily="18" charset="0"/>
              </a:rPr>
              <a:t>2020</a:t>
            </a:r>
            <a:endParaRPr lang="ar-TN" sz="2200" b="1" kern="1200" dirty="0" smtClean="0">
              <a:solidFill>
                <a:srgbClr val="E51B2E"/>
              </a:solidFill>
              <a:latin typeface="Times New Roman" panose="02020603050405020304" pitchFamily="18" charset="0"/>
              <a:ea typeface="ＭＳ Ｐゴシック" pitchFamily="34" charset="-128"/>
              <a:cs typeface="Times New Roman" panose="02020603050405020304" pitchFamily="18" charset="0"/>
            </a:endParaRPr>
          </a:p>
          <a:p>
            <a:pPr algn="l"/>
            <a:r>
              <a:rPr lang="ar-TN" sz="1800" b="1" dirty="0" smtClean="0">
                <a:solidFill>
                  <a:schemeClr val="tx1"/>
                </a:solidFill>
                <a:latin typeface="Times New Roman" panose="02020603050405020304" pitchFamily="18" charset="0"/>
                <a:cs typeface="Times New Roman" panose="02020603050405020304" pitchFamily="18" charset="0"/>
              </a:rPr>
              <a:t>مزيد التحكّم في التوازنات المالية </a:t>
            </a:r>
            <a:endParaRPr lang="ar-JO" sz="1200" b="1" dirty="0">
              <a:solidFill>
                <a:schemeClr val="tx1"/>
              </a:solidFill>
              <a:latin typeface="Times New Roman" panose="02020603050405020304" pitchFamily="18" charset="0"/>
              <a:cs typeface="Times New Roman" panose="02020603050405020304" pitchFamily="18" charset="0"/>
            </a:endParaRPr>
          </a:p>
        </p:txBody>
      </p:sp>
      <p:sp>
        <p:nvSpPr>
          <p:cNvPr id="9218" name="FilePath" hidden="1"/>
          <p:cNvSpPr txBox="1">
            <a:spLocks noChangeArrowheads="1"/>
          </p:cNvSpPr>
          <p:nvPr/>
        </p:nvSpPr>
        <p:spPr bwMode="auto">
          <a:xfrm>
            <a:off x="4103079" y="127000"/>
            <a:ext cx="4689231" cy="146258"/>
          </a:xfrm>
          <a:prstGeom prst="rect">
            <a:avLst/>
          </a:prstGeom>
          <a:noFill/>
          <a:ln w="3175" algn="ctr">
            <a:noFill/>
            <a:miter lim="800000"/>
            <a:headEnd/>
            <a:tailEnd/>
          </a:ln>
        </p:spPr>
        <p:txBody>
          <a:bodyPr lIns="17996" tIns="17996" rIns="17996" bIns="17996">
            <a:spAutoFit/>
          </a:bodyPr>
          <a:lstStyle/>
          <a:p>
            <a:pPr algn="r"/>
            <a:r>
              <a:rPr lang="en-GB" sz="700" dirty="0">
                <a:solidFill>
                  <a:srgbClr val="BEBEBE"/>
                </a:solidFill>
              </a:rPr>
              <a:t>G:\1022_TEMELIN_11264\03 Presentations\120118 Kick-off\2012 01 26 </a:t>
            </a:r>
            <a:r>
              <a:rPr lang="en-GB" sz="700" dirty="0" err="1">
                <a:solidFill>
                  <a:srgbClr val="BEBEBE"/>
                </a:solidFill>
              </a:rPr>
              <a:t>Temelin</a:t>
            </a:r>
            <a:r>
              <a:rPr lang="en-GB" sz="700" dirty="0">
                <a:solidFill>
                  <a:srgbClr val="BEBEBE"/>
                </a:solidFill>
              </a:rPr>
              <a:t> - kick-off_v6.ppt</a:t>
            </a:r>
          </a:p>
        </p:txBody>
      </p:sp>
      <p:graphicFrame>
        <p:nvGraphicFramePr>
          <p:cNvPr id="25" name="Tableau 24"/>
          <p:cNvGraphicFramePr>
            <a:graphicFrameLocks noGrp="1"/>
          </p:cNvGraphicFramePr>
          <p:nvPr>
            <p:extLst>
              <p:ext uri="{D42A27DB-BD31-4B8C-83A1-F6EECF244321}">
                <p14:modId xmlns:p14="http://schemas.microsoft.com/office/powerpoint/2010/main" xmlns="" val="1615019755"/>
              </p:ext>
            </p:extLst>
          </p:nvPr>
        </p:nvGraphicFramePr>
        <p:xfrm>
          <a:off x="955355" y="1334388"/>
          <a:ext cx="7304466" cy="3040245"/>
        </p:xfrm>
        <a:graphic>
          <a:graphicData uri="http://schemas.openxmlformats.org/drawingml/2006/table">
            <a:tbl>
              <a:tblPr firstRow="1" bandRow="1">
                <a:tableStyleId>{1FECB4D8-DB02-4DC6-A0A2-4F2EBAE1DC90}</a:tableStyleId>
              </a:tblPr>
              <a:tblGrid>
                <a:gridCol w="1080000">
                  <a:extLst>
                    <a:ext uri="{9D8B030D-6E8A-4147-A177-3AD203B41FA5}">
                      <a16:colId xmlns="" xmlns:a16="http://schemas.microsoft.com/office/drawing/2014/main" val="20000"/>
                    </a:ext>
                  </a:extLst>
                </a:gridCol>
                <a:gridCol w="1080000">
                  <a:extLst>
                    <a:ext uri="{9D8B030D-6E8A-4147-A177-3AD203B41FA5}">
                      <a16:colId xmlns="" xmlns:a16="http://schemas.microsoft.com/office/drawing/2014/main" val="20002"/>
                    </a:ext>
                  </a:extLst>
                </a:gridCol>
                <a:gridCol w="1080000">
                  <a:extLst>
                    <a:ext uri="{9D8B030D-6E8A-4147-A177-3AD203B41FA5}">
                      <a16:colId xmlns="" xmlns:a16="http://schemas.microsoft.com/office/drawing/2014/main" val="2380470876"/>
                    </a:ext>
                  </a:extLst>
                </a:gridCol>
                <a:gridCol w="1080000">
                  <a:extLst>
                    <a:ext uri="{9D8B030D-6E8A-4147-A177-3AD203B41FA5}">
                      <a16:colId xmlns="" xmlns:a16="http://schemas.microsoft.com/office/drawing/2014/main" val="2749285411"/>
                    </a:ext>
                  </a:extLst>
                </a:gridCol>
                <a:gridCol w="2984466">
                  <a:extLst>
                    <a:ext uri="{9D8B030D-6E8A-4147-A177-3AD203B41FA5}">
                      <a16:colId xmlns="" xmlns:a16="http://schemas.microsoft.com/office/drawing/2014/main" val="20008"/>
                    </a:ext>
                  </a:extLst>
                </a:gridCol>
              </a:tblGrid>
              <a:tr h="628706">
                <a:tc>
                  <a:txBody>
                    <a:bodyPr/>
                    <a:lstStyle/>
                    <a:p>
                      <a:pPr marL="0" algn="ctr" defTabSz="932665" rtl="1" eaLnBrk="1" latinLnBrk="0" hangingPunct="1"/>
                      <a:r>
                        <a:rPr lang="ar-TN" sz="1800" b="1" kern="1200" dirty="0" smtClean="0">
                          <a:latin typeface="Times New Roman" panose="02020603050405020304" pitchFamily="18" charset="0"/>
                          <a:cs typeface="Times New Roman" panose="02020603050405020304" pitchFamily="18" charset="0"/>
                        </a:rPr>
                        <a:t>2020</a:t>
                      </a:r>
                      <a:endParaRPr lang="fr-FR" sz="1800" b="1" kern="1200" dirty="0">
                        <a:solidFill>
                          <a:schemeClr val="bg1"/>
                        </a:solidFill>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932665" rtl="1" eaLnBrk="1" latinLnBrk="0" hangingPunct="1"/>
                      <a:r>
                        <a:rPr lang="ar-TN" sz="1800" b="1" kern="1200" dirty="0" smtClean="0">
                          <a:latin typeface="Times New Roman" panose="02020603050405020304" pitchFamily="18" charset="0"/>
                          <a:cs typeface="Times New Roman" panose="02020603050405020304" pitchFamily="18" charset="0"/>
                        </a:rPr>
                        <a:t>2019</a:t>
                      </a:r>
                      <a:endParaRPr lang="fr-FR" sz="1800" b="1" kern="1200" dirty="0">
                        <a:solidFill>
                          <a:schemeClr val="bg1"/>
                        </a:solidFill>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932665" rtl="1" eaLnBrk="1" latinLnBrk="0" hangingPunct="1"/>
                      <a:r>
                        <a:rPr lang="ar-TN" sz="1800" b="1" kern="1200" dirty="0" smtClean="0">
                          <a:latin typeface="Times New Roman" panose="02020603050405020304" pitchFamily="18" charset="0"/>
                          <a:cs typeface="Times New Roman" panose="02020603050405020304" pitchFamily="18" charset="0"/>
                        </a:rPr>
                        <a:t>2018</a:t>
                      </a:r>
                      <a:endParaRPr lang="fr-FR" sz="1800" b="1" kern="1200" dirty="0">
                        <a:solidFill>
                          <a:schemeClr val="bg1"/>
                        </a:solidFill>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932665" rtl="1" eaLnBrk="1" latinLnBrk="0" hangingPunct="1"/>
                      <a:r>
                        <a:rPr lang="ar-TN" sz="1800" b="1" kern="1200" dirty="0" smtClean="0">
                          <a:latin typeface="Times New Roman" panose="02020603050405020304" pitchFamily="18" charset="0"/>
                          <a:cs typeface="Times New Roman" panose="02020603050405020304" pitchFamily="18" charset="0"/>
                        </a:rPr>
                        <a:t>2017</a:t>
                      </a:r>
                      <a:endParaRPr lang="fr-FR" sz="1800" b="1" kern="1200" dirty="0">
                        <a:solidFill>
                          <a:schemeClr val="bg1"/>
                        </a:solidFill>
                        <a:latin typeface="Times New Roman" panose="02020603050405020304" pitchFamily="18" charset="0"/>
                        <a:ea typeface="+mn-ea"/>
                        <a:cs typeface="Times New Roman" panose="02020603050405020304" pitchFamily="18" charset="0"/>
                      </a:endParaRPr>
                    </a:p>
                  </a:txBody>
                  <a:tcPr anchor="ctr"/>
                </a:tc>
                <a:tc>
                  <a:txBody>
                    <a:bodyPr/>
                    <a:lstStyle/>
                    <a:p>
                      <a:pPr algn="r" rtl="1"/>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tc>
                <a:extLst>
                  <a:ext uri="{0D108BD9-81ED-4DB2-BD59-A6C34878D82A}">
                    <a16:rowId xmlns="" xmlns:a16="http://schemas.microsoft.com/office/drawing/2014/main" val="10000"/>
                  </a:ext>
                </a:extLst>
              </a:tr>
              <a:tr h="525421">
                <a:tc>
                  <a:txBody>
                    <a:bodyPr/>
                    <a:lstStyle/>
                    <a:p>
                      <a:pPr algn="ctr" fontAlgn="ctr"/>
                      <a:r>
                        <a:rPr lang="fr-FR" sz="1800" b="1" u="none" strike="noStrike" dirty="0">
                          <a:effectLst/>
                          <a:latin typeface="Times New Roman" panose="02020603050405020304" pitchFamily="18" charset="0"/>
                          <a:cs typeface="Times New Roman" panose="02020603050405020304" pitchFamily="18" charset="0"/>
                        </a:rPr>
                        <a:t>9,0</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fr-FR" sz="1800" b="1" u="none" strike="noStrike" dirty="0">
                          <a:effectLst/>
                          <a:latin typeface="Times New Roman" panose="02020603050405020304" pitchFamily="18" charset="0"/>
                          <a:cs typeface="Times New Roman" panose="02020603050405020304" pitchFamily="18" charset="0"/>
                        </a:rPr>
                        <a:t>9,9</a:t>
                      </a:r>
                      <a:endParaRPr lang="fr-FR" sz="1800" b="1" i="0" u="none" strike="noStrike" dirty="0">
                        <a:effectLst/>
                        <a:latin typeface="Times New Roman" panose="02020603050405020304" pitchFamily="18" charset="0"/>
                        <a:cs typeface="Times New Roman" panose="02020603050405020304" pitchFamily="18" charset="0"/>
                      </a:endParaRPr>
                    </a:p>
                  </a:txBody>
                  <a:tcPr marL="0" marR="0" marT="0" marB="0" anchor="ctr"/>
                </a:tc>
                <a:tc>
                  <a:txBody>
                    <a:bodyPr/>
                    <a:lstStyle/>
                    <a:p>
                      <a:pPr marL="0" algn="ctr" defTabSz="932665" rtl="0" eaLnBrk="1" fontAlgn="ctr" latinLnBrk="0" hangingPunct="1"/>
                      <a:r>
                        <a:rPr lang="ar-TN" sz="1800" b="1" u="none" strike="noStrike" kern="1200" dirty="0" smtClean="0">
                          <a:effectLst/>
                          <a:latin typeface="Times New Roman" panose="02020603050405020304" pitchFamily="18" charset="0"/>
                          <a:cs typeface="Times New Roman" panose="02020603050405020304" pitchFamily="18" charset="0"/>
                        </a:rPr>
                        <a:t>11,1</a:t>
                      </a:r>
                      <a:endParaRPr lang="fr-FR" sz="1800" b="1" i="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0" marR="0" marT="0" marB="0" anchor="ctr"/>
                </a:tc>
                <a:tc>
                  <a:txBody>
                    <a:bodyPr/>
                    <a:lstStyle/>
                    <a:p>
                      <a:pPr marL="0" algn="ctr" defTabSz="932665" rtl="0" eaLnBrk="1" fontAlgn="ctr" latinLnBrk="0" hangingPunct="1"/>
                      <a:r>
                        <a:rPr lang="ar-TN" sz="1800" b="1" u="none" strike="noStrike" kern="1200" dirty="0" smtClean="0">
                          <a:effectLst/>
                          <a:latin typeface="Times New Roman" panose="02020603050405020304" pitchFamily="18" charset="0"/>
                          <a:cs typeface="Times New Roman" panose="02020603050405020304" pitchFamily="18" charset="0"/>
                        </a:rPr>
                        <a:t>10,2</a:t>
                      </a:r>
                      <a:endParaRPr lang="fr-FR" sz="1800" b="1" i="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0" marR="0" marT="0" marB="0" anchor="ctr"/>
                </a:tc>
                <a:tc>
                  <a:txBody>
                    <a:bodyPr/>
                    <a:lstStyle/>
                    <a:p>
                      <a:pPr marL="0" marR="0" lvl="0" indent="0" algn="r" defTabSz="932665" rtl="1" eaLnBrk="1" fontAlgn="auto" latinLnBrk="0" hangingPunct="1">
                        <a:lnSpc>
                          <a:spcPct val="100000"/>
                        </a:lnSpc>
                        <a:spcBef>
                          <a:spcPts val="0"/>
                        </a:spcBef>
                        <a:spcAft>
                          <a:spcPts val="0"/>
                        </a:spcAft>
                        <a:buClrTx/>
                        <a:buSzTx/>
                        <a:buFontTx/>
                        <a:buNone/>
                        <a:tabLst/>
                        <a:defRPr/>
                      </a:pPr>
                      <a:r>
                        <a:rPr lang="ar-TN" sz="1800" b="1" kern="1200" dirty="0" smtClean="0">
                          <a:latin typeface="Simplified Arabic" panose="02020603050405020304" pitchFamily="18" charset="-78"/>
                          <a:cs typeface="Simplified Arabic" panose="02020603050405020304" pitchFamily="18" charset="-78"/>
                        </a:rPr>
                        <a:t>العجز الجاري (</a:t>
                      </a:r>
                      <a:r>
                        <a:rPr lang="fr-FR" sz="1800" b="1" kern="1200" dirty="0" smtClean="0">
                          <a:latin typeface="Simplified Arabic" panose="02020603050405020304" pitchFamily="18" charset="-78"/>
                          <a:cs typeface="Simplified Arabic" panose="02020603050405020304" pitchFamily="18" charset="-78"/>
                        </a:rPr>
                        <a:t>%</a:t>
                      </a:r>
                      <a:r>
                        <a:rPr lang="ar-TN" sz="1800" b="1" kern="1200" dirty="0" smtClean="0">
                          <a:latin typeface="Simplified Arabic" panose="02020603050405020304" pitchFamily="18" charset="-78"/>
                          <a:cs typeface="Simplified Arabic" panose="02020603050405020304" pitchFamily="18" charset="-78"/>
                        </a:rPr>
                        <a:t> من الناتج)</a:t>
                      </a:r>
                      <a:endParaRPr lang="fr-FR" sz="1800" b="1" kern="1200" dirty="0" smtClean="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 xmlns:a16="http://schemas.microsoft.com/office/drawing/2014/main" val="10001"/>
                  </a:ext>
                </a:extLst>
              </a:tr>
              <a:tr h="628706">
                <a:tc>
                  <a:txBody>
                    <a:bodyPr/>
                    <a:lstStyle/>
                    <a:p>
                      <a:pPr algn="ctr" rtl="1"/>
                      <a:r>
                        <a:rPr lang="ar-TN" sz="1800" b="1" dirty="0" smtClean="0">
                          <a:latin typeface="Times New Roman" panose="02020603050405020304" pitchFamily="18" charset="0"/>
                          <a:cs typeface="Times New Roman" panose="02020603050405020304" pitchFamily="18" charset="0"/>
                        </a:rPr>
                        <a:t>6,4</a:t>
                      </a:r>
                      <a:endParaRPr lang="fr-FR" sz="1800" b="1" dirty="0">
                        <a:latin typeface="Times New Roman" panose="02020603050405020304" pitchFamily="18" charset="0"/>
                        <a:cs typeface="Times New Roman" panose="02020603050405020304" pitchFamily="18" charset="0"/>
                      </a:endParaRPr>
                    </a:p>
                  </a:txBody>
                  <a:tcPr anchor="ctr"/>
                </a:tc>
                <a:tc>
                  <a:txBody>
                    <a:bodyPr/>
                    <a:lstStyle/>
                    <a:p>
                      <a:pPr algn="ctr" rtl="1"/>
                      <a:r>
                        <a:rPr lang="ar-TN" sz="1800" b="1" dirty="0" smtClean="0">
                          <a:latin typeface="Times New Roman" panose="02020603050405020304" pitchFamily="18" charset="0"/>
                          <a:cs typeface="Times New Roman" panose="02020603050405020304" pitchFamily="18" charset="0"/>
                        </a:rPr>
                        <a:t>6,8</a:t>
                      </a:r>
                      <a:endParaRPr lang="fr-FR" sz="1800" b="1" dirty="0">
                        <a:latin typeface="Times New Roman" panose="02020603050405020304" pitchFamily="18" charset="0"/>
                        <a:cs typeface="Times New Roman" panose="02020603050405020304" pitchFamily="18" charset="0"/>
                      </a:endParaRPr>
                    </a:p>
                  </a:txBody>
                  <a:tcPr anchor="ctr"/>
                </a:tc>
                <a:tc>
                  <a:txBody>
                    <a:bodyPr/>
                    <a:lstStyle/>
                    <a:p>
                      <a:pPr algn="ctr" rtl="1"/>
                      <a:r>
                        <a:rPr lang="ar-TN" sz="1800" b="1" dirty="0" smtClean="0">
                          <a:latin typeface="Times New Roman" panose="02020603050405020304" pitchFamily="18" charset="0"/>
                          <a:cs typeface="Times New Roman" panose="02020603050405020304" pitchFamily="18" charset="0"/>
                        </a:rPr>
                        <a:t>7,3</a:t>
                      </a:r>
                      <a:endParaRPr lang="fr-FR" sz="1800" b="1" dirty="0">
                        <a:latin typeface="Times New Roman" panose="02020603050405020304" pitchFamily="18" charset="0"/>
                        <a:cs typeface="Times New Roman" panose="02020603050405020304" pitchFamily="18" charset="0"/>
                      </a:endParaRPr>
                    </a:p>
                  </a:txBody>
                  <a:tcPr anchor="ctr"/>
                </a:tc>
                <a:tc>
                  <a:txBody>
                    <a:bodyPr/>
                    <a:lstStyle/>
                    <a:p>
                      <a:pPr algn="ctr" rtl="1"/>
                      <a:r>
                        <a:rPr lang="ar-TN" sz="1800" b="1" dirty="0" smtClean="0">
                          <a:latin typeface="Times New Roman" panose="02020603050405020304" pitchFamily="18" charset="0"/>
                          <a:cs typeface="Times New Roman" panose="02020603050405020304" pitchFamily="18" charset="0"/>
                        </a:rPr>
                        <a:t>5,3</a:t>
                      </a:r>
                      <a:endParaRPr lang="fr-FR" sz="1800" b="1" dirty="0">
                        <a:latin typeface="Times New Roman" panose="02020603050405020304" pitchFamily="18" charset="0"/>
                        <a:cs typeface="Times New Roman" panose="02020603050405020304" pitchFamily="18" charset="0"/>
                      </a:endParaRPr>
                    </a:p>
                  </a:txBody>
                  <a:tcPr anchor="ctr"/>
                </a:tc>
                <a:tc>
                  <a:txBody>
                    <a:bodyPr/>
                    <a:lstStyle/>
                    <a:p>
                      <a:pPr lvl="0" algn="r" rtl="1"/>
                      <a:r>
                        <a:rPr lang="ar-TN" sz="1800" b="1" kern="1200" dirty="0" smtClean="0">
                          <a:latin typeface="Simplified Arabic" panose="02020603050405020304" pitchFamily="18" charset="-78"/>
                          <a:cs typeface="Simplified Arabic" panose="02020603050405020304" pitchFamily="18" charset="-78"/>
                        </a:rPr>
                        <a:t>التضخم (</a:t>
                      </a:r>
                      <a:r>
                        <a:rPr lang="fr-FR" sz="1800" b="1" kern="1200" dirty="0" smtClean="0">
                          <a:latin typeface="Simplified Arabic" panose="02020603050405020304" pitchFamily="18" charset="-78"/>
                          <a:cs typeface="Simplified Arabic" panose="02020603050405020304" pitchFamily="18" charset="-78"/>
                        </a:rPr>
                        <a:t>%</a:t>
                      </a:r>
                      <a:r>
                        <a:rPr lang="ar-TN" sz="1800" b="1" kern="1200" dirty="0" smtClean="0">
                          <a:latin typeface="Simplified Arabic" panose="02020603050405020304" pitchFamily="18" charset="-78"/>
                          <a:cs typeface="Simplified Arabic" panose="02020603050405020304" pitchFamily="18" charset="-78"/>
                        </a:rPr>
                        <a:t> التطور السنوي)</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 xmlns:a16="http://schemas.microsoft.com/office/drawing/2014/main" val="10002"/>
                  </a:ext>
                </a:extLst>
              </a:tr>
              <a:tr h="628706">
                <a:tc>
                  <a:txBody>
                    <a:bodyPr/>
                    <a:lstStyle/>
                    <a:p>
                      <a:pPr algn="ctr" rtl="1"/>
                      <a:r>
                        <a:rPr lang="ar-TN" sz="1800" b="1" dirty="0" smtClean="0">
                          <a:latin typeface="Times New Roman" panose="02020603050405020304" pitchFamily="18" charset="0"/>
                          <a:cs typeface="Times New Roman" panose="02020603050405020304" pitchFamily="18" charset="0"/>
                        </a:rPr>
                        <a:t>3,0</a:t>
                      </a:r>
                      <a:endParaRPr lang="fr-FR" sz="1800" b="1" dirty="0">
                        <a:latin typeface="Times New Roman" panose="02020603050405020304" pitchFamily="18" charset="0"/>
                        <a:cs typeface="Times New Roman" panose="02020603050405020304" pitchFamily="18" charset="0"/>
                      </a:endParaRPr>
                    </a:p>
                  </a:txBody>
                  <a:tcPr anchor="ctr"/>
                </a:tc>
                <a:tc>
                  <a:txBody>
                    <a:bodyPr/>
                    <a:lstStyle/>
                    <a:p>
                      <a:pPr algn="ctr" rtl="1"/>
                      <a:r>
                        <a:rPr lang="ar-TN" sz="1800" b="1" dirty="0" smtClean="0">
                          <a:latin typeface="Times New Roman" panose="02020603050405020304" pitchFamily="18" charset="0"/>
                          <a:cs typeface="Times New Roman" panose="02020603050405020304" pitchFamily="18" charset="0"/>
                        </a:rPr>
                        <a:t>3,5</a:t>
                      </a:r>
                      <a:endParaRPr lang="fr-FR" sz="1800" b="1" dirty="0">
                        <a:latin typeface="Times New Roman" panose="02020603050405020304" pitchFamily="18" charset="0"/>
                        <a:cs typeface="Times New Roman" panose="02020603050405020304" pitchFamily="18" charset="0"/>
                      </a:endParaRPr>
                    </a:p>
                  </a:txBody>
                  <a:tcPr anchor="ctr"/>
                </a:tc>
                <a:tc>
                  <a:txBody>
                    <a:bodyPr/>
                    <a:lstStyle/>
                    <a:p>
                      <a:pPr algn="ctr" rtl="1"/>
                      <a:r>
                        <a:rPr lang="ar-TN" sz="1800" b="1" dirty="0" smtClean="0">
                          <a:latin typeface="Times New Roman" panose="02020603050405020304" pitchFamily="18" charset="0"/>
                          <a:cs typeface="Times New Roman" panose="02020603050405020304" pitchFamily="18" charset="0"/>
                        </a:rPr>
                        <a:t>4,8</a:t>
                      </a:r>
                      <a:endParaRPr lang="fr-FR" sz="1800" b="1" dirty="0">
                        <a:latin typeface="Times New Roman" panose="02020603050405020304" pitchFamily="18" charset="0"/>
                        <a:cs typeface="Times New Roman" panose="02020603050405020304" pitchFamily="18" charset="0"/>
                      </a:endParaRPr>
                    </a:p>
                  </a:txBody>
                  <a:tcPr anchor="ctr"/>
                </a:tc>
                <a:tc>
                  <a:txBody>
                    <a:bodyPr/>
                    <a:lstStyle/>
                    <a:p>
                      <a:pPr algn="ctr" rtl="1"/>
                      <a:r>
                        <a:rPr lang="ar-TN" sz="1800" b="1" dirty="0" smtClean="0">
                          <a:latin typeface="Times New Roman" panose="02020603050405020304" pitchFamily="18" charset="0"/>
                          <a:cs typeface="Times New Roman" panose="02020603050405020304" pitchFamily="18" charset="0"/>
                        </a:rPr>
                        <a:t>6,1</a:t>
                      </a:r>
                      <a:endParaRPr lang="fr-FR" sz="1800" b="1" dirty="0">
                        <a:latin typeface="Times New Roman" panose="02020603050405020304" pitchFamily="18" charset="0"/>
                        <a:cs typeface="Times New Roman" panose="02020603050405020304" pitchFamily="18" charset="0"/>
                      </a:endParaRPr>
                    </a:p>
                  </a:txBody>
                  <a:tcPr anchor="ctr"/>
                </a:tc>
                <a:tc>
                  <a:txBody>
                    <a:bodyPr/>
                    <a:lstStyle/>
                    <a:p>
                      <a:pPr lvl="0" algn="r" rtl="1"/>
                      <a:r>
                        <a:rPr lang="ar-TN" sz="1800" b="1" kern="1200" dirty="0" smtClean="0">
                          <a:latin typeface="Simplified Arabic" panose="02020603050405020304" pitchFamily="18" charset="-78"/>
                          <a:cs typeface="Simplified Arabic" panose="02020603050405020304" pitchFamily="18" charset="-78"/>
                        </a:rPr>
                        <a:t>عجز الميزانية (</a:t>
                      </a:r>
                      <a:r>
                        <a:rPr lang="fr-FR" sz="1800" b="1" kern="1200" dirty="0" smtClean="0">
                          <a:latin typeface="Simplified Arabic" panose="02020603050405020304" pitchFamily="18" charset="-78"/>
                          <a:cs typeface="Simplified Arabic" panose="02020603050405020304" pitchFamily="18" charset="-78"/>
                        </a:rPr>
                        <a:t>%</a:t>
                      </a:r>
                      <a:r>
                        <a:rPr lang="ar-TN" sz="1800" b="1" kern="1200" dirty="0" smtClean="0">
                          <a:latin typeface="Simplified Arabic" panose="02020603050405020304" pitchFamily="18" charset="-78"/>
                          <a:cs typeface="Simplified Arabic" panose="02020603050405020304" pitchFamily="18" charset="-78"/>
                        </a:rPr>
                        <a:t> من الناتج)</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nchor="ctr"/>
                </a:tc>
                <a:extLst>
                  <a:ext uri="{0D108BD9-81ED-4DB2-BD59-A6C34878D82A}">
                    <a16:rowId xmlns="" xmlns:a16="http://schemas.microsoft.com/office/drawing/2014/main" val="10003"/>
                  </a:ext>
                </a:extLst>
              </a:tr>
              <a:tr h="628706">
                <a:tc>
                  <a:txBody>
                    <a:bodyPr/>
                    <a:lstStyle/>
                    <a:p>
                      <a:pPr algn="ctr" rtl="1"/>
                      <a:r>
                        <a:rPr lang="ar-TN" sz="1800" b="1" dirty="0" smtClean="0">
                          <a:latin typeface="Times New Roman" panose="02020603050405020304" pitchFamily="18" charset="0"/>
                          <a:cs typeface="Times New Roman" panose="02020603050405020304" pitchFamily="18" charset="0"/>
                        </a:rPr>
                        <a:t>74</a:t>
                      </a:r>
                      <a:endParaRPr lang="fr-FR" sz="1800" b="1" dirty="0">
                        <a:latin typeface="Times New Roman" panose="02020603050405020304" pitchFamily="18" charset="0"/>
                        <a:cs typeface="Times New Roman" panose="02020603050405020304" pitchFamily="18" charset="0"/>
                      </a:endParaRPr>
                    </a:p>
                  </a:txBody>
                  <a:tcPr/>
                </a:tc>
                <a:tc>
                  <a:txBody>
                    <a:bodyPr/>
                    <a:lstStyle/>
                    <a:p>
                      <a:pPr algn="ctr" rtl="1"/>
                      <a:r>
                        <a:rPr lang="ar-TN" sz="1800" b="1" dirty="0" smtClean="0">
                          <a:latin typeface="Times New Roman" panose="02020603050405020304" pitchFamily="18" charset="0"/>
                          <a:cs typeface="Times New Roman" panose="02020603050405020304" pitchFamily="18" charset="0"/>
                        </a:rPr>
                        <a:t>75</a:t>
                      </a:r>
                      <a:endParaRPr lang="fr-FR" sz="1800" b="1" dirty="0">
                        <a:latin typeface="Times New Roman" panose="02020603050405020304" pitchFamily="18" charset="0"/>
                        <a:cs typeface="Times New Roman" panose="02020603050405020304" pitchFamily="18" charset="0"/>
                      </a:endParaRPr>
                    </a:p>
                  </a:txBody>
                  <a:tcPr/>
                </a:tc>
                <a:tc>
                  <a:txBody>
                    <a:bodyPr/>
                    <a:lstStyle/>
                    <a:p>
                      <a:pPr algn="ctr" rtl="1"/>
                      <a:r>
                        <a:rPr lang="ar-TN" sz="1800" b="1" dirty="0" smtClean="0">
                          <a:latin typeface="Times New Roman" panose="02020603050405020304" pitchFamily="18" charset="0"/>
                          <a:cs typeface="Times New Roman" panose="02020603050405020304" pitchFamily="18" charset="0"/>
                        </a:rPr>
                        <a:t>77</a:t>
                      </a:r>
                      <a:endParaRPr lang="fr-FR" sz="1800" b="1" dirty="0">
                        <a:latin typeface="Times New Roman" panose="02020603050405020304" pitchFamily="18" charset="0"/>
                        <a:cs typeface="Times New Roman" panose="02020603050405020304" pitchFamily="18" charset="0"/>
                      </a:endParaRPr>
                    </a:p>
                  </a:txBody>
                  <a:tcPr/>
                </a:tc>
                <a:tc>
                  <a:txBody>
                    <a:bodyPr/>
                    <a:lstStyle/>
                    <a:p>
                      <a:pPr algn="ctr" rtl="1"/>
                      <a:r>
                        <a:rPr lang="ar-TN" sz="1800" b="1" dirty="0" smtClean="0">
                          <a:latin typeface="Times New Roman" panose="02020603050405020304" pitchFamily="18" charset="0"/>
                          <a:cs typeface="Times New Roman" panose="02020603050405020304" pitchFamily="18" charset="0"/>
                        </a:rPr>
                        <a:t>70</a:t>
                      </a:r>
                      <a:endParaRPr lang="fr-FR" sz="1800" b="1" dirty="0">
                        <a:latin typeface="Times New Roman" panose="02020603050405020304" pitchFamily="18" charset="0"/>
                        <a:cs typeface="Times New Roman" panose="02020603050405020304" pitchFamily="18" charset="0"/>
                      </a:endParaRPr>
                    </a:p>
                  </a:txBody>
                  <a:tcPr/>
                </a:tc>
                <a:tc>
                  <a:txBody>
                    <a:bodyPr/>
                    <a:lstStyle/>
                    <a:p>
                      <a:pPr lvl="0" algn="r" rtl="1"/>
                      <a:r>
                        <a:rPr lang="ar-TN" sz="1800" b="1" kern="1200" dirty="0" smtClean="0">
                          <a:latin typeface="Simplified Arabic" panose="02020603050405020304" pitchFamily="18" charset="-78"/>
                          <a:cs typeface="Simplified Arabic" panose="02020603050405020304" pitchFamily="18" charset="-78"/>
                        </a:rPr>
                        <a:t>التداين</a:t>
                      </a:r>
                      <a:r>
                        <a:rPr lang="ar-TN" sz="1800" b="1" kern="1200" baseline="0" dirty="0" smtClean="0">
                          <a:latin typeface="Simplified Arabic" panose="02020603050405020304" pitchFamily="18" charset="-78"/>
                          <a:cs typeface="Simplified Arabic" panose="02020603050405020304" pitchFamily="18" charset="-78"/>
                        </a:rPr>
                        <a:t> </a:t>
                      </a:r>
                      <a:r>
                        <a:rPr lang="ar-TN" sz="1800" b="1" kern="1200" dirty="0" smtClean="0">
                          <a:latin typeface="Simplified Arabic" panose="02020603050405020304" pitchFamily="18" charset="-78"/>
                          <a:cs typeface="Simplified Arabic" panose="02020603050405020304" pitchFamily="18" charset="-78"/>
                        </a:rPr>
                        <a:t>العمومي (</a:t>
                      </a:r>
                      <a:r>
                        <a:rPr lang="fr-FR" sz="1800" b="1" kern="1200" dirty="0" smtClean="0">
                          <a:latin typeface="Simplified Arabic" panose="02020603050405020304" pitchFamily="18" charset="-78"/>
                          <a:cs typeface="Simplified Arabic" panose="02020603050405020304" pitchFamily="18" charset="-78"/>
                        </a:rPr>
                        <a:t>%</a:t>
                      </a:r>
                      <a:r>
                        <a:rPr lang="ar-TN" sz="1800" b="1" kern="1200" dirty="0" smtClean="0">
                          <a:latin typeface="Simplified Arabic" panose="02020603050405020304" pitchFamily="18" charset="-78"/>
                          <a:cs typeface="Simplified Arabic" panose="02020603050405020304" pitchFamily="18" charset="-78"/>
                        </a:rPr>
                        <a:t> من الناتج)</a:t>
                      </a:r>
                      <a:endParaRPr lang="fr-FR" sz="1800" b="1" kern="1200" dirty="0">
                        <a:solidFill>
                          <a:schemeClr val="tx1"/>
                        </a:solidFill>
                        <a:latin typeface="Simplified Arabic" panose="02020603050405020304" pitchFamily="18" charset="-78"/>
                        <a:ea typeface="+mn-ea"/>
                        <a:cs typeface="Simplified Arabic" panose="02020603050405020304" pitchFamily="18" charset="-78"/>
                      </a:endParaRPr>
                    </a:p>
                  </a:txBody>
                  <a:tcPr/>
                </a:tc>
                <a:extLst>
                  <a:ext uri="{0D108BD9-81ED-4DB2-BD59-A6C34878D82A}">
                    <a16:rowId xmlns="" xmlns:a16="http://schemas.microsoft.com/office/drawing/2014/main" val="10004"/>
                  </a:ext>
                </a:extLst>
              </a:tr>
            </a:tbl>
          </a:graphicData>
        </a:graphic>
      </p:graphicFrame>
    </p:spTree>
    <p:custDataLst>
      <p:tags r:id="rId2"/>
    </p:custDataLst>
    <p:extLst>
      <p:ext uri="{BB962C8B-B14F-4D97-AF65-F5344CB8AC3E}">
        <p14:creationId xmlns:p14="http://schemas.microsoft.com/office/powerpoint/2010/main" xmlns="" val="215017870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nvPr>
        </p:nvGraphicFramePr>
        <p:xfrm>
          <a:off x="1589" y="1590"/>
          <a:ext cx="1587" cy="1587"/>
        </p:xfrm>
        <a:graphic>
          <a:graphicData uri="http://schemas.openxmlformats.org/presentationml/2006/ole">
            <p:oleObj spid="_x0000_s145529" name="think-cell Slide" r:id="rId6" imgW="360" imgH="360" progId="">
              <p:embed/>
            </p:oleObj>
          </a:graphicData>
        </a:graphic>
      </p:graphicFrame>
      <p:sp>
        <p:nvSpPr>
          <p:cNvPr id="9218" name="FilePath" hidden="1"/>
          <p:cNvSpPr txBox="1">
            <a:spLocks noChangeArrowheads="1"/>
          </p:cNvSpPr>
          <p:nvPr/>
        </p:nvSpPr>
        <p:spPr bwMode="auto">
          <a:xfrm>
            <a:off x="4103079" y="127000"/>
            <a:ext cx="4689231" cy="146258"/>
          </a:xfrm>
          <a:prstGeom prst="rect">
            <a:avLst/>
          </a:prstGeom>
          <a:noFill/>
          <a:ln w="3175" algn="ctr">
            <a:noFill/>
            <a:miter lim="800000"/>
            <a:headEnd/>
            <a:tailEnd/>
          </a:ln>
        </p:spPr>
        <p:txBody>
          <a:bodyPr lIns="17996" tIns="17996" rIns="17996" bIns="17996">
            <a:spAutoFit/>
          </a:bodyPr>
          <a:lstStyle/>
          <a:p>
            <a:pPr algn="r"/>
            <a:r>
              <a:rPr lang="en-GB" sz="700" dirty="0">
                <a:solidFill>
                  <a:srgbClr val="BEBEBE"/>
                </a:solidFill>
              </a:rPr>
              <a:t>G:\1022_TEMELIN_11264\03 Presentations\120118 Kick-off\2012 01 26 </a:t>
            </a:r>
            <a:r>
              <a:rPr lang="en-GB" sz="700" dirty="0" err="1">
                <a:solidFill>
                  <a:srgbClr val="BEBEBE"/>
                </a:solidFill>
              </a:rPr>
              <a:t>Temelin</a:t>
            </a:r>
            <a:r>
              <a:rPr lang="en-GB" sz="700" dirty="0">
                <a:solidFill>
                  <a:srgbClr val="BEBEBE"/>
                </a:solidFill>
              </a:rPr>
              <a:t> - kick-off_v6.ppt</a:t>
            </a:r>
          </a:p>
        </p:txBody>
      </p:sp>
      <p:sp>
        <p:nvSpPr>
          <p:cNvPr id="7" name="Text Placeholder 9"/>
          <p:cNvSpPr txBox="1">
            <a:spLocks/>
          </p:cNvSpPr>
          <p:nvPr/>
        </p:nvSpPr>
        <p:spPr bwMode="gray">
          <a:xfrm>
            <a:off x="72778" y="273258"/>
            <a:ext cx="8940985" cy="65732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23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2" indent="0" algn="r" rtl="1">
              <a:buFont typeface="Arial" charset="0"/>
              <a:buNone/>
              <a:tabLst>
                <a:tab pos="4306888" algn="l"/>
              </a:tabLst>
            </a:pPr>
            <a:r>
              <a:rPr lang="ar-TN" sz="2200" b="1" dirty="0" smtClean="0">
                <a:solidFill>
                  <a:srgbClr val="E51B2E"/>
                </a:solidFill>
                <a:latin typeface="Sakkal Majalla" pitchFamily="2" charset="-78"/>
                <a:cs typeface="Sakkal Majalla" pitchFamily="2" charset="-78"/>
              </a:rPr>
              <a:t>منوال النموّ لسنة </a:t>
            </a:r>
            <a:r>
              <a:rPr lang="ar-TN" sz="2200" b="1" dirty="0">
                <a:solidFill>
                  <a:srgbClr val="E51B2E"/>
                </a:solidFill>
                <a:latin typeface="Sakkal Majalla" pitchFamily="2" charset="-78"/>
                <a:cs typeface="Sakkal Majalla" pitchFamily="2" charset="-78"/>
              </a:rPr>
              <a:t>2020</a:t>
            </a:r>
          </a:p>
          <a:p>
            <a:pPr marL="0" lvl="2" indent="0">
              <a:buNone/>
              <a:tabLst>
                <a:tab pos="4306888" algn="l"/>
              </a:tabLst>
            </a:pPr>
            <a:r>
              <a:rPr lang="ar-TN" sz="2200" b="1" dirty="0" smtClean="0">
                <a:solidFill>
                  <a:srgbClr val="E51B2E"/>
                </a:solidFill>
                <a:latin typeface="Sakkal Majalla" pitchFamily="2" charset="-78"/>
                <a:cs typeface="Sakkal Majalla" pitchFamily="2" charset="-78"/>
              </a:rPr>
              <a:t> </a:t>
            </a:r>
            <a:r>
              <a:rPr lang="ar-TN" sz="2200" b="1" kern="0" dirty="0">
                <a:latin typeface="Sakkal Majalla" pitchFamily="2" charset="-78"/>
                <a:cs typeface="Sakkal Majalla" pitchFamily="2" charset="-78"/>
              </a:rPr>
              <a:t>محاور السياسات والاستراتيجيات </a:t>
            </a:r>
            <a:r>
              <a:rPr lang="ar-TN" sz="2200" b="1" kern="0" dirty="0" smtClean="0">
                <a:latin typeface="Sakkal Majalla" pitchFamily="2" charset="-78"/>
                <a:cs typeface="Sakkal Majalla" pitchFamily="2" charset="-78"/>
              </a:rPr>
              <a:t>القطاعية</a:t>
            </a:r>
            <a:r>
              <a:rPr lang="ar-TN" sz="2200" b="1" dirty="0" smtClean="0">
                <a:latin typeface="Sakkal Majalla" pitchFamily="2" charset="-78"/>
                <a:cs typeface="Sakkal Majalla" pitchFamily="2" charset="-78"/>
              </a:rPr>
              <a:t> </a:t>
            </a:r>
          </a:p>
          <a:p>
            <a:pPr marL="0" lvl="2" indent="0">
              <a:buNone/>
              <a:tabLst>
                <a:tab pos="4306888" algn="l"/>
              </a:tabLst>
            </a:pPr>
            <a:endParaRPr lang="ar-TN" sz="2200" b="1" dirty="0">
              <a:latin typeface="Sakkal Majalla" pitchFamily="2" charset="-78"/>
              <a:cs typeface="Sakkal Majalla" pitchFamily="2" charset="-78"/>
            </a:endParaRPr>
          </a:p>
        </p:txBody>
      </p:sp>
      <p:sp>
        <p:nvSpPr>
          <p:cNvPr id="9" name="ZoneTexte 8"/>
          <p:cNvSpPr txBox="1"/>
          <p:nvPr/>
        </p:nvSpPr>
        <p:spPr>
          <a:xfrm>
            <a:off x="299405" y="1837427"/>
            <a:ext cx="8492905" cy="3414304"/>
          </a:xfrm>
          <a:prstGeom prst="rect">
            <a:avLst/>
          </a:prstGeom>
          <a:ln w="12700">
            <a:solidFill>
              <a:srgbClr val="C00000"/>
            </a:solidFill>
            <a:headEnd/>
            <a:tailEnd/>
          </a:ln>
          <a:extLst/>
        </p:spPr>
        <p:style>
          <a:lnRef idx="2">
            <a:schemeClr val="accent4"/>
          </a:lnRef>
          <a:fillRef idx="1">
            <a:schemeClr val="lt1"/>
          </a:fillRef>
          <a:effectRef idx="0">
            <a:schemeClr val="accent4"/>
          </a:effectRef>
          <a:fontRef idx="minor">
            <a:schemeClr val="dk1"/>
          </a:fontRef>
        </p:style>
        <p:txBody>
          <a:bodyPr vert="horz" wrap="square" lIns="76200" tIns="76200" rIns="76200" bIns="76200" numCol="1" rtlCol="0" anchor="t" anchorCtr="0" compatLnSpc="1">
            <a:prstTxWarp prst="textNoShape">
              <a:avLst/>
            </a:prstTxWarp>
            <a:noAutofit/>
          </a:bodyPr>
          <a:lstStyle/>
          <a:p>
            <a:pPr marL="180975" indent="-180975" algn="just" rtl="1">
              <a:lnSpc>
                <a:spcPct val="114000"/>
              </a:lnSpc>
              <a:spcBef>
                <a:spcPts val="600"/>
              </a:spcBef>
              <a:spcAft>
                <a:spcPts val="600"/>
              </a:spcAft>
              <a:buClr>
                <a:srgbClr val="FF0000"/>
              </a:buClr>
              <a:buSzPct val="80000"/>
              <a:buFont typeface="Arial" pitchFamily="34" charset="0"/>
              <a:buChar char="•"/>
            </a:pPr>
            <a:r>
              <a:rPr lang="ar-TN" sz="3000" b="1" dirty="0" smtClean="0">
                <a:latin typeface="Sakkal Majalla" pitchFamily="2" charset="-78"/>
                <a:cs typeface="Sakkal Majalla" pitchFamily="2" charset="-78"/>
              </a:rPr>
              <a:t>اعتماد نمط تشاركي لبلورة وتنفيذ سياسات قطاعية متجددة مع التركيز أساسا </a:t>
            </a:r>
            <a:r>
              <a:rPr lang="ar-TN" sz="3000" b="1" dirty="0" err="1" smtClean="0">
                <a:latin typeface="Sakkal Majalla" pitchFamily="2" charset="-78"/>
                <a:cs typeface="Sakkal Majalla" pitchFamily="2" charset="-78"/>
              </a:rPr>
              <a:t>على:</a:t>
            </a:r>
            <a:endParaRPr lang="ar-TN" sz="3000" b="1" dirty="0">
              <a:latin typeface="Sakkal Majalla" pitchFamily="2" charset="-78"/>
              <a:cs typeface="Sakkal Majalla" pitchFamily="2" charset="-78"/>
            </a:endParaRPr>
          </a:p>
          <a:p>
            <a:pPr marL="800100" lvl="1" indent="-342900" algn="just" rtl="1">
              <a:lnSpc>
                <a:spcPct val="114000"/>
              </a:lnSpc>
              <a:spcBef>
                <a:spcPts val="600"/>
              </a:spcBef>
              <a:spcAft>
                <a:spcPts val="600"/>
              </a:spcAft>
              <a:buClr>
                <a:srgbClr val="FF0000"/>
              </a:buClr>
              <a:buSzPct val="80000"/>
              <a:buFont typeface="Symbol" panose="05050102010706020507" pitchFamily="18" charset="2"/>
              <a:buChar char="-"/>
            </a:pPr>
            <a:r>
              <a:rPr lang="ar-TN" sz="3000" b="1" dirty="0" smtClean="0">
                <a:latin typeface="Sakkal Majalla" pitchFamily="2" charset="-78"/>
                <a:cs typeface="Sakkal Majalla" pitchFamily="2" charset="-78"/>
              </a:rPr>
              <a:t>اعتماد التكنولوجيات الحديثة والرفع في المحتوى التكنولوجي</a:t>
            </a:r>
          </a:p>
          <a:p>
            <a:pPr marL="800100" lvl="1" indent="-342900" algn="just" rtl="1">
              <a:lnSpc>
                <a:spcPct val="114000"/>
              </a:lnSpc>
              <a:spcBef>
                <a:spcPts val="600"/>
              </a:spcBef>
              <a:spcAft>
                <a:spcPts val="600"/>
              </a:spcAft>
              <a:buClr>
                <a:srgbClr val="FF0000"/>
              </a:buClr>
              <a:buSzPct val="80000"/>
              <a:buFont typeface="Symbol" panose="05050102010706020507" pitchFamily="18" charset="2"/>
              <a:buChar char="-"/>
            </a:pPr>
            <a:r>
              <a:rPr lang="ar-TN" sz="3000" b="1" dirty="0" smtClean="0">
                <a:latin typeface="Sakkal Majalla" pitchFamily="2" charset="-78"/>
                <a:cs typeface="Sakkal Majalla" pitchFamily="2" charset="-78"/>
              </a:rPr>
              <a:t>تطوير سلاسل القيمة</a:t>
            </a:r>
          </a:p>
          <a:p>
            <a:pPr marL="800100" lvl="1" indent="-342900" algn="just" rtl="1">
              <a:lnSpc>
                <a:spcPct val="114000"/>
              </a:lnSpc>
              <a:spcBef>
                <a:spcPts val="600"/>
              </a:spcBef>
              <a:spcAft>
                <a:spcPts val="600"/>
              </a:spcAft>
              <a:buClr>
                <a:srgbClr val="FF0000"/>
              </a:buClr>
              <a:buSzPct val="80000"/>
              <a:buFont typeface="Symbol" panose="05050102010706020507" pitchFamily="18" charset="2"/>
              <a:buChar char="-"/>
            </a:pPr>
            <a:r>
              <a:rPr lang="ar-TN" sz="3000" b="1" dirty="0" smtClean="0">
                <a:latin typeface="Sakkal Majalla" pitchFamily="2" charset="-78"/>
                <a:cs typeface="Sakkal Majalla" pitchFamily="2" charset="-78"/>
              </a:rPr>
              <a:t>الرفع من تنافسية مؤسسات الإنتاج</a:t>
            </a:r>
          </a:p>
          <a:p>
            <a:pPr marL="180975" indent="-180975" algn="r" rtl="1">
              <a:lnSpc>
                <a:spcPct val="114000"/>
              </a:lnSpc>
              <a:spcBef>
                <a:spcPts val="600"/>
              </a:spcBef>
              <a:spcAft>
                <a:spcPts val="600"/>
              </a:spcAft>
              <a:buClr>
                <a:srgbClr val="FF0000"/>
              </a:buClr>
              <a:buSzPct val="80000"/>
              <a:buFont typeface="Arial" pitchFamily="34" charset="0"/>
              <a:buChar char="•"/>
            </a:pPr>
            <a:endParaRPr lang="fr-FR" sz="3000" b="1" dirty="0" smtClean="0">
              <a:latin typeface="Sakkal Majalla" pitchFamily="2" charset="-78"/>
              <a:cs typeface="Sakkal Majalla" pitchFamily="2" charset="-78"/>
            </a:endParaRPr>
          </a:p>
          <a:p>
            <a:pPr marL="180975" indent="-180975" algn="just" rtl="1">
              <a:lnSpc>
                <a:spcPct val="114000"/>
              </a:lnSpc>
              <a:spcBef>
                <a:spcPts val="600"/>
              </a:spcBef>
              <a:spcAft>
                <a:spcPts val="600"/>
              </a:spcAft>
              <a:buClr>
                <a:srgbClr val="FF0000"/>
              </a:buClr>
              <a:buSzPct val="80000"/>
              <a:buFont typeface="Arial" pitchFamily="34" charset="0"/>
              <a:buChar char="•"/>
            </a:pPr>
            <a:endParaRPr lang="fr-FR" sz="3000" b="1" dirty="0" smtClean="0">
              <a:latin typeface="Sakkal Majalla" pitchFamily="2" charset="-78"/>
              <a:cs typeface="Sakkal Majalla" pitchFamily="2" charset="-78"/>
            </a:endParaRPr>
          </a:p>
          <a:p>
            <a:pPr marL="180975" indent="-180975" algn="just" rtl="1">
              <a:lnSpc>
                <a:spcPct val="114000"/>
              </a:lnSpc>
              <a:spcBef>
                <a:spcPts val="600"/>
              </a:spcBef>
              <a:spcAft>
                <a:spcPts val="600"/>
              </a:spcAft>
              <a:buClr>
                <a:srgbClr val="FF0000"/>
              </a:buClr>
              <a:buSzPct val="80000"/>
              <a:buFont typeface="Arial" pitchFamily="34" charset="0"/>
              <a:buChar char="•"/>
            </a:pPr>
            <a:endParaRPr lang="ar-TN" sz="3000" b="1" dirty="0">
              <a:latin typeface="Sakkal Majalla" pitchFamily="2" charset="-78"/>
              <a:cs typeface="Sakkal Majalla" pitchFamily="2" charset="-78"/>
            </a:endParaRPr>
          </a:p>
        </p:txBody>
      </p:sp>
    </p:spTree>
    <p:custDataLst>
      <p:tags r:id="rId2"/>
    </p:custDataLst>
    <p:extLst>
      <p:ext uri="{BB962C8B-B14F-4D97-AF65-F5344CB8AC3E}">
        <p14:creationId xmlns:p14="http://schemas.microsoft.com/office/powerpoint/2010/main" xmlns="" val="10461993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0" y="211168"/>
            <a:ext cx="9144000" cy="707886"/>
          </a:xfrm>
          <a:prstGeom prst="rect">
            <a:avLst/>
          </a:prstGeom>
          <a:noFill/>
        </p:spPr>
        <p:txBody>
          <a:bodyPr wrap="square" rtlCol="0">
            <a:spAutoFit/>
          </a:bodyPr>
          <a:lstStyle/>
          <a:p>
            <a:pPr algn="r"/>
            <a:r>
              <a:rPr lang="ar-TN" sz="2200" b="1" dirty="0" smtClean="0">
                <a:solidFill>
                  <a:srgbClr val="E51B2E"/>
                </a:solidFill>
                <a:latin typeface="Simplified Arabic" pitchFamily="18" charset="-78"/>
                <a:cs typeface="Simplified Arabic" pitchFamily="18" charset="-78"/>
              </a:rPr>
              <a:t>الظرف الاقتصادي العالمي</a:t>
            </a:r>
            <a:endParaRPr lang="fr-FR" sz="2200" b="1" dirty="0" smtClean="0">
              <a:solidFill>
                <a:srgbClr val="E51B2E"/>
              </a:solidFill>
              <a:latin typeface="Simplified Arabic" pitchFamily="18" charset="-78"/>
              <a:cs typeface="Simplified Arabic" pitchFamily="18" charset="-78"/>
            </a:endParaRPr>
          </a:p>
          <a:p>
            <a:pPr rtl="1"/>
            <a:r>
              <a:rPr lang="ar-TN" b="1" dirty="0" smtClean="0">
                <a:latin typeface="Simplified Arabic" pitchFamily="18" charset="-78"/>
                <a:cs typeface="Simplified Arabic" pitchFamily="18" charset="-78"/>
              </a:rPr>
              <a:t>... وتذبذب الأسعار العالمية     </a:t>
            </a:r>
            <a:r>
              <a:rPr lang="fr-FR" b="1" dirty="0" smtClean="0">
                <a:latin typeface="Simplified Arabic" pitchFamily="18" charset="-78"/>
                <a:cs typeface="Simplified Arabic" pitchFamily="18" charset="-78"/>
              </a:rPr>
              <a:t> </a:t>
            </a:r>
          </a:p>
        </p:txBody>
      </p:sp>
      <p:graphicFrame>
        <p:nvGraphicFramePr>
          <p:cNvPr id="27" name="Graphique 26"/>
          <p:cNvGraphicFramePr/>
          <p:nvPr>
            <p:extLst/>
          </p:nvPr>
        </p:nvGraphicFramePr>
        <p:xfrm>
          <a:off x="4809930" y="954479"/>
          <a:ext cx="1576873" cy="1683006"/>
        </p:xfrm>
        <a:graphic>
          <a:graphicData uri="http://schemas.openxmlformats.org/drawingml/2006/chart">
            <c:chart xmlns:c="http://schemas.openxmlformats.org/drawingml/2006/chart" xmlns:r="http://schemas.openxmlformats.org/officeDocument/2006/relationships" r:id="rId3"/>
          </a:graphicData>
        </a:graphic>
      </p:graphicFrame>
      <p:sp>
        <p:nvSpPr>
          <p:cNvPr id="37" name="Rectangle à coins arrondis 36"/>
          <p:cNvSpPr/>
          <p:nvPr/>
        </p:nvSpPr>
        <p:spPr>
          <a:xfrm>
            <a:off x="5272580" y="2255695"/>
            <a:ext cx="1114223" cy="763580"/>
          </a:xfrm>
          <a:prstGeom prst="wedgeRoundRectCallout">
            <a:avLst>
              <a:gd name="adj1" fmla="val -23742"/>
              <a:gd name="adj2" fmla="val -52393"/>
              <a:gd name="adj3" fmla="val 16667"/>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TN" sz="1200" b="1" dirty="0" smtClean="0">
                <a:solidFill>
                  <a:srgbClr val="FF0000"/>
                </a:solidFill>
                <a:latin typeface="Simplified Arabic" panose="02020603050405020304" pitchFamily="18" charset="-78"/>
                <a:cs typeface="Simplified Arabic" panose="02020603050405020304" pitchFamily="18" charset="-78"/>
              </a:rPr>
              <a:t>تفعيل</a:t>
            </a:r>
            <a:r>
              <a:rPr lang="fr-FR" sz="1200" b="1" dirty="0" smtClean="0">
                <a:solidFill>
                  <a:srgbClr val="FF0000"/>
                </a:solidFill>
                <a:latin typeface="Simplified Arabic" panose="02020603050405020304" pitchFamily="18" charset="-78"/>
                <a:cs typeface="Simplified Arabic" panose="02020603050405020304" pitchFamily="18" charset="-78"/>
              </a:rPr>
              <a:t> </a:t>
            </a:r>
            <a:r>
              <a:rPr lang="ar-TN" sz="1200" b="1" dirty="0" smtClean="0">
                <a:solidFill>
                  <a:srgbClr val="FF0000"/>
                </a:solidFill>
                <a:latin typeface="Simplified Arabic" panose="02020603050405020304" pitchFamily="18" charset="-78"/>
                <a:cs typeface="Simplified Arabic" panose="02020603050405020304" pitchFamily="18" charset="-78"/>
              </a:rPr>
              <a:t>عملية تغطية </a:t>
            </a:r>
            <a:r>
              <a:rPr lang="fr-FR" sz="1100" b="1" dirty="0" err="1" smtClean="0">
                <a:solidFill>
                  <a:srgbClr val="FF0000"/>
                </a:solidFill>
                <a:latin typeface="Times New Roman" panose="02020603050405020304" pitchFamily="18" charset="0"/>
                <a:cs typeface="Times New Roman" panose="02020603050405020304" pitchFamily="18" charset="0"/>
              </a:rPr>
              <a:t>hedging</a:t>
            </a:r>
            <a:r>
              <a:rPr lang="ar-TN" sz="1200" b="1" dirty="0" smtClean="0">
                <a:solidFill>
                  <a:srgbClr val="FF0000"/>
                </a:solidFill>
                <a:latin typeface="Simplified Arabic" panose="02020603050405020304" pitchFamily="18" charset="-78"/>
                <a:cs typeface="Simplified Arabic" panose="02020603050405020304" pitchFamily="18" charset="-78"/>
              </a:rPr>
              <a:t> </a:t>
            </a:r>
          </a:p>
          <a:p>
            <a:pPr algn="ctr" rtl="1"/>
            <a:r>
              <a:rPr lang="ar-TN" sz="1200" b="1" dirty="0" smtClean="0">
                <a:solidFill>
                  <a:srgbClr val="FF0000"/>
                </a:solidFill>
                <a:latin typeface="Simplified Arabic" panose="02020603050405020304" pitchFamily="18" charset="-78"/>
                <a:cs typeface="Simplified Arabic" panose="02020603050405020304" pitchFamily="18" charset="-78"/>
              </a:rPr>
              <a:t>(</a:t>
            </a:r>
            <a:r>
              <a:rPr lang="ar-TN" sz="1100" b="1" dirty="0" smtClean="0">
                <a:solidFill>
                  <a:srgbClr val="FF0000"/>
                </a:solidFill>
                <a:latin typeface="Simplified Arabic" panose="02020603050405020304" pitchFamily="18" charset="-78"/>
                <a:cs typeface="+mj-cs"/>
              </a:rPr>
              <a:t>65</a:t>
            </a:r>
            <a:r>
              <a:rPr lang="ar-TN" sz="1200" b="1" dirty="0" smtClean="0">
                <a:solidFill>
                  <a:srgbClr val="FF0000"/>
                </a:solidFill>
                <a:latin typeface="Simplified Arabic" panose="02020603050405020304" pitchFamily="18" charset="-78"/>
                <a:cs typeface="Simplified Arabic" panose="02020603050405020304" pitchFamily="18" charset="-78"/>
              </a:rPr>
              <a:t> دولار) </a:t>
            </a:r>
          </a:p>
          <a:p>
            <a:pPr algn="ctr" rtl="1"/>
            <a:r>
              <a:rPr lang="ar-TN" sz="1200" b="1" dirty="0" smtClean="0">
                <a:solidFill>
                  <a:srgbClr val="FF0000"/>
                </a:solidFill>
                <a:latin typeface="Simplified Arabic" panose="02020603050405020304" pitchFamily="18" charset="-78"/>
                <a:cs typeface="Simplified Arabic" panose="02020603050405020304" pitchFamily="18" charset="-78"/>
              </a:rPr>
              <a:t>في ديسمبر </a:t>
            </a:r>
          </a:p>
        </p:txBody>
      </p:sp>
      <p:sp>
        <p:nvSpPr>
          <p:cNvPr id="11" name="Rectangle à coins arrondis 10"/>
          <p:cNvSpPr/>
          <p:nvPr/>
        </p:nvSpPr>
        <p:spPr>
          <a:xfrm>
            <a:off x="629728" y="5191138"/>
            <a:ext cx="7884544" cy="733245"/>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77825" lvl="1" indent="-285750" algn="just" rtl="1">
              <a:lnSpc>
                <a:spcPct val="150000"/>
              </a:lnSpc>
              <a:spcAft>
                <a:spcPts val="600"/>
              </a:spcAft>
              <a:buClr>
                <a:srgbClr val="006E00"/>
              </a:buClr>
              <a:buSzPct val="80000"/>
              <a:buFont typeface="Arial" panose="020B0604020202020204" pitchFamily="34" charset="0"/>
              <a:buChar char="•"/>
            </a:pPr>
            <a:r>
              <a:rPr lang="ar-TN" sz="1600" b="1" spc="-70" dirty="0" smtClean="0">
                <a:solidFill>
                  <a:schemeClr val="tx1"/>
                </a:solidFill>
                <a:latin typeface="Simplified Arabic" panose="02020603050405020304" pitchFamily="18" charset="-78"/>
                <a:cs typeface="Simplified Arabic" panose="02020603050405020304" pitchFamily="18" charset="-78"/>
              </a:rPr>
              <a:t>انخفاض أسعار المحروقات حيث بلغ معدل سعر </a:t>
            </a:r>
            <a:r>
              <a:rPr lang="ar-TN" sz="1600" b="1" spc="-70" dirty="0" err="1" smtClean="0">
                <a:solidFill>
                  <a:schemeClr val="tx1"/>
                </a:solidFill>
                <a:latin typeface="Simplified Arabic" panose="02020603050405020304" pitchFamily="18" charset="-78"/>
                <a:cs typeface="Simplified Arabic" panose="02020603050405020304" pitchFamily="18" charset="-78"/>
              </a:rPr>
              <a:t>البرنت</a:t>
            </a:r>
            <a:r>
              <a:rPr lang="ar-TN" sz="1600" b="1" spc="-70" dirty="0" smtClean="0">
                <a:solidFill>
                  <a:schemeClr val="tx1"/>
                </a:solidFill>
                <a:latin typeface="Simplified Arabic" panose="02020603050405020304" pitchFamily="18" charset="-78"/>
                <a:cs typeface="Simplified Arabic" panose="02020603050405020304" pitchFamily="18" charset="-78"/>
              </a:rPr>
              <a:t> </a:t>
            </a:r>
            <a:r>
              <a:rPr lang="ar-TN" sz="1400" b="1" spc="-70" dirty="0" smtClean="0">
                <a:solidFill>
                  <a:schemeClr val="tx1"/>
                </a:solidFill>
                <a:latin typeface="Times New Roman" panose="02020603050405020304" pitchFamily="18" charset="0"/>
                <a:cs typeface="Times New Roman" panose="02020603050405020304" pitchFamily="18" charset="0"/>
              </a:rPr>
              <a:t>59,7</a:t>
            </a:r>
            <a:r>
              <a:rPr lang="ar-TN" sz="1600" b="1" spc="-70" dirty="0" smtClean="0">
                <a:solidFill>
                  <a:schemeClr val="tx1"/>
                </a:solidFill>
                <a:latin typeface="Simplified Arabic" panose="02020603050405020304" pitchFamily="18" charset="-78"/>
                <a:cs typeface="Simplified Arabic" panose="02020603050405020304" pitchFamily="18" charset="-78"/>
              </a:rPr>
              <a:t>  دولار للبرميل في أكتوبر </a:t>
            </a:r>
            <a:r>
              <a:rPr lang="ar-TN" sz="1400" b="1" spc="-70" dirty="0" smtClean="0">
                <a:solidFill>
                  <a:schemeClr val="tx1"/>
                </a:solidFill>
                <a:latin typeface="Times New Roman" panose="02020603050405020304" pitchFamily="18" charset="0"/>
                <a:cs typeface="Times New Roman" panose="02020603050405020304" pitchFamily="18" charset="0"/>
              </a:rPr>
              <a:t>2019</a:t>
            </a:r>
            <a:r>
              <a:rPr lang="ar-TN" sz="1400" b="1" spc="-70" dirty="0" smtClean="0">
                <a:solidFill>
                  <a:schemeClr val="tx1"/>
                </a:solidFill>
                <a:latin typeface="Simplified Arabic" panose="02020603050405020304" pitchFamily="18" charset="-78"/>
                <a:cs typeface="Simplified Arabic" panose="02020603050405020304" pitchFamily="18" charset="-78"/>
              </a:rPr>
              <a:t>.</a:t>
            </a:r>
            <a:endParaRPr lang="ar-TN" sz="1400" b="1" spc="-70" dirty="0" smtClean="0">
              <a:solidFill>
                <a:schemeClr val="tx1"/>
              </a:solidFill>
              <a:latin typeface="Times New Roman" panose="02020603050405020304" pitchFamily="18" charset="0"/>
              <a:cs typeface="Times New Roman" panose="02020603050405020304" pitchFamily="18" charset="0"/>
            </a:endParaRPr>
          </a:p>
        </p:txBody>
      </p:sp>
      <p:graphicFrame>
        <p:nvGraphicFramePr>
          <p:cNvPr id="13" name="Graphique 12"/>
          <p:cNvGraphicFramePr>
            <a:graphicFrameLocks/>
          </p:cNvGraphicFramePr>
          <p:nvPr>
            <p:extLst>
              <p:ext uri="{D42A27DB-BD31-4B8C-83A1-F6EECF244321}">
                <p14:modId xmlns:p14="http://schemas.microsoft.com/office/powerpoint/2010/main" xmlns="" val="4263580042"/>
              </p:ext>
            </p:extLst>
          </p:nvPr>
        </p:nvGraphicFramePr>
        <p:xfrm>
          <a:off x="629728" y="1091622"/>
          <a:ext cx="7884544" cy="3566642"/>
        </p:xfrm>
        <a:graphic>
          <a:graphicData uri="http://schemas.openxmlformats.org/drawingml/2006/chart">
            <c:chart xmlns:c="http://schemas.openxmlformats.org/drawingml/2006/chart" xmlns:r="http://schemas.openxmlformats.org/officeDocument/2006/relationships" r:id="rId4"/>
          </a:graphicData>
        </a:graphic>
      </p:graphicFrame>
      <p:sp>
        <p:nvSpPr>
          <p:cNvPr id="3" name="ZoneTexte 2"/>
          <p:cNvSpPr txBox="1"/>
          <p:nvPr/>
        </p:nvSpPr>
        <p:spPr>
          <a:xfrm>
            <a:off x="1718064" y="1631961"/>
            <a:ext cx="1436914" cy="475861"/>
          </a:xfrm>
          <a:prstGeom prst="rect">
            <a:avLst/>
          </a:prstGeom>
          <a:solidFill>
            <a:schemeClr val="bg1"/>
          </a:solidFill>
          <a:ln w="9525">
            <a:solidFill>
              <a:srgbClr val="C00000"/>
            </a:solid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ctr" rtl="1"/>
            <a:r>
              <a:rPr lang="ar-TN" sz="1200" b="1" dirty="0" smtClean="0">
                <a:latin typeface="Simplified Arabic" panose="02020603050405020304" pitchFamily="18" charset="-78"/>
                <a:cs typeface="Simplified Arabic" panose="02020603050405020304" pitchFamily="18" charset="-78"/>
              </a:rPr>
              <a:t>الاعتداء على المنشأتين السعوديتين</a:t>
            </a:r>
            <a:endParaRPr lang="fr-FR" sz="1200" b="1" dirty="0" err="1" smtClean="0">
              <a:latin typeface="Simplified Arabic" panose="02020603050405020304" pitchFamily="18" charset="-78"/>
              <a:cs typeface="Simplified Arabic" panose="02020603050405020304" pitchFamily="18" charset="-78"/>
            </a:endParaRPr>
          </a:p>
        </p:txBody>
      </p:sp>
      <p:sp>
        <p:nvSpPr>
          <p:cNvPr id="5" name="Flèche vers le haut 4"/>
          <p:cNvSpPr/>
          <p:nvPr/>
        </p:nvSpPr>
        <p:spPr>
          <a:xfrm>
            <a:off x="2276580" y="2157805"/>
            <a:ext cx="159941" cy="174319"/>
          </a:xfrm>
          <a:prstGeom prst="up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smtClean="0">
              <a:solidFill>
                <a:schemeClr val="tx1"/>
              </a:solidFill>
            </a:endParaRPr>
          </a:p>
        </p:txBody>
      </p:sp>
    </p:spTree>
    <p:extLst>
      <p:ext uri="{BB962C8B-B14F-4D97-AF65-F5344CB8AC3E}">
        <p14:creationId xmlns:p14="http://schemas.microsoft.com/office/powerpoint/2010/main" xmlns="" val="163673355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nvPr>
        </p:nvGraphicFramePr>
        <p:xfrm>
          <a:off x="1589" y="1590"/>
          <a:ext cx="1587" cy="1587"/>
        </p:xfrm>
        <a:graphic>
          <a:graphicData uri="http://schemas.openxmlformats.org/presentationml/2006/ole">
            <p:oleObj spid="_x0000_s170055" name="think-cell Slide" r:id="rId6" imgW="360" imgH="360" progId="">
              <p:embed/>
            </p:oleObj>
          </a:graphicData>
        </a:graphic>
      </p:graphicFrame>
      <p:sp>
        <p:nvSpPr>
          <p:cNvPr id="9218" name="FilePath" hidden="1"/>
          <p:cNvSpPr txBox="1">
            <a:spLocks noChangeArrowheads="1"/>
          </p:cNvSpPr>
          <p:nvPr/>
        </p:nvSpPr>
        <p:spPr bwMode="auto">
          <a:xfrm>
            <a:off x="4103079" y="127000"/>
            <a:ext cx="4689231" cy="146258"/>
          </a:xfrm>
          <a:prstGeom prst="rect">
            <a:avLst/>
          </a:prstGeom>
          <a:noFill/>
          <a:ln w="3175" algn="ctr">
            <a:noFill/>
            <a:miter lim="800000"/>
            <a:headEnd/>
            <a:tailEnd/>
          </a:ln>
        </p:spPr>
        <p:txBody>
          <a:bodyPr lIns="17996" tIns="17996" rIns="17996" bIns="17996">
            <a:spAutoFit/>
          </a:bodyPr>
          <a:lstStyle/>
          <a:p>
            <a:pPr algn="r"/>
            <a:r>
              <a:rPr lang="en-GB" sz="700" dirty="0">
                <a:solidFill>
                  <a:srgbClr val="BEBEBE"/>
                </a:solidFill>
              </a:rPr>
              <a:t>G:\1022_TEMELIN_11264\03 Presentations\120118 Kick-off\2012 01 26 </a:t>
            </a:r>
            <a:r>
              <a:rPr lang="en-GB" sz="700" dirty="0" err="1">
                <a:solidFill>
                  <a:srgbClr val="BEBEBE"/>
                </a:solidFill>
              </a:rPr>
              <a:t>Temelin</a:t>
            </a:r>
            <a:r>
              <a:rPr lang="en-GB" sz="700" dirty="0">
                <a:solidFill>
                  <a:srgbClr val="BEBEBE"/>
                </a:solidFill>
              </a:rPr>
              <a:t> - kick-off_v6.ppt</a:t>
            </a:r>
          </a:p>
        </p:txBody>
      </p:sp>
      <p:sp>
        <p:nvSpPr>
          <p:cNvPr id="7" name="Text Placeholder 9"/>
          <p:cNvSpPr txBox="1">
            <a:spLocks/>
          </p:cNvSpPr>
          <p:nvPr/>
        </p:nvSpPr>
        <p:spPr bwMode="gray">
          <a:xfrm>
            <a:off x="133164" y="350896"/>
            <a:ext cx="8940985" cy="58261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lnSpcReduction="10000"/>
          </a:bodyPr>
          <a:lstStyle>
            <a:lvl1pPr marL="0" indent="0" algn="l" defTabSz="91323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2" indent="0" algn="r" rtl="1">
              <a:buFont typeface="Arial" charset="0"/>
              <a:buNone/>
              <a:tabLst>
                <a:tab pos="4306888" algn="l"/>
              </a:tabLst>
            </a:pPr>
            <a:r>
              <a:rPr lang="ar-TN" sz="2200" b="1" dirty="0" smtClean="0">
                <a:solidFill>
                  <a:srgbClr val="E51B2E"/>
                </a:solidFill>
                <a:latin typeface="Simplified Arabic" pitchFamily="18" charset="-78"/>
                <a:cs typeface="Simplified Arabic" pitchFamily="18" charset="-78"/>
              </a:rPr>
              <a:t>منوال النموّ لسنة </a:t>
            </a:r>
            <a:r>
              <a:rPr lang="ar-TN" sz="2000" b="1" dirty="0">
                <a:solidFill>
                  <a:srgbClr val="E51B2E"/>
                </a:solidFill>
                <a:latin typeface="Times New Roman" panose="02020603050405020304" pitchFamily="18" charset="0"/>
                <a:cs typeface="Times New Roman" panose="02020603050405020304" pitchFamily="18" charset="0"/>
              </a:rPr>
              <a:t>2020</a:t>
            </a:r>
            <a:endParaRPr lang="ar-TN" sz="2400" b="1" dirty="0">
              <a:solidFill>
                <a:srgbClr val="E51B2E"/>
              </a:solidFill>
              <a:latin typeface="Times New Roman" panose="02020603050405020304" pitchFamily="18" charset="0"/>
              <a:cs typeface="Times New Roman" panose="02020603050405020304" pitchFamily="18" charset="0"/>
            </a:endParaRPr>
          </a:p>
          <a:p>
            <a:pPr marL="0" lvl="2" indent="0">
              <a:buNone/>
              <a:tabLst>
                <a:tab pos="4306888" algn="l"/>
              </a:tabLst>
            </a:pPr>
            <a:r>
              <a:rPr lang="ar-TN" sz="1800" b="1" kern="0" dirty="0">
                <a:latin typeface="Simplified Arabic" panose="02020603050405020304" pitchFamily="18" charset="-78"/>
                <a:cs typeface="Simplified Arabic" panose="02020603050405020304" pitchFamily="18" charset="-78"/>
              </a:rPr>
              <a:t>محاور السياسات والاستراتيجيات القطاعية</a:t>
            </a:r>
            <a:endParaRPr lang="ar-JO" sz="1800" b="1" kern="0" dirty="0">
              <a:latin typeface="Simplified Arabic" panose="02020603050405020304" pitchFamily="18" charset="-78"/>
              <a:cs typeface="Simplified Arabic" panose="02020603050405020304" pitchFamily="18" charset="-78"/>
            </a:endParaRPr>
          </a:p>
          <a:p>
            <a:pPr marL="0" lvl="2" indent="0">
              <a:buNone/>
              <a:tabLst>
                <a:tab pos="4306888" algn="l"/>
              </a:tabLst>
            </a:pPr>
            <a:endParaRPr lang="ar-TN" sz="1700" b="1" dirty="0">
              <a:latin typeface="Simplified Arabic" pitchFamily="18" charset="-78"/>
              <a:cs typeface="Simplified Arabic" pitchFamily="18" charset="-78"/>
            </a:endParaRPr>
          </a:p>
        </p:txBody>
      </p:sp>
      <p:sp>
        <p:nvSpPr>
          <p:cNvPr id="9" name="ZoneTexte 8"/>
          <p:cNvSpPr txBox="1"/>
          <p:nvPr/>
        </p:nvSpPr>
        <p:spPr>
          <a:xfrm>
            <a:off x="501796" y="1302589"/>
            <a:ext cx="7806906" cy="4045789"/>
          </a:xfrm>
          <a:prstGeom prst="rect">
            <a:avLst/>
          </a:prstGeom>
          <a:ln w="12700">
            <a:solidFill>
              <a:srgbClr val="C00000"/>
            </a:solidFill>
            <a:headEnd/>
            <a:tailEnd/>
          </a:ln>
          <a:extLst/>
        </p:spPr>
        <p:style>
          <a:lnRef idx="2">
            <a:schemeClr val="accent4"/>
          </a:lnRef>
          <a:fillRef idx="1">
            <a:schemeClr val="lt1"/>
          </a:fillRef>
          <a:effectRef idx="0">
            <a:schemeClr val="accent4"/>
          </a:effectRef>
          <a:fontRef idx="minor">
            <a:schemeClr val="dk1"/>
          </a:fontRef>
        </p:style>
        <p:txBody>
          <a:bodyPr vert="horz" wrap="square" lIns="76200" tIns="76200" rIns="76200" bIns="76200" numCol="1" rtlCol="0" anchor="t" anchorCtr="0" compatLnSpc="1">
            <a:prstTxWarp prst="textNoShape">
              <a:avLst/>
            </a:prstTxWarp>
            <a:noAutofit/>
          </a:bodyPr>
          <a:lstStyle/>
          <a:p>
            <a:pPr algn="just" rtl="1">
              <a:lnSpc>
                <a:spcPct val="114000"/>
              </a:lnSpc>
              <a:spcBef>
                <a:spcPts val="600"/>
              </a:spcBef>
              <a:spcAft>
                <a:spcPts val="600"/>
              </a:spcAft>
              <a:buClr>
                <a:srgbClr val="FF0000"/>
              </a:buClr>
              <a:buSzPct val="80000"/>
            </a:pPr>
            <a:r>
              <a:rPr lang="ar-TN" sz="2000" b="1" dirty="0" smtClean="0">
                <a:solidFill>
                  <a:schemeClr val="accent4"/>
                </a:solidFill>
                <a:latin typeface="Simplified Arabic" pitchFamily="18" charset="-78"/>
                <a:cs typeface="Simplified Arabic" pitchFamily="18" charset="-78"/>
              </a:rPr>
              <a:t>القطاع الفلاحي:</a:t>
            </a:r>
          </a:p>
          <a:p>
            <a:pPr marL="800100" lvl="1" indent="-342900" algn="just" rtl="1">
              <a:lnSpc>
                <a:spcPct val="114000"/>
              </a:lnSpc>
              <a:spcBef>
                <a:spcPts val="600"/>
              </a:spcBef>
              <a:spcAft>
                <a:spcPts val="600"/>
              </a:spcAft>
              <a:buClr>
                <a:srgbClr val="FF0000"/>
              </a:buClr>
              <a:buSzPct val="80000"/>
              <a:buFont typeface="Symbol" panose="05050102010706020507" pitchFamily="18" charset="2"/>
              <a:buChar char="-"/>
            </a:pPr>
            <a:r>
              <a:rPr lang="ar-TN" sz="2000" b="1" dirty="0" smtClean="0">
                <a:latin typeface="Simplified Arabic" pitchFamily="18" charset="-78"/>
                <a:cs typeface="Simplified Arabic" pitchFamily="18" charset="-78"/>
              </a:rPr>
              <a:t>تطوير منظومات الإنتاج الفلاحي (حبوب، ألبان، لحوم، صيد بحري ...)</a:t>
            </a:r>
            <a:r>
              <a:rPr lang="fr-FR" sz="2000" b="1" dirty="0" smtClean="0">
                <a:latin typeface="Simplified Arabic" pitchFamily="18" charset="-78"/>
                <a:cs typeface="Simplified Arabic" pitchFamily="18" charset="-78"/>
              </a:rPr>
              <a:t> </a:t>
            </a:r>
            <a:endParaRPr lang="ar-TN" sz="2000" b="1" dirty="0" smtClean="0">
              <a:latin typeface="Simplified Arabic" pitchFamily="18" charset="-78"/>
              <a:cs typeface="Simplified Arabic" pitchFamily="18" charset="-78"/>
            </a:endParaRPr>
          </a:p>
          <a:p>
            <a:pPr marL="800100" lvl="1" indent="-342900" algn="just" rtl="1">
              <a:lnSpc>
                <a:spcPct val="114000"/>
              </a:lnSpc>
              <a:spcBef>
                <a:spcPts val="600"/>
              </a:spcBef>
              <a:spcAft>
                <a:spcPts val="600"/>
              </a:spcAft>
              <a:buClr>
                <a:srgbClr val="FF0000"/>
              </a:buClr>
              <a:buSzPct val="80000"/>
              <a:buFont typeface="Symbol" panose="05050102010706020507" pitchFamily="18" charset="2"/>
              <a:buChar char="-"/>
            </a:pPr>
            <a:r>
              <a:rPr lang="ar-TN" sz="2000" b="1" dirty="0" smtClean="0">
                <a:latin typeface="Simplified Arabic" pitchFamily="18" charset="-78"/>
                <a:cs typeface="Simplified Arabic" pitchFamily="18" charset="-78"/>
              </a:rPr>
              <a:t>تهيئة المناطق السقوية العمومية بالشمال والوسط (35 ألف هكتار).</a:t>
            </a:r>
          </a:p>
          <a:p>
            <a:pPr marL="800100" lvl="1" indent="-342900" algn="just" rtl="1">
              <a:lnSpc>
                <a:spcPct val="114000"/>
              </a:lnSpc>
              <a:spcBef>
                <a:spcPts val="600"/>
              </a:spcBef>
              <a:spcAft>
                <a:spcPts val="600"/>
              </a:spcAft>
              <a:buClr>
                <a:srgbClr val="FF0000"/>
              </a:buClr>
              <a:buSzPct val="80000"/>
              <a:buFont typeface="Symbol" panose="05050102010706020507" pitchFamily="18" charset="2"/>
              <a:buChar char="-"/>
            </a:pPr>
            <a:r>
              <a:rPr lang="ar-TN" sz="2000" b="1" dirty="0" smtClean="0">
                <a:latin typeface="Simplified Arabic" pitchFamily="18" charset="-78"/>
                <a:cs typeface="Simplified Arabic" pitchFamily="18" charset="-78"/>
              </a:rPr>
              <a:t>تنفيذ برنامج تأهيل المستغلات الفلاحية (20 ألف مستغلة)</a:t>
            </a:r>
            <a:r>
              <a:rPr lang="fr-FR" sz="2000" b="1" dirty="0" smtClean="0">
                <a:latin typeface="Simplified Arabic" pitchFamily="18" charset="-78"/>
                <a:cs typeface="Simplified Arabic" pitchFamily="18" charset="-78"/>
              </a:rPr>
              <a:t>.</a:t>
            </a:r>
            <a:endParaRPr lang="ar-TN" sz="2000" b="1" dirty="0" smtClean="0">
              <a:latin typeface="Simplified Arabic" pitchFamily="18" charset="-78"/>
              <a:cs typeface="Simplified Arabic" pitchFamily="18" charset="-78"/>
            </a:endParaRPr>
          </a:p>
          <a:p>
            <a:pPr marL="800100" lvl="1" indent="-342900" algn="just" rtl="1">
              <a:lnSpc>
                <a:spcPct val="114000"/>
              </a:lnSpc>
              <a:spcBef>
                <a:spcPts val="600"/>
              </a:spcBef>
              <a:spcAft>
                <a:spcPts val="600"/>
              </a:spcAft>
              <a:buClr>
                <a:srgbClr val="FF0000"/>
              </a:buClr>
              <a:buSzPct val="80000"/>
              <a:buFont typeface="Symbol" panose="05050102010706020507" pitchFamily="18" charset="2"/>
              <a:buChar char="-"/>
            </a:pPr>
            <a:r>
              <a:rPr lang="ar-TN" sz="2000" b="1" dirty="0">
                <a:latin typeface="Simplified Arabic" pitchFamily="18" charset="-78"/>
                <a:cs typeface="Simplified Arabic" pitchFamily="18" charset="-78"/>
              </a:rPr>
              <a:t>الشروع في تنفيذ القسط الثاني من البرنامج الوطني </a:t>
            </a:r>
            <a:r>
              <a:rPr lang="ar-TN" sz="2000" b="1" dirty="0" smtClean="0">
                <a:latin typeface="Simplified Arabic" pitchFamily="18" charset="-78"/>
                <a:cs typeface="Simplified Arabic" pitchFamily="18" charset="-78"/>
              </a:rPr>
              <a:t>لتأهيل </a:t>
            </a:r>
            <a:r>
              <a:rPr lang="ar-TN" sz="2000" b="1" dirty="0">
                <a:latin typeface="Simplified Arabic" pitchFamily="18" charset="-78"/>
                <a:cs typeface="Simplified Arabic" pitchFamily="18" charset="-78"/>
              </a:rPr>
              <a:t>مسالك التوزيع لمنتجات الفلاحة والصيد البحري</a:t>
            </a:r>
            <a:r>
              <a:rPr lang="fr-FR" sz="2000" b="1" dirty="0">
                <a:latin typeface="Simplified Arabic" pitchFamily="18" charset="-78"/>
                <a:cs typeface="Simplified Arabic" pitchFamily="18" charset="-78"/>
              </a:rPr>
              <a:t>.</a:t>
            </a:r>
            <a:r>
              <a:rPr lang="ar-TN" sz="2000" b="1" dirty="0">
                <a:latin typeface="Simplified Arabic" pitchFamily="18" charset="-78"/>
                <a:cs typeface="Simplified Arabic" pitchFamily="18" charset="-78"/>
              </a:rPr>
              <a:t> </a:t>
            </a:r>
            <a:endParaRPr lang="ar-TN" sz="2000" b="1" dirty="0" smtClean="0">
              <a:latin typeface="Simplified Arabic" pitchFamily="18" charset="-78"/>
              <a:cs typeface="Simplified Arabic" pitchFamily="18" charset="-78"/>
            </a:endParaRPr>
          </a:p>
          <a:p>
            <a:pPr algn="r" rtl="1">
              <a:lnSpc>
                <a:spcPct val="114000"/>
              </a:lnSpc>
              <a:spcBef>
                <a:spcPts val="600"/>
              </a:spcBef>
              <a:spcAft>
                <a:spcPts val="600"/>
              </a:spcAft>
              <a:buClr>
                <a:srgbClr val="FF0000"/>
              </a:buClr>
              <a:buSzPct val="80000"/>
            </a:pPr>
            <a:endParaRPr lang="fr-FR" sz="1600" b="1" dirty="0" smtClean="0">
              <a:latin typeface="Simplified Arabic" pitchFamily="18" charset="-78"/>
              <a:cs typeface="Simplified Arabic" pitchFamily="18" charset="-78"/>
            </a:endParaRPr>
          </a:p>
          <a:p>
            <a:pPr marL="180975" indent="-180975" algn="just" rtl="1">
              <a:lnSpc>
                <a:spcPct val="114000"/>
              </a:lnSpc>
              <a:spcBef>
                <a:spcPts val="600"/>
              </a:spcBef>
              <a:spcAft>
                <a:spcPts val="600"/>
              </a:spcAft>
              <a:buClr>
                <a:srgbClr val="FF0000"/>
              </a:buClr>
              <a:buSzPct val="80000"/>
              <a:buFont typeface="Arial" pitchFamily="34" charset="0"/>
              <a:buChar char="•"/>
            </a:pPr>
            <a:endParaRPr lang="fr-FR" sz="1600" b="1" dirty="0" smtClean="0">
              <a:latin typeface="Simplified Arabic" pitchFamily="18" charset="-78"/>
              <a:cs typeface="Simplified Arabic" pitchFamily="18" charset="-78"/>
            </a:endParaRPr>
          </a:p>
          <a:p>
            <a:pPr marL="180975" indent="-180975" algn="just" rtl="1">
              <a:lnSpc>
                <a:spcPct val="114000"/>
              </a:lnSpc>
              <a:spcBef>
                <a:spcPts val="600"/>
              </a:spcBef>
              <a:spcAft>
                <a:spcPts val="600"/>
              </a:spcAft>
              <a:buClr>
                <a:srgbClr val="FF0000"/>
              </a:buClr>
              <a:buSzPct val="80000"/>
              <a:buFont typeface="Arial" pitchFamily="34" charset="0"/>
              <a:buChar char="•"/>
            </a:pPr>
            <a:endParaRPr lang="ar-TN" sz="1600" b="1" dirty="0">
              <a:latin typeface="Simplified Arabic" pitchFamily="18" charset="-78"/>
              <a:cs typeface="Simplified Arabic" pitchFamily="18" charset="-78"/>
            </a:endParaRPr>
          </a:p>
        </p:txBody>
      </p:sp>
    </p:spTree>
    <p:custDataLst>
      <p:tags r:id="rId2"/>
    </p:custDataLst>
    <p:extLst>
      <p:ext uri="{BB962C8B-B14F-4D97-AF65-F5344CB8AC3E}">
        <p14:creationId xmlns:p14="http://schemas.microsoft.com/office/powerpoint/2010/main" xmlns="" val="291335958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nvPr>
        </p:nvGraphicFramePr>
        <p:xfrm>
          <a:off x="1589" y="1590"/>
          <a:ext cx="1587" cy="1587"/>
        </p:xfrm>
        <a:graphic>
          <a:graphicData uri="http://schemas.openxmlformats.org/presentationml/2006/ole">
            <p:oleObj spid="_x0000_s171079" name="think-cell Slide" r:id="rId6" imgW="360" imgH="360" progId="">
              <p:embed/>
            </p:oleObj>
          </a:graphicData>
        </a:graphic>
      </p:graphicFrame>
      <p:sp>
        <p:nvSpPr>
          <p:cNvPr id="9218" name="FilePath" hidden="1"/>
          <p:cNvSpPr txBox="1">
            <a:spLocks noChangeArrowheads="1"/>
          </p:cNvSpPr>
          <p:nvPr/>
        </p:nvSpPr>
        <p:spPr bwMode="auto">
          <a:xfrm>
            <a:off x="4103079" y="127000"/>
            <a:ext cx="4689231" cy="146258"/>
          </a:xfrm>
          <a:prstGeom prst="rect">
            <a:avLst/>
          </a:prstGeom>
          <a:noFill/>
          <a:ln w="3175" algn="ctr">
            <a:noFill/>
            <a:miter lim="800000"/>
            <a:headEnd/>
            <a:tailEnd/>
          </a:ln>
        </p:spPr>
        <p:txBody>
          <a:bodyPr lIns="17996" tIns="17996" rIns="17996" bIns="17996">
            <a:spAutoFit/>
          </a:bodyPr>
          <a:lstStyle/>
          <a:p>
            <a:pPr algn="r"/>
            <a:r>
              <a:rPr lang="en-GB" sz="700" dirty="0">
                <a:solidFill>
                  <a:srgbClr val="BEBEBE"/>
                </a:solidFill>
              </a:rPr>
              <a:t>G:\1022_TEMELIN_11264\03 Presentations\120118 Kick-off\2012 01 26 </a:t>
            </a:r>
            <a:r>
              <a:rPr lang="en-GB" sz="700" dirty="0" err="1">
                <a:solidFill>
                  <a:srgbClr val="BEBEBE"/>
                </a:solidFill>
              </a:rPr>
              <a:t>Temelin</a:t>
            </a:r>
            <a:r>
              <a:rPr lang="en-GB" sz="700" dirty="0">
                <a:solidFill>
                  <a:srgbClr val="BEBEBE"/>
                </a:solidFill>
              </a:rPr>
              <a:t> - kick-off_v6.ppt</a:t>
            </a:r>
          </a:p>
        </p:txBody>
      </p:sp>
      <p:sp>
        <p:nvSpPr>
          <p:cNvPr id="7" name="Text Placeholder 9"/>
          <p:cNvSpPr txBox="1">
            <a:spLocks/>
          </p:cNvSpPr>
          <p:nvPr/>
        </p:nvSpPr>
        <p:spPr bwMode="gray">
          <a:xfrm>
            <a:off x="133164" y="350896"/>
            <a:ext cx="8940985" cy="58261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lnSpcReduction="10000"/>
          </a:bodyPr>
          <a:lstStyle>
            <a:lvl1pPr marL="0" indent="0" algn="l" defTabSz="91323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2" indent="0" algn="r" rtl="1">
              <a:buFont typeface="Arial" charset="0"/>
              <a:buNone/>
              <a:tabLst>
                <a:tab pos="4306888" algn="l"/>
              </a:tabLst>
            </a:pPr>
            <a:r>
              <a:rPr lang="ar-TN" sz="2200" b="1" dirty="0" smtClean="0">
                <a:solidFill>
                  <a:srgbClr val="E51B2E"/>
                </a:solidFill>
                <a:latin typeface="Simplified Arabic" pitchFamily="18" charset="-78"/>
                <a:cs typeface="Simplified Arabic" pitchFamily="18" charset="-78"/>
              </a:rPr>
              <a:t>منوال النموّ لسنة </a:t>
            </a:r>
            <a:r>
              <a:rPr lang="ar-TN" sz="2000" b="1" dirty="0">
                <a:solidFill>
                  <a:srgbClr val="E51B2E"/>
                </a:solidFill>
                <a:latin typeface="Times New Roman" panose="02020603050405020304" pitchFamily="18" charset="0"/>
                <a:cs typeface="Times New Roman" panose="02020603050405020304" pitchFamily="18" charset="0"/>
              </a:rPr>
              <a:t>2020</a:t>
            </a:r>
            <a:endParaRPr lang="ar-TN" sz="2400" b="1" dirty="0">
              <a:solidFill>
                <a:srgbClr val="E51B2E"/>
              </a:solidFill>
              <a:latin typeface="Times New Roman" panose="02020603050405020304" pitchFamily="18" charset="0"/>
              <a:cs typeface="Times New Roman" panose="02020603050405020304" pitchFamily="18" charset="0"/>
            </a:endParaRPr>
          </a:p>
          <a:p>
            <a:pPr marL="0" lvl="2" indent="0">
              <a:buNone/>
              <a:tabLst>
                <a:tab pos="4306888" algn="l"/>
              </a:tabLst>
            </a:pPr>
            <a:r>
              <a:rPr lang="ar-TN" sz="1800" b="1" kern="0" dirty="0">
                <a:latin typeface="Simplified Arabic" panose="02020603050405020304" pitchFamily="18" charset="-78"/>
                <a:cs typeface="Simplified Arabic" panose="02020603050405020304" pitchFamily="18" charset="-78"/>
              </a:rPr>
              <a:t>محاور السياسات والاستراتيجيات القطاعية</a:t>
            </a:r>
            <a:endParaRPr lang="ar-JO" sz="1800" b="1" kern="0" dirty="0">
              <a:latin typeface="Simplified Arabic" panose="02020603050405020304" pitchFamily="18" charset="-78"/>
              <a:cs typeface="Simplified Arabic" panose="02020603050405020304" pitchFamily="18" charset="-78"/>
            </a:endParaRPr>
          </a:p>
          <a:p>
            <a:pPr marL="0" lvl="2" indent="0">
              <a:buNone/>
              <a:tabLst>
                <a:tab pos="4306888" algn="l"/>
              </a:tabLst>
            </a:pPr>
            <a:endParaRPr lang="ar-TN" sz="1700" b="1" dirty="0">
              <a:latin typeface="Simplified Arabic" pitchFamily="18" charset="-78"/>
              <a:cs typeface="Simplified Arabic" pitchFamily="18" charset="-78"/>
            </a:endParaRPr>
          </a:p>
        </p:txBody>
      </p:sp>
      <p:sp>
        <p:nvSpPr>
          <p:cNvPr id="9" name="ZoneTexte 8"/>
          <p:cNvSpPr txBox="1"/>
          <p:nvPr/>
        </p:nvSpPr>
        <p:spPr>
          <a:xfrm>
            <a:off x="501796" y="1302589"/>
            <a:ext cx="7806906" cy="4045789"/>
          </a:xfrm>
          <a:prstGeom prst="rect">
            <a:avLst/>
          </a:prstGeom>
          <a:ln w="12700">
            <a:solidFill>
              <a:srgbClr val="C00000"/>
            </a:solidFill>
            <a:headEnd/>
            <a:tailEnd/>
          </a:ln>
          <a:extLst/>
        </p:spPr>
        <p:style>
          <a:lnRef idx="2">
            <a:schemeClr val="accent4"/>
          </a:lnRef>
          <a:fillRef idx="1">
            <a:schemeClr val="lt1"/>
          </a:fillRef>
          <a:effectRef idx="0">
            <a:schemeClr val="accent4"/>
          </a:effectRef>
          <a:fontRef idx="minor">
            <a:schemeClr val="dk1"/>
          </a:fontRef>
        </p:style>
        <p:txBody>
          <a:bodyPr vert="horz" wrap="square" lIns="76200" tIns="76200" rIns="76200" bIns="76200" numCol="1" rtlCol="0" anchor="t" anchorCtr="0" compatLnSpc="1">
            <a:prstTxWarp prst="textNoShape">
              <a:avLst/>
            </a:prstTxWarp>
            <a:noAutofit/>
          </a:bodyPr>
          <a:lstStyle/>
          <a:p>
            <a:pPr algn="just" rtl="1">
              <a:lnSpc>
                <a:spcPct val="114000"/>
              </a:lnSpc>
              <a:spcBef>
                <a:spcPts val="600"/>
              </a:spcBef>
              <a:spcAft>
                <a:spcPts val="600"/>
              </a:spcAft>
              <a:buClr>
                <a:srgbClr val="FF0000"/>
              </a:buClr>
              <a:buSzPct val="80000"/>
            </a:pPr>
            <a:r>
              <a:rPr lang="ar-TN" sz="2000" b="1" dirty="0" smtClean="0">
                <a:solidFill>
                  <a:schemeClr val="accent4"/>
                </a:solidFill>
                <a:latin typeface="Simplified Arabic" pitchFamily="18" charset="-78"/>
                <a:cs typeface="Simplified Arabic" pitchFamily="18" charset="-78"/>
              </a:rPr>
              <a:t>القطاع الصناعي:</a:t>
            </a:r>
          </a:p>
          <a:p>
            <a:pPr marL="800100" lvl="1" indent="-342900" algn="just" rtl="1">
              <a:lnSpc>
                <a:spcPct val="114000"/>
              </a:lnSpc>
              <a:spcBef>
                <a:spcPts val="600"/>
              </a:spcBef>
              <a:spcAft>
                <a:spcPts val="600"/>
              </a:spcAft>
              <a:buClr>
                <a:srgbClr val="FF0000"/>
              </a:buClr>
              <a:buSzPct val="80000"/>
              <a:buFont typeface="Symbol" panose="05050102010706020507" pitchFamily="18" charset="2"/>
              <a:buChar char="-"/>
            </a:pPr>
            <a:r>
              <a:rPr lang="ar-TN" sz="2000" b="1" dirty="0" smtClean="0">
                <a:latin typeface="Simplified Arabic" pitchFamily="18" charset="-78"/>
                <a:cs typeface="Simplified Arabic" pitchFamily="18" charset="-78"/>
              </a:rPr>
              <a:t>مواصلة دعم الصناعات المعملية: النهوض بالقطاعات الواعدة، تأهيل المؤسسات الصناعية وتحسين تنافسيتها، دفع </a:t>
            </a:r>
            <a:r>
              <a:rPr lang="ar-TN" sz="2000" b="1" dirty="0">
                <a:latin typeface="Simplified Arabic" pitchFamily="18" charset="-78"/>
                <a:cs typeface="Simplified Arabic" pitchFamily="18" charset="-78"/>
              </a:rPr>
              <a:t>التجديد والتطوير </a:t>
            </a:r>
            <a:r>
              <a:rPr lang="ar-TN" sz="2000" b="1" dirty="0" smtClean="0">
                <a:latin typeface="Simplified Arabic" pitchFamily="18" charset="-78"/>
                <a:cs typeface="Simplified Arabic" pitchFamily="18" charset="-78"/>
              </a:rPr>
              <a:t>التكنولوجي، تفعيل الأقطاب التكنولوجية....</a:t>
            </a:r>
          </a:p>
          <a:p>
            <a:pPr marL="800100" lvl="1" indent="-342900" algn="just" rtl="1">
              <a:lnSpc>
                <a:spcPct val="114000"/>
              </a:lnSpc>
              <a:spcBef>
                <a:spcPts val="600"/>
              </a:spcBef>
              <a:spcAft>
                <a:spcPts val="600"/>
              </a:spcAft>
              <a:buClr>
                <a:srgbClr val="FF0000"/>
              </a:buClr>
              <a:buSzPct val="80000"/>
              <a:buFont typeface="Symbol" panose="05050102010706020507" pitchFamily="18" charset="2"/>
              <a:buChar char="-"/>
            </a:pPr>
            <a:r>
              <a:rPr lang="ar-TN" sz="2000" b="1" dirty="0" smtClean="0">
                <a:latin typeface="Simplified Arabic" pitchFamily="18" charset="-78"/>
                <a:cs typeface="Simplified Arabic" pitchFamily="18" charset="-78"/>
              </a:rPr>
              <a:t>تكريس الانتقال الطاقي بتسريع انجاز مشاريع الطاقات المتجددة</a:t>
            </a:r>
            <a:r>
              <a:rPr lang="fr-FR" sz="2000" b="1" dirty="0">
                <a:latin typeface="Simplified Arabic" pitchFamily="18" charset="-78"/>
                <a:cs typeface="Simplified Arabic" pitchFamily="18" charset="-78"/>
              </a:rPr>
              <a:t> </a:t>
            </a:r>
            <a:r>
              <a:rPr lang="fr-FR" sz="2000" b="1" dirty="0" smtClean="0">
                <a:latin typeface="Simplified Arabic" pitchFamily="18" charset="-78"/>
                <a:cs typeface="Simplified Arabic" pitchFamily="18" charset="-78"/>
              </a:rPr>
              <a:t>.</a:t>
            </a:r>
            <a:endParaRPr lang="ar-TN" sz="2000" b="1" dirty="0" smtClean="0">
              <a:latin typeface="Simplified Arabic" pitchFamily="18" charset="-78"/>
              <a:cs typeface="Simplified Arabic" pitchFamily="18" charset="-78"/>
            </a:endParaRPr>
          </a:p>
          <a:p>
            <a:pPr marL="800100" lvl="1" indent="-342900" algn="just" rtl="1">
              <a:lnSpc>
                <a:spcPct val="114000"/>
              </a:lnSpc>
              <a:spcBef>
                <a:spcPts val="600"/>
              </a:spcBef>
              <a:spcAft>
                <a:spcPts val="600"/>
              </a:spcAft>
              <a:buClr>
                <a:srgbClr val="FF0000"/>
              </a:buClr>
              <a:buSzPct val="80000"/>
              <a:buFont typeface="Symbol" panose="05050102010706020507" pitchFamily="18" charset="2"/>
              <a:buChar char="-"/>
            </a:pPr>
            <a:r>
              <a:rPr lang="ar-TN" sz="2000" b="1" dirty="0" smtClean="0">
                <a:latin typeface="Simplified Arabic" pitchFamily="18" charset="-78"/>
                <a:cs typeface="Simplified Arabic" pitchFamily="18" charset="-78"/>
              </a:rPr>
              <a:t>مواصلة تطوير قطاع المناجم ومزيد الرفع من الإنتاج.</a:t>
            </a:r>
            <a:endParaRPr lang="ar-TN" sz="2000" b="1" dirty="0">
              <a:latin typeface="Simplified Arabic" pitchFamily="18" charset="-78"/>
              <a:cs typeface="Simplified Arabic" pitchFamily="18" charset="-78"/>
            </a:endParaRPr>
          </a:p>
          <a:p>
            <a:pPr marL="180975" indent="-180975" algn="r" rtl="1">
              <a:lnSpc>
                <a:spcPct val="114000"/>
              </a:lnSpc>
              <a:spcBef>
                <a:spcPts val="600"/>
              </a:spcBef>
              <a:spcAft>
                <a:spcPts val="600"/>
              </a:spcAft>
              <a:buClr>
                <a:srgbClr val="FF0000"/>
              </a:buClr>
              <a:buSzPct val="80000"/>
              <a:buFont typeface="Arial" pitchFamily="34" charset="0"/>
              <a:buChar char="•"/>
            </a:pPr>
            <a:endParaRPr lang="fr-FR" sz="1600" b="1" dirty="0" smtClean="0">
              <a:latin typeface="Simplified Arabic" pitchFamily="18" charset="-78"/>
              <a:cs typeface="Simplified Arabic" pitchFamily="18" charset="-78"/>
            </a:endParaRPr>
          </a:p>
          <a:p>
            <a:pPr marL="180975" indent="-180975" algn="just" rtl="1">
              <a:lnSpc>
                <a:spcPct val="114000"/>
              </a:lnSpc>
              <a:spcBef>
                <a:spcPts val="600"/>
              </a:spcBef>
              <a:spcAft>
                <a:spcPts val="600"/>
              </a:spcAft>
              <a:buClr>
                <a:srgbClr val="FF0000"/>
              </a:buClr>
              <a:buSzPct val="80000"/>
              <a:buFont typeface="Arial" pitchFamily="34" charset="0"/>
              <a:buChar char="•"/>
            </a:pPr>
            <a:endParaRPr lang="fr-FR" sz="1600" b="1" dirty="0" smtClean="0">
              <a:latin typeface="Simplified Arabic" pitchFamily="18" charset="-78"/>
              <a:cs typeface="Simplified Arabic" pitchFamily="18" charset="-78"/>
            </a:endParaRPr>
          </a:p>
          <a:p>
            <a:pPr marL="180975" indent="-180975" algn="just" rtl="1">
              <a:lnSpc>
                <a:spcPct val="114000"/>
              </a:lnSpc>
              <a:spcBef>
                <a:spcPts val="600"/>
              </a:spcBef>
              <a:spcAft>
                <a:spcPts val="600"/>
              </a:spcAft>
              <a:buClr>
                <a:srgbClr val="FF0000"/>
              </a:buClr>
              <a:buSzPct val="80000"/>
              <a:buFont typeface="Arial" pitchFamily="34" charset="0"/>
              <a:buChar char="•"/>
            </a:pPr>
            <a:endParaRPr lang="ar-TN" sz="1600" b="1" dirty="0">
              <a:latin typeface="Simplified Arabic" pitchFamily="18" charset="-78"/>
              <a:cs typeface="Simplified Arabic" pitchFamily="18" charset="-78"/>
            </a:endParaRPr>
          </a:p>
        </p:txBody>
      </p:sp>
    </p:spTree>
    <p:custDataLst>
      <p:tags r:id="rId2"/>
    </p:custDataLst>
    <p:extLst>
      <p:ext uri="{BB962C8B-B14F-4D97-AF65-F5344CB8AC3E}">
        <p14:creationId xmlns:p14="http://schemas.microsoft.com/office/powerpoint/2010/main" xmlns="" val="319659592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nvPr>
        </p:nvGraphicFramePr>
        <p:xfrm>
          <a:off x="1589" y="1590"/>
          <a:ext cx="1587" cy="1587"/>
        </p:xfrm>
        <a:graphic>
          <a:graphicData uri="http://schemas.openxmlformats.org/presentationml/2006/ole">
            <p:oleObj spid="_x0000_s172103" name="think-cell Slide" r:id="rId6" imgW="360" imgH="360" progId="">
              <p:embed/>
            </p:oleObj>
          </a:graphicData>
        </a:graphic>
      </p:graphicFrame>
      <p:sp>
        <p:nvSpPr>
          <p:cNvPr id="9218" name="FilePath" hidden="1"/>
          <p:cNvSpPr txBox="1">
            <a:spLocks noChangeArrowheads="1"/>
          </p:cNvSpPr>
          <p:nvPr/>
        </p:nvSpPr>
        <p:spPr bwMode="auto">
          <a:xfrm>
            <a:off x="4103079" y="127000"/>
            <a:ext cx="4689231" cy="146258"/>
          </a:xfrm>
          <a:prstGeom prst="rect">
            <a:avLst/>
          </a:prstGeom>
          <a:noFill/>
          <a:ln w="3175" algn="ctr">
            <a:noFill/>
            <a:miter lim="800000"/>
            <a:headEnd/>
            <a:tailEnd/>
          </a:ln>
        </p:spPr>
        <p:txBody>
          <a:bodyPr lIns="17996" tIns="17996" rIns="17996" bIns="17996">
            <a:spAutoFit/>
          </a:bodyPr>
          <a:lstStyle/>
          <a:p>
            <a:pPr algn="r"/>
            <a:r>
              <a:rPr lang="en-GB" sz="700" dirty="0">
                <a:solidFill>
                  <a:srgbClr val="BEBEBE"/>
                </a:solidFill>
              </a:rPr>
              <a:t>G:\1022_TEMELIN_11264\03 Presentations\120118 Kick-off\2012 01 26 </a:t>
            </a:r>
            <a:r>
              <a:rPr lang="en-GB" sz="700" dirty="0" err="1">
                <a:solidFill>
                  <a:srgbClr val="BEBEBE"/>
                </a:solidFill>
              </a:rPr>
              <a:t>Temelin</a:t>
            </a:r>
            <a:r>
              <a:rPr lang="en-GB" sz="700" dirty="0">
                <a:solidFill>
                  <a:srgbClr val="BEBEBE"/>
                </a:solidFill>
              </a:rPr>
              <a:t> - kick-off_v6.ppt</a:t>
            </a:r>
          </a:p>
        </p:txBody>
      </p:sp>
      <p:sp>
        <p:nvSpPr>
          <p:cNvPr id="7" name="Text Placeholder 9"/>
          <p:cNvSpPr txBox="1">
            <a:spLocks/>
          </p:cNvSpPr>
          <p:nvPr/>
        </p:nvSpPr>
        <p:spPr bwMode="gray">
          <a:xfrm>
            <a:off x="133164" y="350896"/>
            <a:ext cx="8940985" cy="58261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lnSpcReduction="10000"/>
          </a:bodyPr>
          <a:lstStyle>
            <a:lvl1pPr marL="0" indent="0" algn="l" defTabSz="91323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2" indent="0" algn="r" rtl="1">
              <a:buFont typeface="Arial" charset="0"/>
              <a:buNone/>
              <a:tabLst>
                <a:tab pos="4306888" algn="l"/>
              </a:tabLst>
            </a:pPr>
            <a:r>
              <a:rPr lang="ar-TN" sz="2200" b="1" dirty="0" smtClean="0">
                <a:solidFill>
                  <a:srgbClr val="E51B2E"/>
                </a:solidFill>
                <a:latin typeface="Simplified Arabic" pitchFamily="18" charset="-78"/>
                <a:cs typeface="Simplified Arabic" pitchFamily="18" charset="-78"/>
              </a:rPr>
              <a:t>منوال النموّ لسنة </a:t>
            </a:r>
            <a:r>
              <a:rPr lang="ar-TN" sz="2000" b="1" dirty="0">
                <a:solidFill>
                  <a:srgbClr val="E51B2E"/>
                </a:solidFill>
                <a:latin typeface="Times New Roman" panose="02020603050405020304" pitchFamily="18" charset="0"/>
                <a:cs typeface="Times New Roman" panose="02020603050405020304" pitchFamily="18" charset="0"/>
              </a:rPr>
              <a:t>2020</a:t>
            </a:r>
            <a:endParaRPr lang="ar-TN" sz="2400" b="1" dirty="0">
              <a:solidFill>
                <a:srgbClr val="E51B2E"/>
              </a:solidFill>
              <a:latin typeface="Times New Roman" panose="02020603050405020304" pitchFamily="18" charset="0"/>
              <a:cs typeface="Times New Roman" panose="02020603050405020304" pitchFamily="18" charset="0"/>
            </a:endParaRPr>
          </a:p>
          <a:p>
            <a:pPr marL="0" lvl="2" indent="0">
              <a:buNone/>
              <a:tabLst>
                <a:tab pos="4306888" algn="l"/>
              </a:tabLst>
            </a:pPr>
            <a:r>
              <a:rPr lang="ar-TN" sz="1800" b="1" kern="0" dirty="0">
                <a:latin typeface="Simplified Arabic" panose="02020603050405020304" pitchFamily="18" charset="-78"/>
                <a:cs typeface="Simplified Arabic" panose="02020603050405020304" pitchFamily="18" charset="-78"/>
              </a:rPr>
              <a:t>محاور السياسات والاستراتيجيات القطاعية</a:t>
            </a:r>
            <a:endParaRPr lang="ar-JO" sz="1800" b="1" kern="0" dirty="0">
              <a:latin typeface="Simplified Arabic" panose="02020603050405020304" pitchFamily="18" charset="-78"/>
              <a:cs typeface="Simplified Arabic" panose="02020603050405020304" pitchFamily="18" charset="-78"/>
            </a:endParaRPr>
          </a:p>
          <a:p>
            <a:pPr marL="0" lvl="2" indent="0">
              <a:buNone/>
              <a:tabLst>
                <a:tab pos="4306888" algn="l"/>
              </a:tabLst>
            </a:pPr>
            <a:endParaRPr lang="ar-TN" sz="1700" b="1" dirty="0">
              <a:latin typeface="Simplified Arabic" pitchFamily="18" charset="-78"/>
              <a:cs typeface="Simplified Arabic" pitchFamily="18" charset="-78"/>
            </a:endParaRPr>
          </a:p>
        </p:txBody>
      </p:sp>
      <p:sp>
        <p:nvSpPr>
          <p:cNvPr id="9" name="ZoneTexte 8"/>
          <p:cNvSpPr txBox="1"/>
          <p:nvPr/>
        </p:nvSpPr>
        <p:spPr>
          <a:xfrm>
            <a:off x="501796" y="1302589"/>
            <a:ext cx="7806906" cy="4313207"/>
          </a:xfrm>
          <a:prstGeom prst="rect">
            <a:avLst/>
          </a:prstGeom>
          <a:ln w="12700">
            <a:solidFill>
              <a:srgbClr val="C00000"/>
            </a:solidFill>
            <a:headEnd/>
            <a:tailEnd/>
          </a:ln>
          <a:extLst/>
        </p:spPr>
        <p:style>
          <a:lnRef idx="2">
            <a:schemeClr val="accent4"/>
          </a:lnRef>
          <a:fillRef idx="1">
            <a:schemeClr val="lt1"/>
          </a:fillRef>
          <a:effectRef idx="0">
            <a:schemeClr val="accent4"/>
          </a:effectRef>
          <a:fontRef idx="minor">
            <a:schemeClr val="dk1"/>
          </a:fontRef>
        </p:style>
        <p:txBody>
          <a:bodyPr vert="horz" wrap="square" lIns="76200" tIns="76200" rIns="76200" bIns="76200" numCol="1" rtlCol="0" anchor="t" anchorCtr="0" compatLnSpc="1">
            <a:prstTxWarp prst="textNoShape">
              <a:avLst/>
            </a:prstTxWarp>
            <a:noAutofit/>
          </a:bodyPr>
          <a:lstStyle/>
          <a:p>
            <a:pPr algn="just" rtl="1">
              <a:lnSpc>
                <a:spcPct val="114000"/>
              </a:lnSpc>
              <a:spcBef>
                <a:spcPts val="600"/>
              </a:spcBef>
              <a:spcAft>
                <a:spcPts val="600"/>
              </a:spcAft>
              <a:buClr>
                <a:srgbClr val="FF0000"/>
              </a:buClr>
              <a:buSzPct val="80000"/>
            </a:pPr>
            <a:r>
              <a:rPr lang="ar-TN" sz="2000" b="1" dirty="0" smtClean="0">
                <a:solidFill>
                  <a:schemeClr val="accent4"/>
                </a:solidFill>
                <a:latin typeface="Simplified Arabic" pitchFamily="18" charset="-78"/>
                <a:cs typeface="Simplified Arabic" pitchFamily="18" charset="-78"/>
              </a:rPr>
              <a:t>قطاع الخدمات:</a:t>
            </a:r>
          </a:p>
          <a:p>
            <a:pPr marL="800100" lvl="1" indent="-342900" algn="just" rtl="1">
              <a:lnSpc>
                <a:spcPct val="114000"/>
              </a:lnSpc>
              <a:spcBef>
                <a:spcPts val="600"/>
              </a:spcBef>
              <a:spcAft>
                <a:spcPts val="600"/>
              </a:spcAft>
              <a:buClr>
                <a:srgbClr val="FF0000"/>
              </a:buClr>
              <a:buSzPct val="80000"/>
              <a:buFont typeface="Symbol" panose="05050102010706020507" pitchFamily="18" charset="2"/>
              <a:buChar char="-"/>
            </a:pPr>
            <a:r>
              <a:rPr lang="ar-TN" sz="2000" b="1" dirty="0" smtClean="0">
                <a:latin typeface="Simplified Arabic" pitchFamily="18" charset="-78"/>
                <a:cs typeface="Simplified Arabic" pitchFamily="18" charset="-78"/>
              </a:rPr>
              <a:t>مواصلة دعم النشاط السياحي بتأهيل الوحدات السياحية والرفع من طاقة الاستيعاب.</a:t>
            </a:r>
          </a:p>
          <a:p>
            <a:pPr marL="800100" lvl="1" indent="-342900" algn="just" rtl="1">
              <a:lnSpc>
                <a:spcPct val="114000"/>
              </a:lnSpc>
              <a:spcBef>
                <a:spcPts val="600"/>
              </a:spcBef>
              <a:spcAft>
                <a:spcPts val="600"/>
              </a:spcAft>
              <a:buClr>
                <a:srgbClr val="FF0000"/>
              </a:buClr>
              <a:buSzPct val="80000"/>
              <a:buFont typeface="Symbol" panose="05050102010706020507" pitchFamily="18" charset="2"/>
              <a:buChar char="-"/>
            </a:pPr>
            <a:r>
              <a:rPr lang="ar-TN" sz="2000" b="1" dirty="0" smtClean="0">
                <a:latin typeface="Simplified Arabic" pitchFamily="18" charset="-78"/>
                <a:cs typeface="Simplified Arabic" pitchFamily="18" charset="-78"/>
              </a:rPr>
              <a:t>مزيد دفع خدمات الاتصالات والتكنولوجيات الحديثة.</a:t>
            </a:r>
            <a:endParaRPr lang="ar-TN" sz="2000" b="1" dirty="0">
              <a:latin typeface="Simplified Arabic" pitchFamily="18" charset="-78"/>
              <a:cs typeface="Simplified Arabic" pitchFamily="18" charset="-78"/>
            </a:endParaRPr>
          </a:p>
          <a:p>
            <a:pPr marL="800100" lvl="1" indent="-342900" algn="just" rtl="1">
              <a:lnSpc>
                <a:spcPct val="114000"/>
              </a:lnSpc>
              <a:spcBef>
                <a:spcPts val="600"/>
              </a:spcBef>
              <a:spcAft>
                <a:spcPts val="600"/>
              </a:spcAft>
              <a:buClr>
                <a:srgbClr val="FF0000"/>
              </a:buClr>
              <a:buSzPct val="80000"/>
              <a:buFont typeface="Symbol" panose="05050102010706020507" pitchFamily="18" charset="2"/>
              <a:buChar char="-"/>
            </a:pPr>
            <a:r>
              <a:rPr lang="ar-TN" sz="2000" b="1" dirty="0" smtClean="0">
                <a:latin typeface="Simplified Arabic" pitchFamily="18" charset="-78"/>
                <a:cs typeface="Simplified Arabic" pitchFamily="18" charset="-78"/>
              </a:rPr>
              <a:t>وضع </a:t>
            </a:r>
            <a:r>
              <a:rPr lang="ar-TN" sz="2000" b="1" dirty="0">
                <a:latin typeface="Simplified Arabic" pitchFamily="18" charset="-78"/>
                <a:cs typeface="Simplified Arabic" pitchFamily="18" charset="-78"/>
              </a:rPr>
              <a:t>منظومة نقل حضري ناجعة واعداد </a:t>
            </a:r>
            <a:r>
              <a:rPr lang="ar-TN" sz="2000" b="1" dirty="0" smtClean="0">
                <a:latin typeface="Simplified Arabic" pitchFamily="18" charset="-78"/>
                <a:cs typeface="Simplified Arabic" pitchFamily="18" charset="-78"/>
              </a:rPr>
              <a:t>برامج لإعادة هيكلة شركات النقل بمختلف مكوناتها</a:t>
            </a:r>
            <a:r>
              <a:rPr lang="fr-FR" sz="2000" b="1" dirty="0" smtClean="0">
                <a:latin typeface="Simplified Arabic" pitchFamily="18" charset="-78"/>
                <a:cs typeface="Simplified Arabic" pitchFamily="18" charset="-78"/>
              </a:rPr>
              <a:t>.</a:t>
            </a:r>
            <a:endParaRPr lang="ar-TN" sz="2000" b="1" dirty="0" smtClean="0">
              <a:latin typeface="Simplified Arabic" pitchFamily="18" charset="-78"/>
              <a:cs typeface="Simplified Arabic" pitchFamily="18" charset="-78"/>
            </a:endParaRPr>
          </a:p>
          <a:p>
            <a:pPr marL="800100" lvl="1" indent="-342900" algn="just" rtl="1">
              <a:lnSpc>
                <a:spcPct val="114000"/>
              </a:lnSpc>
              <a:spcBef>
                <a:spcPts val="600"/>
              </a:spcBef>
              <a:spcAft>
                <a:spcPts val="600"/>
              </a:spcAft>
              <a:buClr>
                <a:srgbClr val="FF0000"/>
              </a:buClr>
              <a:buSzPct val="80000"/>
              <a:buFont typeface="Symbol" panose="05050102010706020507" pitchFamily="18" charset="2"/>
              <a:buChar char="-"/>
            </a:pPr>
            <a:r>
              <a:rPr lang="ar-TN" sz="2000" b="1" dirty="0" smtClean="0">
                <a:latin typeface="Simplified Arabic" pitchFamily="18" charset="-78"/>
                <a:cs typeface="Simplified Arabic" pitchFamily="18" charset="-78"/>
              </a:rPr>
              <a:t>التقدم في تنفيذ المشاريع المتعلقة بالخدمات اللوجستية خاصة بميناء رادس ومطار تونس قرطاج.</a:t>
            </a:r>
          </a:p>
          <a:p>
            <a:pPr marL="800100" lvl="1" indent="-342900" algn="just" rtl="1">
              <a:lnSpc>
                <a:spcPct val="114000"/>
              </a:lnSpc>
              <a:spcBef>
                <a:spcPts val="600"/>
              </a:spcBef>
              <a:spcAft>
                <a:spcPts val="600"/>
              </a:spcAft>
              <a:buClr>
                <a:srgbClr val="FF0000"/>
              </a:buClr>
              <a:buSzPct val="80000"/>
              <a:buFont typeface="Symbol" panose="05050102010706020507" pitchFamily="18" charset="2"/>
              <a:buChar char="-"/>
            </a:pPr>
            <a:r>
              <a:rPr lang="ar-TN" sz="2000" b="1" dirty="0" smtClean="0">
                <a:latin typeface="Simplified Arabic" pitchFamily="18" charset="-78"/>
                <a:cs typeface="Simplified Arabic" pitchFamily="18" charset="-78"/>
              </a:rPr>
              <a:t>مواصلة تطوير القطاع التجاري (المساحات الكبرى، التجارة </a:t>
            </a:r>
            <a:r>
              <a:rPr lang="ar-TN" sz="2000" b="1" dirty="0" err="1" smtClean="0">
                <a:latin typeface="Simplified Arabic" pitchFamily="18" charset="-78"/>
                <a:cs typeface="Simplified Arabic" pitchFamily="18" charset="-78"/>
              </a:rPr>
              <a:t>الإلكترونية....).</a:t>
            </a:r>
            <a:endParaRPr lang="ar-TN" sz="2000" b="1" dirty="0">
              <a:latin typeface="Simplified Arabic" pitchFamily="18" charset="-78"/>
              <a:cs typeface="Simplified Arabic" pitchFamily="18" charset="-78"/>
            </a:endParaRPr>
          </a:p>
          <a:p>
            <a:pPr marL="180975" indent="-180975" algn="r" rtl="1">
              <a:lnSpc>
                <a:spcPct val="114000"/>
              </a:lnSpc>
              <a:spcBef>
                <a:spcPts val="600"/>
              </a:spcBef>
              <a:spcAft>
                <a:spcPts val="600"/>
              </a:spcAft>
              <a:buClr>
                <a:srgbClr val="FF0000"/>
              </a:buClr>
              <a:buSzPct val="80000"/>
              <a:buFont typeface="Arial" pitchFamily="34" charset="0"/>
              <a:buChar char="•"/>
            </a:pPr>
            <a:endParaRPr lang="fr-FR" sz="1600" b="1" dirty="0" smtClean="0">
              <a:latin typeface="Simplified Arabic" pitchFamily="18" charset="-78"/>
              <a:cs typeface="Simplified Arabic" pitchFamily="18" charset="-78"/>
            </a:endParaRPr>
          </a:p>
          <a:p>
            <a:pPr marL="180975" indent="-180975" algn="just" rtl="1">
              <a:lnSpc>
                <a:spcPct val="114000"/>
              </a:lnSpc>
              <a:spcBef>
                <a:spcPts val="600"/>
              </a:spcBef>
              <a:spcAft>
                <a:spcPts val="600"/>
              </a:spcAft>
              <a:buClr>
                <a:srgbClr val="FF0000"/>
              </a:buClr>
              <a:buSzPct val="80000"/>
              <a:buFont typeface="Arial" pitchFamily="34" charset="0"/>
              <a:buChar char="•"/>
            </a:pPr>
            <a:endParaRPr lang="fr-FR" sz="1600" b="1" dirty="0" smtClean="0">
              <a:latin typeface="Simplified Arabic" pitchFamily="18" charset="-78"/>
              <a:cs typeface="Simplified Arabic" pitchFamily="18" charset="-78"/>
            </a:endParaRPr>
          </a:p>
          <a:p>
            <a:pPr marL="180975" indent="-180975" algn="just" rtl="1">
              <a:lnSpc>
                <a:spcPct val="114000"/>
              </a:lnSpc>
              <a:spcBef>
                <a:spcPts val="600"/>
              </a:spcBef>
              <a:spcAft>
                <a:spcPts val="600"/>
              </a:spcAft>
              <a:buClr>
                <a:srgbClr val="FF0000"/>
              </a:buClr>
              <a:buSzPct val="80000"/>
              <a:buFont typeface="Arial" pitchFamily="34" charset="0"/>
              <a:buChar char="•"/>
            </a:pPr>
            <a:endParaRPr lang="ar-TN" sz="1600" b="1" dirty="0">
              <a:latin typeface="Simplified Arabic" pitchFamily="18" charset="-78"/>
              <a:cs typeface="Simplified Arabic" pitchFamily="18" charset="-78"/>
            </a:endParaRPr>
          </a:p>
        </p:txBody>
      </p:sp>
    </p:spTree>
    <p:custDataLst>
      <p:tags r:id="rId2"/>
    </p:custDataLst>
    <p:extLst>
      <p:ext uri="{BB962C8B-B14F-4D97-AF65-F5344CB8AC3E}">
        <p14:creationId xmlns:p14="http://schemas.microsoft.com/office/powerpoint/2010/main" xmlns="" val="121298298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317242" y="1362967"/>
            <a:ext cx="8584162" cy="4468484"/>
          </a:xfrm>
          <a:prstGeom prst="rect">
            <a:avLst/>
          </a:prstGeom>
          <a:ln w="12700">
            <a:solidFill>
              <a:srgbClr val="C00000"/>
            </a:solidFill>
            <a:headEnd/>
            <a:tailEnd/>
          </a:ln>
          <a:extLst/>
        </p:spPr>
        <p:style>
          <a:lnRef idx="2">
            <a:schemeClr val="accent4"/>
          </a:lnRef>
          <a:fillRef idx="1">
            <a:schemeClr val="lt1"/>
          </a:fillRef>
          <a:effectRef idx="0">
            <a:schemeClr val="accent4"/>
          </a:effectRef>
          <a:fontRef idx="minor">
            <a:schemeClr val="dk1"/>
          </a:fontRef>
        </p:style>
        <p:txBody>
          <a:bodyPr vert="horz" wrap="square" lIns="76200" tIns="76200" rIns="76200" bIns="76200" numCol="1" rtlCol="0" anchor="t" anchorCtr="0" compatLnSpc="1">
            <a:prstTxWarp prst="textNoShape">
              <a:avLst/>
            </a:prstTxWarp>
            <a:noAutofit/>
          </a:bodyPr>
          <a:lstStyle>
            <a:defPPr>
              <a:defRPr lang="en-US"/>
            </a:defPPr>
            <a:lvl1pPr marL="180975" indent="-180975" algn="just" rtl="1">
              <a:lnSpc>
                <a:spcPct val="114000"/>
              </a:lnSpc>
              <a:spcBef>
                <a:spcPts val="600"/>
              </a:spcBef>
              <a:spcAft>
                <a:spcPts val="600"/>
              </a:spcAft>
              <a:buClr>
                <a:srgbClr val="FF0000"/>
              </a:buClr>
              <a:buSzPct val="80000"/>
              <a:buFont typeface="Arial" pitchFamily="34" charset="0"/>
              <a:buChar char="•"/>
              <a:defRPr sz="1600" b="1">
                <a:solidFill>
                  <a:schemeClr val="dk1"/>
                </a:solidFill>
                <a:latin typeface="Simplified Arabic" pitchFamily="18" charset="-78"/>
                <a:ea typeface="+mn-ea"/>
                <a:cs typeface="Simplified Arabic" pitchFamily="18" charset="-78"/>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r>
              <a:rPr lang="ar-TN" sz="1800" dirty="0" smtClean="0"/>
              <a:t>مواصلة </a:t>
            </a:r>
            <a:r>
              <a:rPr lang="ar-SA" sz="1800" dirty="0"/>
              <a:t>تنفيذ برنامج التقليص من التراخيص الإدارية وتراخيص الأنشطة الاقتصادية وتبسيط إجراءات إحداث المؤسسات والمشاريع</a:t>
            </a:r>
            <a:r>
              <a:rPr lang="ar-SA" sz="1800" dirty="0" smtClean="0"/>
              <a:t>.</a:t>
            </a:r>
            <a:endParaRPr lang="ar-SA" sz="1800" dirty="0"/>
          </a:p>
          <a:p>
            <a:r>
              <a:rPr lang="ar-TN" sz="1800" dirty="0" smtClean="0"/>
              <a:t>دفع مشاريع الشراكة </a:t>
            </a:r>
            <a:r>
              <a:rPr lang="ar-TN" sz="1800" dirty="0"/>
              <a:t>بين القطاعين العام </a:t>
            </a:r>
            <a:r>
              <a:rPr lang="ar-TN" sz="1800" dirty="0" smtClean="0"/>
              <a:t>والخاص على مستوى القطاعات الاستراتيجية.</a:t>
            </a:r>
          </a:p>
          <a:p>
            <a:r>
              <a:rPr lang="ar-TN" sz="1800" dirty="0" smtClean="0"/>
              <a:t>الانطلاق في انجاز مشاريع الشراكة في الطاقات المتجددة (4 مشاريع بقدرة جملية تناهز 500 </a:t>
            </a:r>
            <a:r>
              <a:rPr lang="ar-TN" sz="1800" dirty="0" err="1" smtClean="0"/>
              <a:t>ميقاواط</a:t>
            </a:r>
            <a:r>
              <a:rPr lang="ar-TN" sz="1800" dirty="0" smtClean="0"/>
              <a:t>)</a:t>
            </a:r>
            <a:endParaRPr lang="fr-FR" sz="1800" dirty="0"/>
          </a:p>
          <a:p>
            <a:r>
              <a:rPr lang="ar-TN" sz="1800" dirty="0" smtClean="0"/>
              <a:t>مزيد </a:t>
            </a:r>
            <a:r>
              <a:rPr lang="ar-TN" sz="1800" dirty="0"/>
              <a:t>تيسير نفاذ الباعثين للتمويل بتنشيط الصناديق الاستثمارية </a:t>
            </a:r>
            <a:r>
              <a:rPr lang="ar-TN" sz="1800" dirty="0" smtClean="0"/>
              <a:t>بما في ذلك تفعيل صندوق الصناديق والصندوق التونسي للاستثمار وبنك </a:t>
            </a:r>
            <a:r>
              <a:rPr lang="ar-TN" sz="1800" dirty="0"/>
              <a:t>الجهات</a:t>
            </a:r>
            <a:r>
              <a:rPr lang="ar-TN" sz="1800" dirty="0" smtClean="0"/>
              <a:t>.</a:t>
            </a:r>
          </a:p>
          <a:p>
            <a:r>
              <a:rPr lang="ar-TN" sz="1800" dirty="0"/>
              <a:t>تدعيم الجاهزية التكنولوجية وتطوير مجالات الاقتصاد الرقمي</a:t>
            </a:r>
            <a:r>
              <a:rPr lang="fr-FR" sz="1800" dirty="0" smtClean="0"/>
              <a:t>.</a:t>
            </a:r>
            <a:endParaRPr lang="ar-SA" sz="1800" dirty="0"/>
          </a:p>
          <a:p>
            <a:r>
              <a:rPr lang="ar-TN" sz="1800" dirty="0" smtClean="0"/>
              <a:t>مواصلة </a:t>
            </a:r>
            <a:r>
              <a:rPr lang="ar-SA" sz="1800" dirty="0" smtClean="0"/>
              <a:t>تنفيذ </a:t>
            </a:r>
            <a:r>
              <a:rPr lang="ar-SA" sz="1800" dirty="0"/>
              <a:t>مخطط العمل المتعلق </a:t>
            </a:r>
            <a:r>
              <a:rPr lang="ar-TN" sz="1800" dirty="0" smtClean="0"/>
              <a:t>ب</a:t>
            </a:r>
            <a:r>
              <a:rPr lang="ar-SA" sz="1800" dirty="0" smtClean="0"/>
              <a:t>تحسين </a:t>
            </a:r>
            <a:r>
              <a:rPr lang="ar-SA" sz="1800" dirty="0"/>
              <a:t>التصنيف الدولي لتونس </a:t>
            </a:r>
            <a:r>
              <a:rPr lang="ar-TN" sz="1800" dirty="0" smtClean="0"/>
              <a:t>ضمن </a:t>
            </a:r>
            <a:r>
              <a:rPr lang="ar-SA" sz="1800" dirty="0" smtClean="0"/>
              <a:t>تقرير </a:t>
            </a:r>
            <a:r>
              <a:rPr lang="ar-SA" sz="1800" dirty="0"/>
              <a:t>ممارسة أنشطة </a:t>
            </a:r>
            <a:r>
              <a:rPr lang="ar-SA" sz="1800" dirty="0" smtClean="0"/>
              <a:t>الأعمال</a:t>
            </a:r>
            <a:r>
              <a:rPr lang="ar-TN" sz="1800" dirty="0" smtClean="0"/>
              <a:t> ودعم جاذبيتها لاستقطاب الاستثمارات الخارجية</a:t>
            </a:r>
            <a:r>
              <a:rPr lang="ar-SA" sz="1800" dirty="0" smtClean="0"/>
              <a:t>.</a:t>
            </a:r>
            <a:endParaRPr lang="ar-SA" sz="1800" dirty="0"/>
          </a:p>
          <a:p>
            <a:r>
              <a:rPr lang="ar-SA" sz="1800" dirty="0"/>
              <a:t>تسريع نسق </a:t>
            </a:r>
            <a:r>
              <a:rPr lang="ar-SA" sz="1800" dirty="0" err="1"/>
              <a:t>رقمنة</a:t>
            </a:r>
            <a:r>
              <a:rPr lang="ar-SA" sz="1800" dirty="0"/>
              <a:t> الخدمات المسداة للمستثمرين </a:t>
            </a:r>
            <a:r>
              <a:rPr lang="ar-SA" sz="1800" dirty="0" smtClean="0"/>
              <a:t>من </a:t>
            </a:r>
            <a:r>
              <a:rPr lang="ar-SA" sz="1800" dirty="0"/>
              <a:t>خلال الشروع في إنجاز الدراسات المبرمجة في إطار برنامج تحدي الألفية </a:t>
            </a:r>
            <a:r>
              <a:rPr lang="fr-FR" sz="1800" dirty="0"/>
              <a:t>MCC </a:t>
            </a:r>
            <a:r>
              <a:rPr lang="ar-SA" sz="1800" dirty="0"/>
              <a:t> لتركيز نظام معلوماتي مندمج للخدمات الموجهة للمستثمرين بين مختلف الهياكل المتدخلة.</a:t>
            </a:r>
          </a:p>
          <a:p>
            <a:endParaRPr lang="ar-SA" dirty="0"/>
          </a:p>
        </p:txBody>
      </p:sp>
      <p:sp>
        <p:nvSpPr>
          <p:cNvPr id="4" name="ZoneTexte 3"/>
          <p:cNvSpPr txBox="1"/>
          <p:nvPr/>
        </p:nvSpPr>
        <p:spPr>
          <a:xfrm>
            <a:off x="474452" y="205273"/>
            <a:ext cx="8601770" cy="717753"/>
          </a:xfrm>
          <a:prstGeom prst="rect">
            <a:avLst/>
          </a:prstGeom>
          <a:noFill/>
          <a:ln w="9525">
            <a:solidFill>
              <a:schemeClr val="bg1"/>
            </a:solid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r" rtl="1"/>
            <a:r>
              <a:rPr lang="ar-TN" sz="2200" b="1" kern="0" dirty="0">
                <a:solidFill>
                  <a:srgbClr val="FF0000"/>
                </a:solidFill>
                <a:latin typeface="Simplified Arabic" pitchFamily="18" charset="-78"/>
                <a:cs typeface="Simplified Arabic" pitchFamily="18" charset="-78"/>
              </a:rPr>
              <a:t>توجهات </a:t>
            </a:r>
            <a:r>
              <a:rPr lang="ar-SA" sz="2200" b="1" kern="0" dirty="0" smtClean="0">
                <a:solidFill>
                  <a:srgbClr val="FF0000"/>
                </a:solidFill>
                <a:latin typeface="Simplified Arabic" pitchFamily="18" charset="-78"/>
                <a:cs typeface="Simplified Arabic" pitchFamily="18" charset="-78"/>
              </a:rPr>
              <a:t>سنة </a:t>
            </a:r>
            <a:r>
              <a:rPr lang="ar-SA" sz="2000" b="1" kern="0" dirty="0" smtClean="0">
                <a:solidFill>
                  <a:srgbClr val="FF0000"/>
                </a:solidFill>
                <a:latin typeface="Times New Roman" panose="02020603050405020304" pitchFamily="18" charset="0"/>
                <a:cs typeface="Times New Roman" panose="02020603050405020304" pitchFamily="18" charset="0"/>
              </a:rPr>
              <a:t>2020</a:t>
            </a:r>
            <a:r>
              <a:rPr lang="ar-SA" sz="2200" b="1" kern="0" dirty="0" smtClean="0">
                <a:solidFill>
                  <a:srgbClr val="FF0000"/>
                </a:solidFill>
                <a:latin typeface="Simplified Arabic" pitchFamily="18" charset="-78"/>
                <a:cs typeface="Simplified Arabic" pitchFamily="18" charset="-78"/>
              </a:rPr>
              <a:t> </a:t>
            </a:r>
            <a:endParaRPr lang="ar-TN" sz="2200" b="1" kern="0" dirty="0" smtClean="0">
              <a:solidFill>
                <a:srgbClr val="FF0000"/>
              </a:solidFill>
              <a:latin typeface="Simplified Arabic" pitchFamily="18" charset="-78"/>
              <a:cs typeface="Simplified Arabic" pitchFamily="18" charset="-78"/>
            </a:endParaRPr>
          </a:p>
          <a:p>
            <a:pPr rtl="1"/>
            <a:r>
              <a:rPr lang="ar-SA" b="1" dirty="0" smtClean="0">
                <a:solidFill>
                  <a:schemeClr val="bg1"/>
                </a:solidFill>
                <a:latin typeface="Simplified Arabic" pitchFamily="18" charset="-78"/>
                <a:cs typeface="Simplified Arabic" pitchFamily="18" charset="-78"/>
              </a:rPr>
              <a:t> </a:t>
            </a:r>
            <a:r>
              <a:rPr lang="ar-TN" b="1" kern="0" dirty="0" smtClean="0">
                <a:latin typeface="Simplified Arabic" panose="02020603050405020304" pitchFamily="18" charset="-78"/>
                <a:cs typeface="Simplified Arabic" panose="02020603050405020304" pitchFamily="18" charset="-78"/>
              </a:rPr>
              <a:t>مزيد تحسين مناخ الاعمال </a:t>
            </a:r>
            <a:r>
              <a:rPr lang="ar-TN" b="1" dirty="0">
                <a:latin typeface="Simplified Arabic" pitchFamily="18" charset="-78"/>
                <a:cs typeface="Simplified Arabic" pitchFamily="18" charset="-78"/>
              </a:rPr>
              <a:t>وتعزيز التنافسية</a:t>
            </a:r>
            <a:endParaRPr lang="fr-FR" b="1" dirty="0">
              <a:latin typeface="Simplified Arabic" panose="02020603050405020304" pitchFamily="18" charset="-78"/>
              <a:cs typeface="Simplified Arabic" panose="02020603050405020304" pitchFamily="18" charset="-78"/>
            </a:endParaRPr>
          </a:p>
          <a:p>
            <a:pPr rtl="1"/>
            <a:endParaRPr lang="fr-FR" b="1" kern="0" dirty="0">
              <a:latin typeface="Simplified Arabic" panose="02020603050405020304" pitchFamily="18" charset="-78"/>
              <a:cs typeface="Simplified Arabic" panose="02020603050405020304" pitchFamily="18" charset="-78"/>
            </a:endParaRPr>
          </a:p>
        </p:txBody>
      </p:sp>
    </p:spTree>
    <p:extLst>
      <p:ext uri="{BB962C8B-B14F-4D97-AF65-F5344CB8AC3E}">
        <p14:creationId xmlns:p14="http://schemas.microsoft.com/office/powerpoint/2010/main" xmlns="" val="410345455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p:oleObj spid="_x0000_s173127" name="think-cell Slide" r:id="rId5" imgW="360" imgH="360" progId="">
              <p:embed/>
            </p:oleObj>
          </a:graphicData>
        </a:graphic>
      </p:graphicFrame>
      <p:sp>
        <p:nvSpPr>
          <p:cNvPr id="7" name="ZoneTexte 6"/>
          <p:cNvSpPr txBox="1"/>
          <p:nvPr/>
        </p:nvSpPr>
        <p:spPr>
          <a:xfrm>
            <a:off x="626298" y="1414732"/>
            <a:ext cx="7806906" cy="3873261"/>
          </a:xfrm>
          <a:prstGeom prst="rect">
            <a:avLst/>
          </a:prstGeom>
          <a:ln w="12700">
            <a:solidFill>
              <a:srgbClr val="C00000"/>
            </a:solidFill>
            <a:headEnd/>
            <a:tailEnd/>
          </a:ln>
          <a:extLst/>
        </p:spPr>
        <p:style>
          <a:lnRef idx="2">
            <a:schemeClr val="accent4"/>
          </a:lnRef>
          <a:fillRef idx="1">
            <a:schemeClr val="lt1"/>
          </a:fillRef>
          <a:effectRef idx="0">
            <a:schemeClr val="accent4"/>
          </a:effectRef>
          <a:fontRef idx="minor">
            <a:schemeClr val="dk1"/>
          </a:fontRef>
        </p:style>
        <p:txBody>
          <a:bodyPr vert="horz" wrap="square" lIns="76200" tIns="76200" rIns="76200" bIns="76200" numCol="1" rtlCol="0" anchor="t" anchorCtr="0" compatLnSpc="1">
            <a:prstTxWarp prst="textNoShape">
              <a:avLst/>
            </a:prstTxWarp>
            <a:noAutofit/>
          </a:bodyPr>
          <a:lstStyle/>
          <a:p>
            <a:pPr marL="257175" indent="-257175" algn="just" rtl="1">
              <a:lnSpc>
                <a:spcPct val="150000"/>
              </a:lnSpc>
              <a:spcBef>
                <a:spcPts val="600"/>
              </a:spcBef>
              <a:spcAft>
                <a:spcPts val="600"/>
              </a:spcAft>
              <a:buClr>
                <a:srgbClr val="FF0000"/>
              </a:buClr>
              <a:buSzPct val="80000"/>
              <a:buFont typeface="Arial" pitchFamily="34" charset="0"/>
              <a:buChar char="•"/>
            </a:pPr>
            <a:r>
              <a:rPr lang="ar-TN" sz="2000" b="1" dirty="0" smtClean="0">
                <a:latin typeface="Simplified Arabic" pitchFamily="18" charset="-78"/>
                <a:cs typeface="Simplified Arabic" pitchFamily="18" charset="-78"/>
              </a:rPr>
              <a:t>تدعيم </a:t>
            </a:r>
            <a:r>
              <a:rPr lang="ar-TN" sz="2000" b="1" dirty="0">
                <a:latin typeface="Simplified Arabic" pitchFamily="18" charset="-78"/>
                <a:cs typeface="Simplified Arabic" pitchFamily="18" charset="-78"/>
              </a:rPr>
              <a:t>الانفتاح على السوق الافريقية بالانطلاق الفعلي في التبادل التجاري مع </a:t>
            </a:r>
            <a:r>
              <a:rPr lang="ar-TN" sz="2000" b="1" dirty="0" smtClean="0">
                <a:latin typeface="Simplified Arabic" pitchFamily="18" charset="-78"/>
                <a:cs typeface="Simplified Arabic" pitchFamily="18" charset="-78"/>
              </a:rPr>
              <a:t>دول ''</a:t>
            </a:r>
            <a:r>
              <a:rPr lang="ar-TN" sz="2000" b="1" dirty="0" err="1" smtClean="0">
                <a:latin typeface="Simplified Arabic" pitchFamily="18" charset="-78"/>
                <a:cs typeface="Simplified Arabic" pitchFamily="18" charset="-78"/>
              </a:rPr>
              <a:t>كوميسا</a:t>
            </a:r>
            <a:r>
              <a:rPr lang="ar-TN" sz="2000" b="1" dirty="0">
                <a:latin typeface="Simplified Arabic" pitchFamily="18" charset="-78"/>
                <a:cs typeface="Simplified Arabic" pitchFamily="18" charset="-78"/>
              </a:rPr>
              <a:t>"</a:t>
            </a:r>
            <a:r>
              <a:rPr lang="ar-TN" sz="2000" b="1" dirty="0" smtClean="0">
                <a:latin typeface="Simplified Arabic" pitchFamily="18" charset="-78"/>
                <a:cs typeface="Simplified Arabic" pitchFamily="18" charset="-78"/>
              </a:rPr>
              <a:t> (ضبط </a:t>
            </a:r>
            <a:r>
              <a:rPr lang="ar-TN" sz="2000" b="1" dirty="0">
                <a:latin typeface="Simplified Arabic" pitchFamily="18" charset="-78"/>
                <a:cs typeface="Simplified Arabic" pitchFamily="18" charset="-78"/>
              </a:rPr>
              <a:t>قائمة </a:t>
            </a:r>
            <a:r>
              <a:rPr lang="ar-TN" sz="2000" b="1" dirty="0" smtClean="0">
                <a:latin typeface="Simplified Arabic" pitchFamily="18" charset="-78"/>
                <a:cs typeface="Simplified Arabic" pitchFamily="18" charset="-78"/>
              </a:rPr>
              <a:t>المنتجات المصدرة وفتح </a:t>
            </a:r>
            <a:r>
              <a:rPr lang="ar-TN" sz="2000" b="1" dirty="0">
                <a:latin typeface="Simplified Arabic" pitchFamily="18" charset="-78"/>
                <a:cs typeface="Simplified Arabic" pitchFamily="18" charset="-78"/>
              </a:rPr>
              <a:t>ممثلية تجارية بزمبيا دولة </a:t>
            </a:r>
            <a:r>
              <a:rPr lang="ar-TN" sz="2000" b="1" dirty="0" smtClean="0">
                <a:latin typeface="Simplified Arabic" pitchFamily="18" charset="-78"/>
                <a:cs typeface="Simplified Arabic" pitchFamily="18" charset="-78"/>
              </a:rPr>
              <a:t>المقر).</a:t>
            </a:r>
          </a:p>
          <a:p>
            <a:pPr marL="257175" indent="-257175" algn="r" rtl="1">
              <a:lnSpc>
                <a:spcPct val="150000"/>
              </a:lnSpc>
              <a:buClr>
                <a:srgbClr val="FF0000"/>
              </a:buClr>
              <a:buFont typeface="Arial" panose="020B0604020202020204" pitchFamily="34" charset="0"/>
              <a:buChar char="•"/>
            </a:pPr>
            <a:r>
              <a:rPr lang="ar-TN" sz="2000" b="1" dirty="0" smtClean="0">
                <a:latin typeface="Simplified Arabic" pitchFamily="18" charset="-78"/>
                <a:cs typeface="Simplified Arabic" pitchFamily="18" charset="-78"/>
              </a:rPr>
              <a:t>التقدم </a:t>
            </a:r>
            <a:r>
              <a:rPr lang="ar-TN" sz="2000" b="1" dirty="0">
                <a:latin typeface="Simplified Arabic" pitchFamily="18" charset="-78"/>
                <a:cs typeface="Simplified Arabic" pitchFamily="18" charset="-78"/>
              </a:rPr>
              <a:t>في برنامج تسهيل الإجراءات التجارية </a:t>
            </a:r>
            <a:r>
              <a:rPr lang="ar-TN" sz="2000" b="1" dirty="0" smtClean="0">
                <a:latin typeface="Simplified Arabic" pitchFamily="18" charset="-78"/>
                <a:cs typeface="Simplified Arabic" pitchFamily="18" charset="-78"/>
              </a:rPr>
              <a:t>بحصر </a:t>
            </a:r>
            <a:r>
              <a:rPr lang="ar-TN" sz="2000" b="1" dirty="0">
                <a:latin typeface="Simplified Arabic" pitchFamily="18" charset="-78"/>
                <a:cs typeface="Simplified Arabic" pitchFamily="18" charset="-78"/>
              </a:rPr>
              <a:t>عدد </a:t>
            </a:r>
            <a:r>
              <a:rPr lang="ar-TN" sz="2000" b="1" dirty="0" smtClean="0">
                <a:latin typeface="Simplified Arabic" pitchFamily="18" charset="-78"/>
                <a:cs typeface="Simplified Arabic" pitchFamily="18" charset="-78"/>
              </a:rPr>
              <a:t>الإجراءات </a:t>
            </a:r>
            <a:r>
              <a:rPr lang="ar-TN" sz="2000" b="1" dirty="0">
                <a:latin typeface="Simplified Arabic" pitchFamily="18" charset="-78"/>
                <a:cs typeface="Simplified Arabic" pitchFamily="18" charset="-78"/>
              </a:rPr>
              <a:t>غير التعريفية عند التصدير والتوريد في حدود 7 إجراءات (في انتظار </a:t>
            </a:r>
            <a:r>
              <a:rPr lang="ar-TN" sz="2000" b="1" dirty="0" smtClean="0">
                <a:latin typeface="Simplified Arabic" pitchFamily="18" charset="-78"/>
                <a:cs typeface="Simplified Arabic" pitchFamily="18" charset="-78"/>
              </a:rPr>
              <a:t>تنقيح </a:t>
            </a:r>
            <a:r>
              <a:rPr lang="ar-TN" sz="2000" b="1" dirty="0">
                <a:latin typeface="Simplified Arabic" pitchFamily="18" charset="-78"/>
                <a:cs typeface="Simplified Arabic" pitchFamily="18" charset="-78"/>
              </a:rPr>
              <a:t>الأمر 1744 لسنة 1994). </a:t>
            </a:r>
          </a:p>
          <a:p>
            <a:pPr marL="257175" indent="-257175" algn="r" rtl="1">
              <a:lnSpc>
                <a:spcPct val="150000"/>
              </a:lnSpc>
              <a:buClr>
                <a:srgbClr val="FF0000"/>
              </a:buClr>
              <a:buFont typeface="Arial" panose="020B0604020202020204" pitchFamily="34" charset="0"/>
              <a:buChar char="•"/>
            </a:pPr>
            <a:r>
              <a:rPr lang="ar-TN" sz="2000" b="1" dirty="0" smtClean="0">
                <a:latin typeface="Simplified Arabic" pitchFamily="18" charset="-78"/>
                <a:cs typeface="Simplified Arabic" pitchFamily="18" charset="-78"/>
              </a:rPr>
              <a:t>تطوير أساليب المراقبة الديوانية بغرض تقليص </a:t>
            </a:r>
            <a:r>
              <a:rPr lang="ar-TN" sz="2000" b="1" dirty="0">
                <a:latin typeface="Simplified Arabic" pitchFamily="18" charset="-78"/>
                <a:cs typeface="Simplified Arabic" pitchFamily="18" charset="-78"/>
              </a:rPr>
              <a:t>آجال تسريح البضائع المعدة </a:t>
            </a:r>
            <a:r>
              <a:rPr lang="ar-TN" sz="2000" b="1" dirty="0" smtClean="0">
                <a:latin typeface="Simplified Arabic" pitchFamily="18" charset="-78"/>
                <a:cs typeface="Simplified Arabic" pitchFamily="18" charset="-78"/>
              </a:rPr>
              <a:t>للتصدير</a:t>
            </a:r>
            <a:r>
              <a:rPr lang="fr-FR" sz="2000" b="1" dirty="0" smtClean="0">
                <a:latin typeface="Simplified Arabic" pitchFamily="18" charset="-78"/>
                <a:cs typeface="Simplified Arabic" pitchFamily="18" charset="-78"/>
              </a:rPr>
              <a:t>.</a:t>
            </a:r>
            <a:endParaRPr lang="ar-TN" sz="2000" b="1" dirty="0" smtClean="0">
              <a:latin typeface="Simplified Arabic" pitchFamily="18" charset="-78"/>
              <a:cs typeface="Simplified Arabic" pitchFamily="18" charset="-78"/>
            </a:endParaRPr>
          </a:p>
          <a:p>
            <a:pPr marL="257175" indent="-257175" algn="r" rtl="1">
              <a:lnSpc>
                <a:spcPct val="150000"/>
              </a:lnSpc>
              <a:buClr>
                <a:srgbClr val="FF0000"/>
              </a:buClr>
              <a:buFont typeface="Arial" panose="020B0604020202020204" pitchFamily="34" charset="0"/>
              <a:buChar char="•"/>
            </a:pPr>
            <a:r>
              <a:rPr lang="ar-TN" sz="2000" b="1" dirty="0" smtClean="0">
                <a:latin typeface="Simplified Arabic" pitchFamily="18" charset="-78"/>
                <a:cs typeface="Simplified Arabic" pitchFamily="18" charset="-78"/>
              </a:rPr>
              <a:t>تنمية </a:t>
            </a:r>
            <a:r>
              <a:rPr lang="ar-TN" sz="2000" b="1" dirty="0">
                <a:latin typeface="Simplified Arabic" pitchFamily="18" charset="-78"/>
                <a:cs typeface="Simplified Arabic" pitchFamily="18" charset="-78"/>
              </a:rPr>
              <a:t>القدرات التصديرية للمؤسسات الصغرى والمتوسطة </a:t>
            </a:r>
            <a:r>
              <a:rPr lang="ar-TN" sz="2000" b="1" dirty="0" smtClean="0">
                <a:latin typeface="Simplified Arabic" pitchFamily="18" charset="-78"/>
                <a:cs typeface="Simplified Arabic" pitchFamily="18" charset="-78"/>
              </a:rPr>
              <a:t>لترويج منتوجاتها.</a:t>
            </a:r>
          </a:p>
          <a:p>
            <a:pPr marL="257175" indent="-257175" algn="r" rtl="1">
              <a:lnSpc>
                <a:spcPct val="150000"/>
              </a:lnSpc>
              <a:buClr>
                <a:srgbClr val="FF0000"/>
              </a:buClr>
              <a:buFont typeface="Arial" panose="020B0604020202020204" pitchFamily="34" charset="0"/>
              <a:buChar char="•"/>
            </a:pPr>
            <a:r>
              <a:rPr lang="ar-TN" sz="2000" b="1" dirty="0" smtClean="0">
                <a:latin typeface="Simplified Arabic" pitchFamily="18" charset="-78"/>
                <a:cs typeface="Simplified Arabic" pitchFamily="18" charset="-78"/>
              </a:rPr>
              <a:t>تبسيط إجراءات التجارة الخارجية بدخول </a:t>
            </a:r>
            <a:r>
              <a:rPr lang="ar-TN" sz="2000" b="1" dirty="0" err="1" smtClean="0">
                <a:latin typeface="Simplified Arabic" pitchFamily="18" charset="-78"/>
                <a:cs typeface="Simplified Arabic" pitchFamily="18" charset="-78"/>
              </a:rPr>
              <a:t>التطبيقة</a:t>
            </a:r>
            <a:r>
              <a:rPr lang="ar-TN" sz="2000" b="1" dirty="0" smtClean="0">
                <a:latin typeface="Simplified Arabic" pitchFamily="18" charset="-78"/>
                <a:cs typeface="Simplified Arabic" pitchFamily="18" charset="-78"/>
              </a:rPr>
              <a:t> الجديدة لمعالجة سندات التجارة الخارجية حيز الاستغلال</a:t>
            </a:r>
            <a:r>
              <a:rPr lang="fr-FR" sz="2000" b="1" dirty="0" smtClean="0">
                <a:latin typeface="Simplified Arabic" pitchFamily="18" charset="-78"/>
                <a:cs typeface="Simplified Arabic" pitchFamily="18" charset="-78"/>
              </a:rPr>
              <a:t>.</a:t>
            </a:r>
            <a:endParaRPr lang="ar-TN" sz="2000" b="1" dirty="0" smtClean="0">
              <a:latin typeface="Simplified Arabic" pitchFamily="18" charset="-78"/>
              <a:cs typeface="Simplified Arabic" pitchFamily="18" charset="-78"/>
            </a:endParaRPr>
          </a:p>
        </p:txBody>
      </p:sp>
      <p:sp>
        <p:nvSpPr>
          <p:cNvPr id="8" name="ZoneTexte 7"/>
          <p:cNvSpPr txBox="1"/>
          <p:nvPr/>
        </p:nvSpPr>
        <p:spPr>
          <a:xfrm>
            <a:off x="474452" y="205273"/>
            <a:ext cx="8601770" cy="717753"/>
          </a:xfrm>
          <a:prstGeom prst="rect">
            <a:avLst/>
          </a:prstGeom>
          <a:noFill/>
          <a:ln w="9525">
            <a:solidFill>
              <a:schemeClr val="bg1"/>
            </a:solid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r"/>
            <a:r>
              <a:rPr lang="ar-TN" sz="2200" b="1" kern="0" dirty="0">
                <a:solidFill>
                  <a:srgbClr val="FF0000"/>
                </a:solidFill>
                <a:latin typeface="Simplified Arabic" pitchFamily="18" charset="-78"/>
                <a:cs typeface="Simplified Arabic" pitchFamily="18" charset="-78"/>
              </a:rPr>
              <a:t>توجهات </a:t>
            </a:r>
            <a:r>
              <a:rPr lang="ar-SA" sz="2200" b="1" kern="0" dirty="0" smtClean="0">
                <a:solidFill>
                  <a:srgbClr val="FF0000"/>
                </a:solidFill>
                <a:latin typeface="Simplified Arabic" pitchFamily="18" charset="-78"/>
                <a:cs typeface="Simplified Arabic" pitchFamily="18" charset="-78"/>
              </a:rPr>
              <a:t>سنة </a:t>
            </a:r>
            <a:r>
              <a:rPr lang="ar-SA" sz="2000" b="1" kern="0" dirty="0" smtClean="0">
                <a:solidFill>
                  <a:srgbClr val="FF0000"/>
                </a:solidFill>
                <a:latin typeface="Times New Roman" panose="02020603050405020304" pitchFamily="18" charset="0"/>
                <a:cs typeface="Times New Roman" panose="02020603050405020304" pitchFamily="18" charset="0"/>
              </a:rPr>
              <a:t>2020</a:t>
            </a:r>
            <a:r>
              <a:rPr lang="ar-SA" sz="2200" b="1" kern="0" dirty="0" smtClean="0">
                <a:solidFill>
                  <a:srgbClr val="FF0000"/>
                </a:solidFill>
                <a:latin typeface="Simplified Arabic" pitchFamily="18" charset="-78"/>
                <a:cs typeface="Simplified Arabic" pitchFamily="18" charset="-78"/>
              </a:rPr>
              <a:t> </a:t>
            </a:r>
            <a:endParaRPr lang="ar-TN" sz="2200" b="1" kern="0" dirty="0" smtClean="0">
              <a:solidFill>
                <a:srgbClr val="FF0000"/>
              </a:solidFill>
              <a:latin typeface="Simplified Arabic" pitchFamily="18" charset="-78"/>
              <a:cs typeface="Simplified Arabic" pitchFamily="18" charset="-78"/>
            </a:endParaRPr>
          </a:p>
          <a:p>
            <a:r>
              <a:rPr lang="ar-SA" b="1" dirty="0" smtClean="0">
                <a:solidFill>
                  <a:schemeClr val="bg1"/>
                </a:solidFill>
                <a:latin typeface="Simplified Arabic" pitchFamily="18" charset="-78"/>
                <a:cs typeface="Simplified Arabic" pitchFamily="18" charset="-78"/>
              </a:rPr>
              <a:t> </a:t>
            </a:r>
            <a:r>
              <a:rPr lang="ar-TN" b="1" dirty="0">
                <a:latin typeface="Simplified Arabic" pitchFamily="18" charset="-78"/>
                <a:cs typeface="Simplified Arabic" pitchFamily="18" charset="-78"/>
              </a:rPr>
              <a:t>تنويع </a:t>
            </a:r>
            <a:r>
              <a:rPr lang="ar-TN" b="1" dirty="0" smtClean="0">
                <a:latin typeface="Simplified Arabic" pitchFamily="18" charset="-78"/>
                <a:cs typeface="Simplified Arabic" pitchFamily="18" charset="-78"/>
              </a:rPr>
              <a:t>الأسواق وتعزيز التموقع بالمحيط الاقليمي</a:t>
            </a:r>
            <a:endParaRPr lang="fr-FR" sz="1600" b="1" kern="0" dirty="0">
              <a:latin typeface="Simplified Arabic" panose="02020603050405020304" pitchFamily="18" charset="-78"/>
              <a:cs typeface="Simplified Arabic" panose="02020603050405020304" pitchFamily="18" charset="-78"/>
            </a:endParaRPr>
          </a:p>
        </p:txBody>
      </p:sp>
    </p:spTree>
    <p:extLst>
      <p:ext uri="{BB962C8B-B14F-4D97-AF65-F5344CB8AC3E}">
        <p14:creationId xmlns:p14="http://schemas.microsoft.com/office/powerpoint/2010/main" xmlns="" val="68344469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p:oleObj spid="_x0000_s152696" name="think-cell Slide" r:id="rId5" imgW="360" imgH="360" progId="">
              <p:embed/>
            </p:oleObj>
          </a:graphicData>
        </a:graphic>
      </p:graphicFrame>
      <p:sp>
        <p:nvSpPr>
          <p:cNvPr id="9" name="ZoneTexte 8"/>
          <p:cNvSpPr txBox="1"/>
          <p:nvPr/>
        </p:nvSpPr>
        <p:spPr>
          <a:xfrm>
            <a:off x="508249" y="1337092"/>
            <a:ext cx="8134710" cy="3717987"/>
          </a:xfrm>
          <a:prstGeom prst="rect">
            <a:avLst/>
          </a:prstGeom>
          <a:ln w="12700">
            <a:headEnd/>
            <a:tailEnd/>
          </a:ln>
          <a:extLst/>
        </p:spPr>
        <p:style>
          <a:lnRef idx="2">
            <a:schemeClr val="accent4"/>
          </a:lnRef>
          <a:fillRef idx="1">
            <a:schemeClr val="lt1"/>
          </a:fillRef>
          <a:effectRef idx="0">
            <a:schemeClr val="accent4"/>
          </a:effectRef>
          <a:fontRef idx="minor">
            <a:schemeClr val="dk1"/>
          </a:fontRef>
        </p:style>
        <p:txBody>
          <a:bodyPr vert="horz" wrap="square" lIns="76200" tIns="76200" rIns="76200" bIns="76200" numCol="1" rtlCol="0" anchor="t" anchorCtr="0" compatLnSpc="1">
            <a:prstTxWarp prst="textNoShape">
              <a:avLst/>
            </a:prstTxWarp>
            <a:noAutofit/>
          </a:bodyPr>
          <a:lstStyle/>
          <a:p>
            <a:pPr algn="just" rtl="1">
              <a:lnSpc>
                <a:spcPct val="150000"/>
              </a:lnSpc>
              <a:spcBef>
                <a:spcPts val="600"/>
              </a:spcBef>
              <a:spcAft>
                <a:spcPts val="600"/>
              </a:spcAft>
              <a:buClr>
                <a:srgbClr val="FF0000"/>
              </a:buClr>
              <a:buSzPct val="80000"/>
            </a:pPr>
            <a:r>
              <a:rPr lang="ar-TN" sz="2000" b="1" dirty="0">
                <a:solidFill>
                  <a:schemeClr val="accent4"/>
                </a:solidFill>
                <a:latin typeface="Simplified Arabic" pitchFamily="18" charset="-78"/>
                <a:cs typeface="Simplified Arabic" pitchFamily="18" charset="-78"/>
              </a:rPr>
              <a:t>تعزيز الادماج الاجتماعي </a:t>
            </a:r>
          </a:p>
          <a:p>
            <a:pPr marL="180975" indent="-180975" algn="just" rtl="1">
              <a:lnSpc>
                <a:spcPct val="150000"/>
              </a:lnSpc>
              <a:spcBef>
                <a:spcPts val="600"/>
              </a:spcBef>
              <a:spcAft>
                <a:spcPts val="600"/>
              </a:spcAft>
              <a:buClr>
                <a:srgbClr val="FF0000"/>
              </a:buClr>
              <a:buSzPct val="80000"/>
              <a:buFont typeface="Arial" pitchFamily="34" charset="0"/>
              <a:buChar char="•"/>
            </a:pPr>
            <a:r>
              <a:rPr lang="ar-TN" sz="2000" b="1" dirty="0" smtClean="0">
                <a:latin typeface="Simplified Arabic" pitchFamily="18" charset="-78"/>
                <a:cs typeface="Simplified Arabic" pitchFamily="18" charset="-78"/>
              </a:rPr>
              <a:t>استكمال </a:t>
            </a:r>
            <a:r>
              <a:rPr lang="ar-TN" sz="2000" b="1" dirty="0">
                <a:latin typeface="Simplified Arabic" pitchFamily="18" charset="-78"/>
                <a:cs typeface="Simplified Arabic" pitchFamily="18" charset="-78"/>
              </a:rPr>
              <a:t>إصلاح منظومة الدعم </a:t>
            </a:r>
            <a:r>
              <a:rPr lang="ar-TN" sz="2000" b="1" dirty="0" smtClean="0">
                <a:latin typeface="Simplified Arabic" pitchFamily="18" charset="-78"/>
                <a:cs typeface="Simplified Arabic" pitchFamily="18" charset="-78"/>
              </a:rPr>
              <a:t>لتصويبه نحو محدودي الدخل.</a:t>
            </a:r>
          </a:p>
          <a:p>
            <a:pPr marL="180975" indent="-180975" algn="just" rtl="1">
              <a:lnSpc>
                <a:spcPct val="150000"/>
              </a:lnSpc>
              <a:spcBef>
                <a:spcPts val="600"/>
              </a:spcBef>
              <a:spcAft>
                <a:spcPts val="600"/>
              </a:spcAft>
              <a:buClr>
                <a:srgbClr val="FF0000"/>
              </a:buClr>
              <a:buSzPct val="80000"/>
              <a:buFont typeface="Arial" pitchFamily="34" charset="0"/>
              <a:buChar char="•"/>
            </a:pPr>
            <a:r>
              <a:rPr lang="ar-TN" sz="2000" b="1" dirty="0" smtClean="0">
                <a:latin typeface="Simplified Arabic" pitchFamily="18" charset="-78"/>
                <a:cs typeface="Simplified Arabic" pitchFamily="18" charset="-78"/>
              </a:rPr>
              <a:t>تقدم تنفيذ استراتيجية التنمية الاجتماعية لتعميم الإحاطة والإدماج </a:t>
            </a:r>
            <a:r>
              <a:rPr lang="ar-TN" sz="2000" b="1" dirty="0">
                <a:latin typeface="Simplified Arabic" pitchFamily="18" charset="-78"/>
                <a:cs typeface="Simplified Arabic" pitchFamily="18" charset="-78"/>
              </a:rPr>
              <a:t>الاجتماعي </a:t>
            </a:r>
            <a:r>
              <a:rPr lang="ar-TN" sz="2000" b="1" dirty="0" smtClean="0">
                <a:latin typeface="Simplified Arabic" pitchFamily="18" charset="-78"/>
                <a:cs typeface="Simplified Arabic" pitchFamily="18" charset="-78"/>
              </a:rPr>
              <a:t>لكل الفئات والحدّ من الفقر.</a:t>
            </a:r>
          </a:p>
          <a:p>
            <a:pPr marL="180975" indent="-180975" algn="just" rtl="1">
              <a:lnSpc>
                <a:spcPct val="150000"/>
              </a:lnSpc>
              <a:spcBef>
                <a:spcPts val="600"/>
              </a:spcBef>
              <a:spcAft>
                <a:spcPts val="600"/>
              </a:spcAft>
              <a:buClr>
                <a:srgbClr val="FF0000"/>
              </a:buClr>
              <a:buSzPct val="80000"/>
              <a:buFont typeface="Arial" pitchFamily="34" charset="0"/>
              <a:buChar char="•"/>
            </a:pPr>
            <a:r>
              <a:rPr lang="ar-TN" sz="2000" b="1" dirty="0" smtClean="0">
                <a:latin typeface="Simplified Arabic" pitchFamily="18" charset="-78"/>
                <a:cs typeface="Simplified Arabic" pitchFamily="18" charset="-78"/>
              </a:rPr>
              <a:t>مواصلة </a:t>
            </a:r>
            <a:r>
              <a:rPr lang="ar-TN" sz="2000" b="1" dirty="0">
                <a:latin typeface="Simplified Arabic" pitchFamily="18" charset="-78"/>
                <a:cs typeface="Simplified Arabic" pitchFamily="18" charset="-78"/>
              </a:rPr>
              <a:t>إصلاح منظومة </a:t>
            </a:r>
            <a:r>
              <a:rPr lang="ar-TN" sz="2000" b="1" dirty="0" smtClean="0">
                <a:latin typeface="Simplified Arabic" pitchFamily="18" charset="-78"/>
                <a:cs typeface="Simplified Arabic" pitchFamily="18" charset="-78"/>
              </a:rPr>
              <a:t>التقاعد لتأمين استدامتها.</a:t>
            </a:r>
          </a:p>
          <a:p>
            <a:pPr marL="180975" indent="-180975" algn="just" rtl="1">
              <a:lnSpc>
                <a:spcPct val="150000"/>
              </a:lnSpc>
              <a:spcBef>
                <a:spcPts val="600"/>
              </a:spcBef>
              <a:spcAft>
                <a:spcPts val="600"/>
              </a:spcAft>
              <a:buClr>
                <a:srgbClr val="FF0000"/>
              </a:buClr>
              <a:buSzPct val="80000"/>
              <a:buFont typeface="Arial" pitchFamily="34" charset="0"/>
              <a:buChar char="•"/>
            </a:pPr>
            <a:r>
              <a:rPr lang="ar-TN" sz="2000" b="1" dirty="0" smtClean="0">
                <a:latin typeface="Simplified Arabic" pitchFamily="18" charset="-78"/>
                <a:cs typeface="Simplified Arabic" pitchFamily="18" charset="-78"/>
              </a:rPr>
              <a:t>إحداث المجلس الأعلى للتنمية الاجتماعية وإحداث وكالة وطنية </a:t>
            </a:r>
            <a:r>
              <a:rPr lang="ar-TN" sz="2000" b="1" dirty="0" err="1" smtClean="0">
                <a:latin typeface="Simplified Arabic" pitchFamily="18" charset="-78"/>
                <a:cs typeface="Simplified Arabic" pitchFamily="18" charset="-78"/>
              </a:rPr>
              <a:t>للادماج</a:t>
            </a:r>
            <a:r>
              <a:rPr lang="ar-TN" sz="2000" b="1" dirty="0" smtClean="0">
                <a:latin typeface="Simplified Arabic" pitchFamily="18" charset="-78"/>
                <a:cs typeface="Simplified Arabic" pitchFamily="18" charset="-78"/>
              </a:rPr>
              <a:t> والتنمية الاجتماعية.</a:t>
            </a:r>
          </a:p>
          <a:p>
            <a:pPr algn="just" rtl="1">
              <a:lnSpc>
                <a:spcPct val="114000"/>
              </a:lnSpc>
              <a:spcBef>
                <a:spcPts val="600"/>
              </a:spcBef>
              <a:spcAft>
                <a:spcPts val="600"/>
              </a:spcAft>
              <a:buClr>
                <a:srgbClr val="FF0000"/>
              </a:buClr>
              <a:buSzPct val="80000"/>
            </a:pPr>
            <a:endParaRPr lang="ar-TN" sz="2400" b="1" dirty="0">
              <a:latin typeface="Simplified Arabic" pitchFamily="18" charset="-78"/>
              <a:cs typeface="Simplified Arabic" pitchFamily="18" charset="-78"/>
            </a:endParaRPr>
          </a:p>
        </p:txBody>
      </p:sp>
      <p:sp>
        <p:nvSpPr>
          <p:cNvPr id="13" name="Text Placeholder 9"/>
          <p:cNvSpPr txBox="1">
            <a:spLocks/>
          </p:cNvSpPr>
          <p:nvPr/>
        </p:nvSpPr>
        <p:spPr bwMode="gray">
          <a:xfrm>
            <a:off x="103517" y="325183"/>
            <a:ext cx="8944175" cy="58261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lnSpcReduction="10000"/>
          </a:bodyPr>
          <a:lstStyle>
            <a:lvl1pPr marL="0" indent="0" algn="l" defTabSz="91323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2" indent="0" algn="r" rtl="1">
              <a:buFont typeface="Arial" charset="0"/>
              <a:buNone/>
              <a:tabLst>
                <a:tab pos="4306888" algn="l"/>
              </a:tabLst>
            </a:pPr>
            <a:r>
              <a:rPr lang="ar-TN" sz="2200" b="1" kern="0" dirty="0" smtClean="0">
                <a:solidFill>
                  <a:srgbClr val="FF0000"/>
                </a:solidFill>
                <a:latin typeface="Simplified Arabic" pitchFamily="18" charset="-78"/>
                <a:ea typeface="ＭＳ Ｐゴシック" pitchFamily="34" charset="-128"/>
                <a:cs typeface="Simplified Arabic" pitchFamily="18" charset="-78"/>
              </a:rPr>
              <a:t>أهم توجهات </a:t>
            </a:r>
            <a:r>
              <a:rPr lang="ar-SA" sz="2200" b="1" kern="0" dirty="0" smtClean="0">
                <a:solidFill>
                  <a:srgbClr val="FF0000"/>
                </a:solidFill>
                <a:latin typeface="Simplified Arabic" pitchFamily="18" charset="-78"/>
                <a:ea typeface="ＭＳ Ｐゴシック" pitchFamily="34" charset="-128"/>
                <a:cs typeface="Simplified Arabic" pitchFamily="18" charset="-78"/>
              </a:rPr>
              <a:t>سنة </a:t>
            </a:r>
            <a:r>
              <a:rPr lang="ar-TN" sz="2000" b="1" kern="0" dirty="0" smtClean="0">
                <a:solidFill>
                  <a:srgbClr val="FF0000"/>
                </a:solidFill>
                <a:latin typeface="Times New Roman" panose="02020603050405020304" pitchFamily="18" charset="0"/>
                <a:cs typeface="Times New Roman" panose="02020603050405020304" pitchFamily="18" charset="0"/>
              </a:rPr>
              <a:t>2020</a:t>
            </a:r>
            <a:r>
              <a:rPr lang="ar-TN" sz="2400" b="1" kern="0" dirty="0" smtClean="0">
                <a:solidFill>
                  <a:srgbClr val="FF0000"/>
                </a:solidFill>
                <a:latin typeface="Times New Roman" panose="02020603050405020304" pitchFamily="18" charset="0"/>
                <a:cs typeface="Times New Roman" panose="02020603050405020304" pitchFamily="18" charset="0"/>
              </a:rPr>
              <a:t> </a:t>
            </a:r>
          </a:p>
          <a:p>
            <a:pPr marL="0" lvl="2" indent="0" rtl="1">
              <a:buNone/>
              <a:tabLst>
                <a:tab pos="4306888" algn="l"/>
              </a:tabLst>
            </a:pPr>
            <a:r>
              <a:rPr lang="ar-TN" sz="1800" b="1" kern="0" dirty="0" smtClean="0">
                <a:latin typeface="Simplified Arabic" panose="02020603050405020304" pitchFamily="18" charset="-78"/>
                <a:cs typeface="Simplified Arabic" panose="02020603050405020304" pitchFamily="18" charset="-78"/>
              </a:rPr>
              <a:t>تعزيز الادماج الاجتماعي وتدعيم الاستثمار في رأس المال البشري </a:t>
            </a:r>
            <a:endParaRPr lang="ar-JO" sz="1800" b="1" kern="0"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284457014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p:oleObj spid="_x0000_s174151" name="think-cell Slide" r:id="rId5" imgW="360" imgH="360" progId="">
              <p:embed/>
            </p:oleObj>
          </a:graphicData>
        </a:graphic>
      </p:graphicFrame>
      <p:sp>
        <p:nvSpPr>
          <p:cNvPr id="9" name="ZoneTexte 8"/>
          <p:cNvSpPr txBox="1"/>
          <p:nvPr/>
        </p:nvSpPr>
        <p:spPr>
          <a:xfrm>
            <a:off x="508249" y="1155940"/>
            <a:ext cx="8134710" cy="4477109"/>
          </a:xfrm>
          <a:prstGeom prst="rect">
            <a:avLst/>
          </a:prstGeom>
          <a:ln w="12700">
            <a:headEnd/>
            <a:tailEnd/>
          </a:ln>
          <a:extLst/>
        </p:spPr>
        <p:style>
          <a:lnRef idx="2">
            <a:schemeClr val="accent4"/>
          </a:lnRef>
          <a:fillRef idx="1">
            <a:schemeClr val="lt1"/>
          </a:fillRef>
          <a:effectRef idx="0">
            <a:schemeClr val="accent4"/>
          </a:effectRef>
          <a:fontRef idx="minor">
            <a:schemeClr val="dk1"/>
          </a:fontRef>
        </p:style>
        <p:txBody>
          <a:bodyPr vert="horz" wrap="square" lIns="76200" tIns="76200" rIns="76200" bIns="76200" numCol="1" rtlCol="0" anchor="t" anchorCtr="0" compatLnSpc="1">
            <a:prstTxWarp prst="textNoShape">
              <a:avLst/>
            </a:prstTxWarp>
            <a:noAutofit/>
          </a:bodyPr>
          <a:lstStyle/>
          <a:p>
            <a:pPr algn="just" rtl="1">
              <a:lnSpc>
                <a:spcPct val="150000"/>
              </a:lnSpc>
              <a:spcBef>
                <a:spcPts val="600"/>
              </a:spcBef>
              <a:spcAft>
                <a:spcPts val="600"/>
              </a:spcAft>
              <a:buClr>
                <a:srgbClr val="FF0000"/>
              </a:buClr>
              <a:buSzPct val="80000"/>
            </a:pPr>
            <a:r>
              <a:rPr lang="ar-TN" sz="2000" b="1" dirty="0" smtClean="0">
                <a:solidFill>
                  <a:schemeClr val="accent4"/>
                </a:solidFill>
                <a:latin typeface="Simplified Arabic" pitchFamily="18" charset="-78"/>
                <a:cs typeface="Simplified Arabic" pitchFamily="18" charset="-78"/>
              </a:rPr>
              <a:t>تدعيم </a:t>
            </a:r>
            <a:r>
              <a:rPr lang="ar-TN" sz="2000" b="1" dirty="0">
                <a:solidFill>
                  <a:schemeClr val="accent4"/>
                </a:solidFill>
                <a:latin typeface="Simplified Arabic" pitchFamily="18" charset="-78"/>
                <a:cs typeface="Simplified Arabic" pitchFamily="18" charset="-78"/>
              </a:rPr>
              <a:t>الاستثمار في رأس المال البشري</a:t>
            </a:r>
          </a:p>
          <a:p>
            <a:pPr marL="180975" indent="-180975" algn="just" rtl="1">
              <a:lnSpc>
                <a:spcPct val="150000"/>
              </a:lnSpc>
              <a:spcBef>
                <a:spcPts val="600"/>
              </a:spcBef>
              <a:spcAft>
                <a:spcPts val="600"/>
              </a:spcAft>
              <a:buClr>
                <a:srgbClr val="FF0000"/>
              </a:buClr>
              <a:buSzPct val="80000"/>
              <a:buFont typeface="Arial" pitchFamily="34" charset="0"/>
              <a:buChar char="•"/>
            </a:pPr>
            <a:r>
              <a:rPr lang="ar-TN" sz="2000" b="1" dirty="0" smtClean="0">
                <a:latin typeface="Simplified Arabic" pitchFamily="18" charset="-78"/>
                <a:cs typeface="Simplified Arabic" pitchFamily="18" charset="-78"/>
              </a:rPr>
              <a:t>تطوير أداء منظومة التربية: مشروع المدرسة الرقمية، التصدي </a:t>
            </a:r>
            <a:r>
              <a:rPr lang="ar-TN" sz="2000" b="1" dirty="0" smtClean="0">
                <a:latin typeface="Simplified Arabic" pitchFamily="18" charset="-78"/>
                <a:cs typeface="Simplified Arabic" pitchFamily="18" charset="-78"/>
              </a:rPr>
              <a:t>للانقطاع المدرسي</a:t>
            </a:r>
            <a:r>
              <a:rPr lang="ar-TN" sz="2000" b="1" dirty="0" smtClean="0">
                <a:latin typeface="Simplified Arabic" pitchFamily="18" charset="-78"/>
                <a:cs typeface="Simplified Arabic" pitchFamily="18" charset="-78"/>
              </a:rPr>
              <a:t>، ...  </a:t>
            </a:r>
          </a:p>
          <a:p>
            <a:pPr marL="180975" indent="-180975" algn="just" rtl="1">
              <a:lnSpc>
                <a:spcPct val="150000"/>
              </a:lnSpc>
              <a:spcBef>
                <a:spcPts val="600"/>
              </a:spcBef>
              <a:spcAft>
                <a:spcPts val="600"/>
              </a:spcAft>
              <a:buClr>
                <a:srgbClr val="FF0000"/>
              </a:buClr>
              <a:buSzPct val="80000"/>
              <a:buFont typeface="Arial" pitchFamily="34" charset="0"/>
              <a:buChar char="•"/>
            </a:pPr>
            <a:r>
              <a:rPr lang="ar-TN" sz="2000" b="1" dirty="0" smtClean="0">
                <a:latin typeface="Simplified Arabic" pitchFamily="18" charset="-78"/>
                <a:cs typeface="Simplified Arabic" pitchFamily="18" charset="-78"/>
              </a:rPr>
              <a:t>تحسين مردودية التكوين المهني: الرفع من طاقة التكوين وتنويع الاختصاصات، ...</a:t>
            </a:r>
          </a:p>
          <a:p>
            <a:pPr marL="180975" indent="-180975" algn="just" rtl="1">
              <a:lnSpc>
                <a:spcPct val="150000"/>
              </a:lnSpc>
              <a:spcBef>
                <a:spcPts val="600"/>
              </a:spcBef>
              <a:spcAft>
                <a:spcPts val="600"/>
              </a:spcAft>
              <a:buClr>
                <a:srgbClr val="FF0000"/>
              </a:buClr>
              <a:buSzPct val="80000"/>
              <a:buFont typeface="Arial" pitchFamily="34" charset="0"/>
              <a:buChar char="•"/>
            </a:pPr>
            <a:r>
              <a:rPr lang="ar-TN" sz="2000" b="1" dirty="0" smtClean="0">
                <a:latin typeface="Simplified Arabic" pitchFamily="18" charset="-78"/>
                <a:cs typeface="Simplified Arabic" pitchFamily="18" charset="-78"/>
              </a:rPr>
              <a:t>تطوير منظومة التعليم العالي: فتح إجازات جديدة لمواكبة حاجيات السوق،...</a:t>
            </a:r>
          </a:p>
          <a:p>
            <a:pPr marL="180975" indent="-180975" algn="just" rtl="1">
              <a:lnSpc>
                <a:spcPct val="150000"/>
              </a:lnSpc>
              <a:spcBef>
                <a:spcPts val="600"/>
              </a:spcBef>
              <a:spcAft>
                <a:spcPts val="600"/>
              </a:spcAft>
              <a:buClr>
                <a:srgbClr val="FF0000"/>
              </a:buClr>
              <a:buSzPct val="80000"/>
              <a:buFont typeface="Arial" pitchFamily="34" charset="0"/>
              <a:buChar char="•"/>
            </a:pPr>
            <a:r>
              <a:rPr lang="ar-TN" sz="2000" b="1" dirty="0" smtClean="0">
                <a:latin typeface="Simplified Arabic" pitchFamily="18" charset="-78"/>
                <a:cs typeface="Simplified Arabic" pitchFamily="18" charset="-78"/>
              </a:rPr>
              <a:t>تحديث القطاع الصحي: مزيد دعم البنية الصحية، دعم </a:t>
            </a:r>
            <a:r>
              <a:rPr lang="ar-TN" sz="2000" b="1" dirty="0" err="1" smtClean="0">
                <a:latin typeface="Simplified Arabic" pitchFamily="18" charset="-78"/>
                <a:cs typeface="Simplified Arabic" pitchFamily="18" charset="-78"/>
              </a:rPr>
              <a:t>حوكمة</a:t>
            </a:r>
            <a:r>
              <a:rPr lang="ar-TN" sz="2000" b="1" dirty="0" smtClean="0">
                <a:latin typeface="Simplified Arabic" pitchFamily="18" charset="-78"/>
                <a:cs typeface="Simplified Arabic" pitchFamily="18" charset="-78"/>
              </a:rPr>
              <a:t> الهياكل الصحية، ضمان التغطية الصحية الشاملة، ...</a:t>
            </a:r>
          </a:p>
          <a:p>
            <a:pPr marL="180975" indent="-180975" algn="just" rtl="1">
              <a:lnSpc>
                <a:spcPct val="150000"/>
              </a:lnSpc>
              <a:spcBef>
                <a:spcPts val="600"/>
              </a:spcBef>
              <a:spcAft>
                <a:spcPts val="600"/>
              </a:spcAft>
              <a:buClr>
                <a:srgbClr val="FF0000"/>
              </a:buClr>
              <a:buSzPct val="80000"/>
              <a:buFont typeface="Arial" pitchFamily="34" charset="0"/>
              <a:buChar char="•"/>
            </a:pPr>
            <a:r>
              <a:rPr lang="ar-TN" sz="2000" b="1" dirty="0" smtClean="0">
                <a:latin typeface="Simplified Arabic" pitchFamily="18" charset="-78"/>
                <a:cs typeface="Simplified Arabic" pitchFamily="18" charset="-78"/>
              </a:rPr>
              <a:t>إيلاء عناية أكبر بالشباب والنهوض بالأنشطة الثقافية والرياضية</a:t>
            </a:r>
            <a:r>
              <a:rPr lang="ar-TN" sz="2000" dirty="0" smtClean="0"/>
              <a:t>.</a:t>
            </a:r>
            <a:endParaRPr lang="ar-TN" sz="2000" b="1" dirty="0" smtClean="0">
              <a:latin typeface="Simplified Arabic" pitchFamily="18" charset="-78"/>
              <a:cs typeface="Simplified Arabic" pitchFamily="18" charset="-78"/>
            </a:endParaRPr>
          </a:p>
          <a:p>
            <a:pPr marL="180975" indent="-180975" algn="just" rtl="1">
              <a:lnSpc>
                <a:spcPct val="114000"/>
              </a:lnSpc>
              <a:spcBef>
                <a:spcPts val="600"/>
              </a:spcBef>
              <a:spcAft>
                <a:spcPts val="600"/>
              </a:spcAft>
              <a:buClr>
                <a:srgbClr val="FF0000"/>
              </a:buClr>
              <a:buSzPct val="80000"/>
              <a:buFont typeface="Arial" pitchFamily="34" charset="0"/>
              <a:buChar char="•"/>
            </a:pPr>
            <a:endParaRPr lang="ar-TN" sz="2400" b="1" dirty="0">
              <a:latin typeface="Simplified Arabic" pitchFamily="18" charset="-78"/>
              <a:cs typeface="Simplified Arabic" pitchFamily="18" charset="-78"/>
            </a:endParaRPr>
          </a:p>
        </p:txBody>
      </p:sp>
      <p:sp>
        <p:nvSpPr>
          <p:cNvPr id="13" name="Text Placeholder 9"/>
          <p:cNvSpPr txBox="1">
            <a:spLocks/>
          </p:cNvSpPr>
          <p:nvPr/>
        </p:nvSpPr>
        <p:spPr bwMode="gray">
          <a:xfrm>
            <a:off x="103517" y="325183"/>
            <a:ext cx="8944175" cy="58261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lnSpcReduction="10000"/>
          </a:bodyPr>
          <a:lstStyle>
            <a:lvl1pPr marL="0" indent="0" algn="l" defTabSz="91323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2" indent="0" algn="r" rtl="1">
              <a:buFont typeface="Arial" charset="0"/>
              <a:buNone/>
              <a:tabLst>
                <a:tab pos="4306888" algn="l"/>
              </a:tabLst>
            </a:pPr>
            <a:r>
              <a:rPr lang="ar-TN" sz="2200" b="1" kern="0" dirty="0" smtClean="0">
                <a:solidFill>
                  <a:srgbClr val="FF0000"/>
                </a:solidFill>
                <a:latin typeface="Simplified Arabic" pitchFamily="18" charset="-78"/>
                <a:ea typeface="ＭＳ Ｐゴシック" pitchFamily="34" charset="-128"/>
                <a:cs typeface="Simplified Arabic" pitchFamily="18" charset="-78"/>
              </a:rPr>
              <a:t>أهم توجهات </a:t>
            </a:r>
            <a:r>
              <a:rPr lang="ar-SA" sz="2200" b="1" kern="0" dirty="0" smtClean="0">
                <a:solidFill>
                  <a:srgbClr val="FF0000"/>
                </a:solidFill>
                <a:latin typeface="Simplified Arabic" pitchFamily="18" charset="-78"/>
                <a:ea typeface="ＭＳ Ｐゴシック" pitchFamily="34" charset="-128"/>
                <a:cs typeface="Simplified Arabic" pitchFamily="18" charset="-78"/>
              </a:rPr>
              <a:t>سنة </a:t>
            </a:r>
            <a:r>
              <a:rPr lang="ar-TN" sz="2000" b="1" kern="0" dirty="0" smtClean="0">
                <a:solidFill>
                  <a:srgbClr val="FF0000"/>
                </a:solidFill>
                <a:latin typeface="Times New Roman" panose="02020603050405020304" pitchFamily="18" charset="0"/>
                <a:cs typeface="Times New Roman" panose="02020603050405020304" pitchFamily="18" charset="0"/>
              </a:rPr>
              <a:t>2020</a:t>
            </a:r>
            <a:r>
              <a:rPr lang="ar-TN" sz="2400" b="1" kern="0" dirty="0" smtClean="0">
                <a:solidFill>
                  <a:srgbClr val="FF0000"/>
                </a:solidFill>
                <a:latin typeface="Times New Roman" panose="02020603050405020304" pitchFamily="18" charset="0"/>
                <a:cs typeface="Times New Roman" panose="02020603050405020304" pitchFamily="18" charset="0"/>
              </a:rPr>
              <a:t> </a:t>
            </a:r>
          </a:p>
          <a:p>
            <a:pPr marL="0" lvl="2" indent="0" rtl="1">
              <a:buNone/>
              <a:tabLst>
                <a:tab pos="4306888" algn="l"/>
              </a:tabLst>
            </a:pPr>
            <a:r>
              <a:rPr lang="ar-TN" sz="1800" b="1" kern="0" dirty="0" smtClean="0">
                <a:latin typeface="Simplified Arabic" panose="02020603050405020304" pitchFamily="18" charset="-78"/>
                <a:cs typeface="Simplified Arabic" panose="02020603050405020304" pitchFamily="18" charset="-78"/>
              </a:rPr>
              <a:t>تعزيز الادماج الاجتماعي وتدعيم الاستثمار في رأس المال البشري </a:t>
            </a:r>
            <a:endParaRPr lang="ar-JO" sz="1800" b="1" kern="0"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357244486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p:oleObj spid="_x0000_s153720" name="think-cell Slide" r:id="rId5" imgW="360" imgH="360" progId="">
              <p:embed/>
            </p:oleObj>
          </a:graphicData>
        </a:graphic>
      </p:graphicFrame>
      <p:sp>
        <p:nvSpPr>
          <p:cNvPr id="11" name="ZoneTexte 10"/>
          <p:cNvSpPr txBox="1"/>
          <p:nvPr/>
        </p:nvSpPr>
        <p:spPr>
          <a:xfrm>
            <a:off x="629728" y="2277368"/>
            <a:ext cx="7858664" cy="2562045"/>
          </a:xfrm>
          <a:prstGeom prst="rect">
            <a:avLst/>
          </a:prstGeom>
          <a:ln w="12700">
            <a:headEnd/>
            <a:tailEnd/>
          </a:ln>
          <a:extLst/>
        </p:spPr>
        <p:style>
          <a:lnRef idx="2">
            <a:schemeClr val="accent4"/>
          </a:lnRef>
          <a:fillRef idx="1">
            <a:schemeClr val="lt1"/>
          </a:fillRef>
          <a:effectRef idx="0">
            <a:schemeClr val="accent4"/>
          </a:effectRef>
          <a:fontRef idx="minor">
            <a:schemeClr val="dk1"/>
          </a:fontRef>
        </p:style>
        <p:txBody>
          <a:bodyPr vert="horz" wrap="square" lIns="76200" tIns="76200" rIns="76200" bIns="76200" numCol="1" rtlCol="0" anchor="t" anchorCtr="0" compatLnSpc="1">
            <a:prstTxWarp prst="textNoShape">
              <a:avLst/>
            </a:prstTxWarp>
            <a:noAutofit/>
          </a:bodyPr>
          <a:lstStyle>
            <a:defPPr>
              <a:defRPr lang="en-US"/>
            </a:defPPr>
            <a:lvl1pPr marL="180975" indent="-180975" algn="just" rtl="1">
              <a:lnSpc>
                <a:spcPct val="114000"/>
              </a:lnSpc>
              <a:spcBef>
                <a:spcPts val="600"/>
              </a:spcBef>
              <a:spcAft>
                <a:spcPts val="600"/>
              </a:spcAft>
              <a:buClr>
                <a:srgbClr val="FF0000"/>
              </a:buClr>
              <a:buSzPct val="80000"/>
              <a:buFont typeface="Arial" pitchFamily="34" charset="0"/>
              <a:buChar char="•"/>
              <a:defRPr b="1">
                <a:solidFill>
                  <a:schemeClr val="dk1"/>
                </a:solidFill>
                <a:latin typeface="Simplified Arabic" pitchFamily="18" charset="-78"/>
                <a:ea typeface="+mn-ea"/>
                <a:cs typeface="Simplified Arabic" pitchFamily="18" charset="-78"/>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r>
              <a:rPr lang="ar-TN" sz="2000" dirty="0" smtClean="0"/>
              <a:t>التقدم </a:t>
            </a:r>
            <a:r>
              <a:rPr lang="ar-TN" sz="2000" dirty="0"/>
              <a:t>في تنفيذ مشاريع البنية الأساسية لدعم الربط مع الجهات </a:t>
            </a:r>
            <a:r>
              <a:rPr lang="ar-TN" sz="2000" dirty="0" smtClean="0"/>
              <a:t>الداخلية</a:t>
            </a:r>
            <a:r>
              <a:rPr lang="ar-TN" sz="2000" dirty="0"/>
              <a:t>.</a:t>
            </a:r>
          </a:p>
          <a:p>
            <a:r>
              <a:rPr lang="ar-TN" sz="2000" dirty="0" smtClean="0"/>
              <a:t>توفير </a:t>
            </a:r>
            <a:r>
              <a:rPr lang="ar-TN" sz="2000" dirty="0"/>
              <a:t>الدعم اللازم للجماعات المحلية لتنفيذ برامجها الاستثمارية وتحسين خدماتها</a:t>
            </a:r>
            <a:r>
              <a:rPr lang="ar-TN" sz="2000" dirty="0" smtClean="0"/>
              <a:t>.</a:t>
            </a:r>
          </a:p>
          <a:p>
            <a:r>
              <a:rPr lang="ar-TN" sz="2000" dirty="0" smtClean="0"/>
              <a:t>تحسين أداء الهياكل الجهوية وتعزيز قدرة الجهات على استقطاب الاستثمار</a:t>
            </a:r>
            <a:r>
              <a:rPr lang="fr-FR" sz="2000" dirty="0" smtClean="0"/>
              <a:t>.</a:t>
            </a:r>
            <a:endParaRPr lang="ar-TN" sz="2000" dirty="0"/>
          </a:p>
          <a:p>
            <a:r>
              <a:rPr lang="ar-TN" sz="2000" dirty="0" smtClean="0"/>
              <a:t>مواصلة </a:t>
            </a:r>
            <a:r>
              <a:rPr lang="ar-SA" sz="2000" dirty="0"/>
              <a:t>انجاز مختلف مكونات الجيل الأول</a:t>
            </a:r>
            <a:r>
              <a:rPr lang="ar-TN" sz="2000" dirty="0"/>
              <a:t> و</a:t>
            </a:r>
            <a:r>
              <a:rPr lang="ar-SA" sz="2000" dirty="0"/>
              <a:t>الجيل الثاني  من برنامج تهذيب وإدماج الأحياء </a:t>
            </a:r>
            <a:r>
              <a:rPr lang="ar-SA" sz="2000" dirty="0" smtClean="0"/>
              <a:t>السكنية</a:t>
            </a:r>
            <a:r>
              <a:rPr lang="fr-FR" sz="2000" dirty="0" smtClean="0"/>
              <a:t>.</a:t>
            </a:r>
            <a:endParaRPr lang="ar-SA" sz="2000" dirty="0" smtClean="0"/>
          </a:p>
          <a:p>
            <a:pPr marL="0" indent="0">
              <a:buNone/>
            </a:pPr>
            <a:endParaRPr lang="ar-TN" sz="2000" dirty="0" smtClean="0"/>
          </a:p>
        </p:txBody>
      </p:sp>
      <p:sp>
        <p:nvSpPr>
          <p:cNvPr id="13" name="Text Placeholder 9"/>
          <p:cNvSpPr txBox="1">
            <a:spLocks/>
          </p:cNvSpPr>
          <p:nvPr/>
        </p:nvSpPr>
        <p:spPr bwMode="gray">
          <a:xfrm>
            <a:off x="187106" y="351063"/>
            <a:ext cx="8791575" cy="58261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fontScale="92500" lnSpcReduction="20000"/>
          </a:bodyPr>
          <a:lstStyle>
            <a:lvl1pPr marL="0" indent="0" algn="l" defTabSz="91323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2" indent="0" algn="r" rtl="1">
              <a:buFont typeface="Arial" charset="0"/>
              <a:buNone/>
              <a:tabLst>
                <a:tab pos="4306888" algn="l"/>
              </a:tabLst>
            </a:pPr>
            <a:r>
              <a:rPr lang="ar-TN" sz="2400" b="1" kern="0" dirty="0" smtClean="0">
                <a:solidFill>
                  <a:srgbClr val="FF0000"/>
                </a:solidFill>
                <a:latin typeface="Simplified Arabic" pitchFamily="18" charset="-78"/>
                <a:ea typeface="ＭＳ Ｐゴシック" pitchFamily="34" charset="-128"/>
                <a:cs typeface="Simplified Arabic" pitchFamily="18" charset="-78"/>
              </a:rPr>
              <a:t>أهم توجهات </a:t>
            </a:r>
            <a:r>
              <a:rPr lang="ar-SA" sz="2400" b="1" kern="0" dirty="0" smtClean="0">
                <a:solidFill>
                  <a:srgbClr val="FF0000"/>
                </a:solidFill>
                <a:latin typeface="Simplified Arabic" pitchFamily="18" charset="-78"/>
                <a:ea typeface="ＭＳ Ｐゴシック" pitchFamily="34" charset="-128"/>
                <a:cs typeface="Simplified Arabic" pitchFamily="18" charset="-78"/>
              </a:rPr>
              <a:t>سنة </a:t>
            </a:r>
            <a:r>
              <a:rPr lang="ar-TN" sz="2200" b="1" kern="0" dirty="0" smtClean="0">
                <a:solidFill>
                  <a:srgbClr val="FF0000"/>
                </a:solidFill>
                <a:latin typeface="Times New Roman" panose="02020603050405020304" pitchFamily="18" charset="0"/>
                <a:cs typeface="Times New Roman" panose="02020603050405020304" pitchFamily="18" charset="0"/>
              </a:rPr>
              <a:t>2020</a:t>
            </a:r>
            <a:r>
              <a:rPr lang="ar-TN" sz="2400" b="1" kern="0" dirty="0" smtClean="0">
                <a:solidFill>
                  <a:srgbClr val="FF0000"/>
                </a:solidFill>
                <a:latin typeface="Times New Roman" panose="02020603050405020304" pitchFamily="18" charset="0"/>
                <a:cs typeface="Times New Roman" panose="02020603050405020304" pitchFamily="18" charset="0"/>
              </a:rPr>
              <a:t> </a:t>
            </a:r>
          </a:p>
          <a:p>
            <a:pPr marL="176213" rtl="1">
              <a:spcBef>
                <a:spcPts val="600"/>
              </a:spcBef>
              <a:spcAft>
                <a:spcPts val="600"/>
              </a:spcAft>
              <a:buClr>
                <a:srgbClr val="FF0000"/>
              </a:buClr>
              <a:buSzPct val="80000"/>
            </a:pPr>
            <a:r>
              <a:rPr lang="ar-TN" sz="1900" b="1" dirty="0" smtClean="0">
                <a:latin typeface="Simplified Arabic" pitchFamily="18" charset="-78"/>
                <a:cs typeface="Simplified Arabic" pitchFamily="18" charset="-78"/>
              </a:rPr>
              <a:t>تنمية الجهات الداخلية وتكريس </a:t>
            </a:r>
            <a:r>
              <a:rPr lang="ar-TN" sz="1900" b="1" dirty="0">
                <a:latin typeface="Simplified Arabic" pitchFamily="18" charset="-78"/>
                <a:cs typeface="Simplified Arabic" pitchFamily="18" charset="-78"/>
              </a:rPr>
              <a:t>اللامركزية </a:t>
            </a:r>
            <a:endParaRPr lang="fr-FR" sz="1500" b="1" dirty="0">
              <a:latin typeface="Simplified Arabic" panose="02020603050405020304" pitchFamily="18" charset="-78"/>
              <a:cs typeface="Simplified Arabic" panose="02020603050405020304" pitchFamily="18" charset="-78"/>
            </a:endParaRPr>
          </a:p>
        </p:txBody>
      </p:sp>
    </p:spTree>
    <p:extLst>
      <p:ext uri="{BB962C8B-B14F-4D97-AF65-F5344CB8AC3E}">
        <p14:creationId xmlns:p14="http://schemas.microsoft.com/office/powerpoint/2010/main" xmlns="" val="18290962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p:oleObj spid="_x0000_s164946" name="think-cell Slide" r:id="rId5" imgW="360" imgH="360" progId="">
              <p:embed/>
            </p:oleObj>
          </a:graphicData>
        </a:graphic>
      </p:graphicFrame>
      <p:sp>
        <p:nvSpPr>
          <p:cNvPr id="11" name="ZoneTexte 10"/>
          <p:cNvSpPr txBox="1"/>
          <p:nvPr/>
        </p:nvSpPr>
        <p:spPr>
          <a:xfrm>
            <a:off x="644935" y="1621768"/>
            <a:ext cx="7858664" cy="3804248"/>
          </a:xfrm>
          <a:prstGeom prst="rect">
            <a:avLst/>
          </a:prstGeom>
          <a:ln w="12700">
            <a:headEnd/>
            <a:tailEnd/>
          </a:ln>
          <a:extLst/>
        </p:spPr>
        <p:style>
          <a:lnRef idx="2">
            <a:schemeClr val="accent4"/>
          </a:lnRef>
          <a:fillRef idx="1">
            <a:schemeClr val="lt1"/>
          </a:fillRef>
          <a:effectRef idx="0">
            <a:schemeClr val="accent4"/>
          </a:effectRef>
          <a:fontRef idx="minor">
            <a:schemeClr val="dk1"/>
          </a:fontRef>
        </p:style>
        <p:txBody>
          <a:bodyPr vert="horz" wrap="square" lIns="76200" tIns="76200" rIns="76200" bIns="76200" numCol="1" rtlCol="0" anchor="t" anchorCtr="0" compatLnSpc="1">
            <a:prstTxWarp prst="textNoShape">
              <a:avLst/>
            </a:prstTxWarp>
            <a:noAutofit/>
          </a:bodyPr>
          <a:lstStyle>
            <a:defPPr>
              <a:defRPr lang="en-US"/>
            </a:defPPr>
            <a:lvl1pPr marL="180975" indent="-180975" algn="just" rtl="1">
              <a:lnSpc>
                <a:spcPct val="114000"/>
              </a:lnSpc>
              <a:spcBef>
                <a:spcPts val="600"/>
              </a:spcBef>
              <a:spcAft>
                <a:spcPts val="600"/>
              </a:spcAft>
              <a:buClr>
                <a:srgbClr val="FF0000"/>
              </a:buClr>
              <a:buSzPct val="80000"/>
              <a:buFont typeface="Arial" pitchFamily="34" charset="0"/>
              <a:buChar char="•"/>
              <a:defRPr b="1">
                <a:solidFill>
                  <a:schemeClr val="dk1"/>
                </a:solidFill>
                <a:latin typeface="Simplified Arabic" pitchFamily="18" charset="-78"/>
                <a:ea typeface="+mn-ea"/>
                <a:cs typeface="Simplified Arabic" pitchFamily="18" charset="-78"/>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pPr>
              <a:buClr>
                <a:schemeClr val="accent1"/>
              </a:buClr>
            </a:pPr>
            <a:r>
              <a:rPr lang="ar-TN" sz="2000" dirty="0" smtClean="0"/>
              <a:t>دعم البرنامج </a:t>
            </a:r>
            <a:r>
              <a:rPr lang="ar-TN" sz="2000" dirty="0"/>
              <a:t>الجهوي للتنمية </a:t>
            </a:r>
            <a:r>
              <a:rPr lang="ar-TN" sz="2000" dirty="0" smtClean="0"/>
              <a:t>بتخصيص </a:t>
            </a:r>
            <a:r>
              <a:rPr lang="fr-FR" sz="2000" dirty="0" smtClean="0"/>
              <a:t>367</a:t>
            </a:r>
            <a:r>
              <a:rPr lang="ar-TN" sz="2000" dirty="0" smtClean="0"/>
              <a:t> </a:t>
            </a:r>
            <a:r>
              <a:rPr lang="ar-TN" sz="2000" dirty="0"/>
              <a:t>مليون دينار </a:t>
            </a:r>
            <a:r>
              <a:rPr lang="ar-TN" sz="2000" dirty="0" smtClean="0"/>
              <a:t>لعناصر </a:t>
            </a:r>
            <a:r>
              <a:rPr lang="ar-TN" sz="2000" dirty="0"/>
              <a:t>تحسين ظروف العيش </a:t>
            </a:r>
            <a:r>
              <a:rPr lang="ar-TN" sz="2000" dirty="0" smtClean="0"/>
              <a:t>وتدعيم التشغيل </a:t>
            </a:r>
            <a:r>
              <a:rPr lang="ar-TN" sz="2000" dirty="0"/>
              <a:t>والتكوين المهني </a:t>
            </a:r>
            <a:r>
              <a:rPr lang="ar-TN" sz="2000" dirty="0" smtClean="0"/>
              <a:t>ودفع مشاريع </a:t>
            </a:r>
            <a:r>
              <a:rPr lang="ar-TN" sz="2000" dirty="0"/>
              <a:t>القطاع الخاص.</a:t>
            </a:r>
          </a:p>
          <a:p>
            <a:pPr>
              <a:buClr>
                <a:schemeClr val="accent1"/>
              </a:buClr>
            </a:pPr>
            <a:r>
              <a:rPr lang="ar-TN" sz="2000" dirty="0"/>
              <a:t> تفعيل مخرجات وتوصيات الدراسة التقييمية للبرنامج ومراجعة </a:t>
            </a:r>
            <a:r>
              <a:rPr lang="ar-TN" sz="2000" dirty="0" smtClean="0"/>
              <a:t>المنشور المتعلق </a:t>
            </a:r>
            <a:r>
              <a:rPr lang="ar-TN" sz="2000" dirty="0"/>
              <a:t>بتسريع نسق إنجاز البرنامج الجهوي للتنمية </a:t>
            </a:r>
            <a:r>
              <a:rPr lang="ar-TN" sz="2000" dirty="0" smtClean="0"/>
              <a:t>خاصة </a:t>
            </a:r>
            <a:r>
              <a:rPr lang="ar-TN" sz="2000" dirty="0"/>
              <a:t>مكونات </a:t>
            </a:r>
            <a:r>
              <a:rPr lang="ar-TN" sz="2000" dirty="0" smtClean="0"/>
              <a:t>مجالات </a:t>
            </a:r>
            <a:r>
              <a:rPr lang="ar-TN" sz="2000" dirty="0"/>
              <a:t> تدخل </a:t>
            </a:r>
            <a:r>
              <a:rPr lang="ar-TN" sz="2000" dirty="0" smtClean="0"/>
              <a:t>البرنامج وطريقة </a:t>
            </a:r>
            <a:r>
              <a:rPr lang="ar-TN" sz="2000" dirty="0"/>
              <a:t>تسييره.</a:t>
            </a:r>
            <a:endParaRPr lang="fr-FR" sz="2000" dirty="0"/>
          </a:p>
          <a:p>
            <a:r>
              <a:rPr lang="ar-SA" sz="2000" dirty="0"/>
              <a:t>استكمال </a:t>
            </a:r>
            <a:r>
              <a:rPr lang="ar-SA" sz="2000" dirty="0" smtClean="0"/>
              <a:t>إنجاز مكوّنات </a:t>
            </a:r>
            <a:r>
              <a:rPr lang="ar-SA" sz="2000" dirty="0"/>
              <a:t>برنامج</a:t>
            </a:r>
            <a:r>
              <a:rPr lang="ar-TN" sz="2000" dirty="0"/>
              <a:t> التنمية المندمجة ف</a:t>
            </a:r>
            <a:r>
              <a:rPr lang="ar-SA" sz="2000" dirty="0"/>
              <a:t>ي قسطيه الأول والثاني</a:t>
            </a:r>
            <a:r>
              <a:rPr lang="ar-TN" sz="2000" dirty="0"/>
              <a:t> و</a:t>
            </a:r>
            <a:r>
              <a:rPr lang="ar-SA" sz="2000" dirty="0"/>
              <a:t>المشروعين</a:t>
            </a:r>
            <a:r>
              <a:rPr lang="ar-TN" sz="2000" dirty="0"/>
              <a:t> النموذجين في إطار برنامج التنمية الحضرية</a:t>
            </a:r>
            <a:r>
              <a:rPr lang="ar-SA" sz="2000" dirty="0"/>
              <a:t> موفى </a:t>
            </a:r>
            <a:r>
              <a:rPr lang="ar-SA" sz="2000" dirty="0" smtClean="0"/>
              <a:t>سنة</a:t>
            </a:r>
            <a:r>
              <a:rPr lang="ar-TN" sz="2000" dirty="0" smtClean="0"/>
              <a:t> </a:t>
            </a:r>
            <a:r>
              <a:rPr lang="ar-SA" sz="2000" dirty="0" smtClean="0"/>
              <a:t>2020 </a:t>
            </a:r>
            <a:endParaRPr lang="ar-TN" sz="2000" dirty="0"/>
          </a:p>
          <a:p>
            <a:r>
              <a:rPr lang="ar-TN" sz="2000" dirty="0" smtClean="0"/>
              <a:t>انطلاق </a:t>
            </a:r>
            <a:r>
              <a:rPr lang="ar-TN" sz="2000" dirty="0"/>
              <a:t>تنفيذ البرنامج الثالث للتنمية المندمجة ليشمل </a:t>
            </a:r>
            <a:r>
              <a:rPr lang="fr-FR" sz="2000" dirty="0"/>
              <a:t>100</a:t>
            </a:r>
            <a:r>
              <a:rPr lang="ar-TN" sz="2000" dirty="0"/>
              <a:t> معتمدية </a:t>
            </a:r>
            <a:r>
              <a:rPr lang="ar-TN" sz="2000" dirty="0" smtClean="0"/>
              <a:t>جديدة</a:t>
            </a:r>
            <a:r>
              <a:rPr lang="fr-FR" sz="2000" dirty="0" smtClean="0"/>
              <a:t>.</a:t>
            </a:r>
            <a:endParaRPr lang="ar-TN" sz="2000" dirty="0" smtClean="0"/>
          </a:p>
          <a:p>
            <a:r>
              <a:rPr lang="ar-TN" sz="2000" dirty="0" smtClean="0"/>
              <a:t>مواصلة تنفيذ البرامج الخصوصية لدفع التنمية بالمناطق الريفية والجهات الحدودية</a:t>
            </a:r>
          </a:p>
          <a:p>
            <a:endParaRPr lang="ar-TN" sz="2000" dirty="0"/>
          </a:p>
        </p:txBody>
      </p:sp>
      <p:sp>
        <p:nvSpPr>
          <p:cNvPr id="13" name="Text Placeholder 9"/>
          <p:cNvSpPr txBox="1">
            <a:spLocks/>
          </p:cNvSpPr>
          <p:nvPr/>
        </p:nvSpPr>
        <p:spPr bwMode="gray">
          <a:xfrm>
            <a:off x="187106" y="351063"/>
            <a:ext cx="8791575" cy="58261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fontScale="92500" lnSpcReduction="20000"/>
          </a:bodyPr>
          <a:lstStyle>
            <a:lvl1pPr marL="0" indent="0" algn="l" defTabSz="91323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2" indent="0" algn="r" rtl="1">
              <a:buFont typeface="Arial" charset="0"/>
              <a:buNone/>
              <a:tabLst>
                <a:tab pos="4306888" algn="l"/>
              </a:tabLst>
            </a:pPr>
            <a:r>
              <a:rPr lang="ar-TN" sz="2400" b="1" kern="0" dirty="0" smtClean="0">
                <a:solidFill>
                  <a:srgbClr val="FF0000"/>
                </a:solidFill>
                <a:latin typeface="Simplified Arabic" pitchFamily="18" charset="-78"/>
                <a:ea typeface="ＭＳ Ｐゴシック" pitchFamily="34" charset="-128"/>
                <a:cs typeface="Simplified Arabic" pitchFamily="18" charset="-78"/>
              </a:rPr>
              <a:t>أهم توجهات </a:t>
            </a:r>
            <a:r>
              <a:rPr lang="ar-SA" sz="2400" b="1" kern="0" dirty="0" smtClean="0">
                <a:solidFill>
                  <a:srgbClr val="FF0000"/>
                </a:solidFill>
                <a:latin typeface="Simplified Arabic" pitchFamily="18" charset="-78"/>
                <a:ea typeface="ＭＳ Ｐゴシック" pitchFamily="34" charset="-128"/>
                <a:cs typeface="Simplified Arabic" pitchFamily="18" charset="-78"/>
              </a:rPr>
              <a:t>سنة </a:t>
            </a:r>
            <a:r>
              <a:rPr lang="ar-TN" sz="2200" b="1" kern="0" dirty="0" smtClean="0">
                <a:solidFill>
                  <a:srgbClr val="FF0000"/>
                </a:solidFill>
                <a:latin typeface="Times New Roman" panose="02020603050405020304" pitchFamily="18" charset="0"/>
                <a:cs typeface="Times New Roman" panose="02020603050405020304" pitchFamily="18" charset="0"/>
              </a:rPr>
              <a:t>2020</a:t>
            </a:r>
            <a:r>
              <a:rPr lang="ar-TN" sz="2400" b="1" kern="0" dirty="0" smtClean="0">
                <a:solidFill>
                  <a:srgbClr val="FF0000"/>
                </a:solidFill>
                <a:latin typeface="Times New Roman" panose="02020603050405020304" pitchFamily="18" charset="0"/>
                <a:cs typeface="Times New Roman" panose="02020603050405020304" pitchFamily="18" charset="0"/>
              </a:rPr>
              <a:t> </a:t>
            </a:r>
          </a:p>
          <a:p>
            <a:pPr marL="176213" rtl="1">
              <a:spcBef>
                <a:spcPts val="600"/>
              </a:spcBef>
              <a:spcAft>
                <a:spcPts val="600"/>
              </a:spcAft>
              <a:buClr>
                <a:srgbClr val="FF0000"/>
              </a:buClr>
              <a:buSzPct val="80000"/>
            </a:pPr>
            <a:r>
              <a:rPr lang="ar-TN" sz="1900" b="1" dirty="0" smtClean="0">
                <a:latin typeface="Simplified Arabic" pitchFamily="18" charset="-78"/>
                <a:cs typeface="Simplified Arabic" pitchFamily="18" charset="-78"/>
              </a:rPr>
              <a:t>تنمية الجهات الداخلية وتكريس </a:t>
            </a:r>
            <a:r>
              <a:rPr lang="ar-TN" sz="1900" b="1" dirty="0">
                <a:latin typeface="Simplified Arabic" pitchFamily="18" charset="-78"/>
                <a:cs typeface="Simplified Arabic" pitchFamily="18" charset="-78"/>
              </a:rPr>
              <a:t>اللامركزية </a:t>
            </a:r>
            <a:endParaRPr lang="fr-FR" sz="1500" b="1" dirty="0">
              <a:latin typeface="Simplified Arabic" panose="02020603050405020304" pitchFamily="18" charset="-78"/>
              <a:cs typeface="Simplified Arabic" panose="02020603050405020304" pitchFamily="18" charset="-78"/>
            </a:endParaRPr>
          </a:p>
        </p:txBody>
      </p:sp>
    </p:spTree>
    <p:extLst>
      <p:ext uri="{BB962C8B-B14F-4D97-AF65-F5344CB8AC3E}">
        <p14:creationId xmlns:p14="http://schemas.microsoft.com/office/powerpoint/2010/main" xmlns="" val="308833133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p:oleObj spid="_x0000_s165970" name="think-cell Slide" r:id="rId5" imgW="360" imgH="360" progId="">
              <p:embed/>
            </p:oleObj>
          </a:graphicData>
        </a:graphic>
      </p:graphicFrame>
      <p:sp>
        <p:nvSpPr>
          <p:cNvPr id="11" name="ZoneTexte 10"/>
          <p:cNvSpPr txBox="1"/>
          <p:nvPr/>
        </p:nvSpPr>
        <p:spPr>
          <a:xfrm>
            <a:off x="724618" y="1268084"/>
            <a:ext cx="7858664" cy="4373592"/>
          </a:xfrm>
          <a:prstGeom prst="rect">
            <a:avLst/>
          </a:prstGeom>
          <a:ln w="12700">
            <a:headEnd/>
            <a:tailEnd/>
          </a:ln>
          <a:extLst/>
        </p:spPr>
        <p:style>
          <a:lnRef idx="2">
            <a:schemeClr val="accent4"/>
          </a:lnRef>
          <a:fillRef idx="1">
            <a:schemeClr val="lt1"/>
          </a:fillRef>
          <a:effectRef idx="0">
            <a:schemeClr val="accent4"/>
          </a:effectRef>
          <a:fontRef idx="minor">
            <a:schemeClr val="dk1"/>
          </a:fontRef>
        </p:style>
        <p:txBody>
          <a:bodyPr vert="horz" wrap="square" lIns="76200" tIns="76200" rIns="76200" bIns="76200" numCol="1" rtlCol="0" anchor="t" anchorCtr="0" compatLnSpc="1">
            <a:prstTxWarp prst="textNoShape">
              <a:avLst/>
            </a:prstTxWarp>
            <a:noAutofit/>
          </a:bodyPr>
          <a:lstStyle>
            <a:defPPr>
              <a:defRPr lang="en-US"/>
            </a:defPPr>
            <a:lvl1pPr marL="180975" indent="-180975" algn="just" rtl="1">
              <a:lnSpc>
                <a:spcPct val="114000"/>
              </a:lnSpc>
              <a:spcBef>
                <a:spcPts val="600"/>
              </a:spcBef>
              <a:spcAft>
                <a:spcPts val="600"/>
              </a:spcAft>
              <a:buClr>
                <a:srgbClr val="FF0000"/>
              </a:buClr>
              <a:buSzPct val="80000"/>
              <a:buFont typeface="Arial" pitchFamily="34" charset="0"/>
              <a:buChar char="•"/>
              <a:defRPr b="1">
                <a:solidFill>
                  <a:schemeClr val="dk1"/>
                </a:solidFill>
                <a:latin typeface="Simplified Arabic" pitchFamily="18" charset="-78"/>
                <a:ea typeface="+mn-ea"/>
                <a:cs typeface="Simplified Arabic" pitchFamily="18" charset="-78"/>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pPr>
              <a:buClr>
                <a:schemeClr val="accent1"/>
              </a:buClr>
            </a:pPr>
            <a:r>
              <a:rPr lang="ar-TN" sz="2000" dirty="0" smtClean="0"/>
              <a:t>انطلاق </a:t>
            </a:r>
            <a:r>
              <a:rPr lang="ar-TN" sz="2000" dirty="0"/>
              <a:t>انجاز برنامج الاستثمار البلدي لسنة 2020 بـ 272 بلدية في إطار برنامج التنمية الحضرية والحوكمة المحلية وإعداد برنامج الاستثمار البلدي لسنة 2021.</a:t>
            </a:r>
            <a:endParaRPr lang="fr-FR" sz="2000" dirty="0"/>
          </a:p>
          <a:p>
            <a:pPr>
              <a:buClr>
                <a:schemeClr val="accent1"/>
              </a:buClr>
            </a:pPr>
            <a:r>
              <a:rPr lang="ar-TN" sz="2000" dirty="0"/>
              <a:t>استكمال انجاز القسط الأول من البرنامج الخصوصي لتهذيب الأحياء الشعبية للحد من التفاوت الجهوي للفترة 2015-2019. والانطلاق في انجاز القسط الإضافي من البرنامج للفترة 2019-2022.</a:t>
            </a:r>
          </a:p>
          <a:p>
            <a:pPr lvl="0">
              <a:buClr>
                <a:schemeClr val="accent1"/>
              </a:buClr>
            </a:pPr>
            <a:r>
              <a:rPr lang="ar-TN" sz="2000" dirty="0"/>
              <a:t>مواصلة إنجاز مشروع "المبادرة من أجل التنمية الجهوية" (الجيل الثالث)بالتعاون مع الوكالة الألمانية للتعاون الدولي "</a:t>
            </a:r>
            <a:r>
              <a:rPr lang="en-US" sz="2000" dirty="0"/>
              <a:t>GIZ</a:t>
            </a:r>
            <a:r>
              <a:rPr lang="ar-TN" sz="2000" dirty="0"/>
              <a:t>".</a:t>
            </a:r>
          </a:p>
          <a:p>
            <a:pPr lvl="0">
              <a:buClr>
                <a:schemeClr val="accent1"/>
              </a:buClr>
            </a:pPr>
            <a:r>
              <a:rPr lang="ar-TN" sz="2000" dirty="0"/>
              <a:t>الشروع في إعداد استراتيجية وطنية للتنمية الجهوية تكون إطارا دامجا لمختلف السياسات والبرامج التنموية وتمكن من تحديد التوجهات الكبرى والرؤية المستقبلية في هذا المجال. </a:t>
            </a:r>
            <a:endParaRPr lang="fr-FR" sz="2000" dirty="0"/>
          </a:p>
          <a:p>
            <a:pPr lvl="0">
              <a:buClr>
                <a:schemeClr val="accent1"/>
              </a:buClr>
            </a:pPr>
            <a:r>
              <a:rPr lang="ar-TN" sz="2000" dirty="0"/>
              <a:t>الانتهاء من إعداد الدراسة </a:t>
            </a:r>
            <a:r>
              <a:rPr lang="ar-TN" sz="2000" dirty="0" err="1"/>
              <a:t>الإستراتيجية</a:t>
            </a:r>
            <a:r>
              <a:rPr lang="ar-TN" sz="2000" dirty="0"/>
              <a:t> لتنمية ولاية جندوبة في أفق 2030.</a:t>
            </a:r>
            <a:endParaRPr lang="fr-FR" sz="2000" dirty="0"/>
          </a:p>
        </p:txBody>
      </p:sp>
      <p:sp>
        <p:nvSpPr>
          <p:cNvPr id="13" name="Text Placeholder 9"/>
          <p:cNvSpPr txBox="1">
            <a:spLocks/>
          </p:cNvSpPr>
          <p:nvPr/>
        </p:nvSpPr>
        <p:spPr bwMode="gray">
          <a:xfrm>
            <a:off x="187106" y="351063"/>
            <a:ext cx="8791575" cy="58261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fontScale="92500" lnSpcReduction="20000"/>
          </a:bodyPr>
          <a:lstStyle>
            <a:lvl1pPr marL="0" indent="0" algn="l" defTabSz="91323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2" indent="0" algn="r" rtl="1">
              <a:buFont typeface="Arial" charset="0"/>
              <a:buNone/>
              <a:tabLst>
                <a:tab pos="4306888" algn="l"/>
              </a:tabLst>
            </a:pPr>
            <a:r>
              <a:rPr lang="ar-TN" sz="2400" b="1" kern="0" dirty="0" smtClean="0">
                <a:solidFill>
                  <a:srgbClr val="FF0000"/>
                </a:solidFill>
                <a:latin typeface="Simplified Arabic" pitchFamily="18" charset="-78"/>
                <a:ea typeface="ＭＳ Ｐゴシック" pitchFamily="34" charset="-128"/>
                <a:cs typeface="Simplified Arabic" pitchFamily="18" charset="-78"/>
              </a:rPr>
              <a:t>أهم توجهات </a:t>
            </a:r>
            <a:r>
              <a:rPr lang="ar-SA" sz="2400" b="1" kern="0" dirty="0" smtClean="0">
                <a:solidFill>
                  <a:srgbClr val="FF0000"/>
                </a:solidFill>
                <a:latin typeface="Simplified Arabic" pitchFamily="18" charset="-78"/>
                <a:ea typeface="ＭＳ Ｐゴシック" pitchFamily="34" charset="-128"/>
                <a:cs typeface="Simplified Arabic" pitchFamily="18" charset="-78"/>
              </a:rPr>
              <a:t>سنة </a:t>
            </a:r>
            <a:r>
              <a:rPr lang="ar-TN" sz="2200" b="1" kern="0" dirty="0" smtClean="0">
                <a:solidFill>
                  <a:srgbClr val="FF0000"/>
                </a:solidFill>
                <a:latin typeface="Times New Roman" panose="02020603050405020304" pitchFamily="18" charset="0"/>
                <a:cs typeface="Times New Roman" panose="02020603050405020304" pitchFamily="18" charset="0"/>
              </a:rPr>
              <a:t>2020</a:t>
            </a:r>
            <a:r>
              <a:rPr lang="ar-TN" sz="2400" b="1" kern="0" dirty="0" smtClean="0">
                <a:solidFill>
                  <a:srgbClr val="FF0000"/>
                </a:solidFill>
                <a:latin typeface="Times New Roman" panose="02020603050405020304" pitchFamily="18" charset="0"/>
                <a:cs typeface="Times New Roman" panose="02020603050405020304" pitchFamily="18" charset="0"/>
              </a:rPr>
              <a:t> </a:t>
            </a:r>
          </a:p>
          <a:p>
            <a:pPr marL="176213" rtl="1">
              <a:spcBef>
                <a:spcPts val="600"/>
              </a:spcBef>
              <a:spcAft>
                <a:spcPts val="600"/>
              </a:spcAft>
              <a:buClr>
                <a:srgbClr val="FF0000"/>
              </a:buClr>
              <a:buSzPct val="80000"/>
            </a:pPr>
            <a:r>
              <a:rPr lang="ar-TN" sz="1900" b="1" dirty="0" smtClean="0">
                <a:latin typeface="Simplified Arabic" pitchFamily="18" charset="-78"/>
                <a:cs typeface="Simplified Arabic" pitchFamily="18" charset="-78"/>
              </a:rPr>
              <a:t>تنمية الجهات الداخلية وتكريس </a:t>
            </a:r>
            <a:r>
              <a:rPr lang="ar-TN" sz="1900" b="1" dirty="0">
                <a:latin typeface="Simplified Arabic" pitchFamily="18" charset="-78"/>
                <a:cs typeface="Simplified Arabic" pitchFamily="18" charset="-78"/>
              </a:rPr>
              <a:t>اللامركزية </a:t>
            </a:r>
            <a:endParaRPr lang="fr-FR" sz="1500" b="1" dirty="0">
              <a:latin typeface="Simplified Arabic" panose="02020603050405020304" pitchFamily="18" charset="-78"/>
              <a:cs typeface="Simplified Arabic" panose="02020603050405020304" pitchFamily="18" charset="-78"/>
            </a:endParaRPr>
          </a:p>
        </p:txBody>
      </p:sp>
    </p:spTree>
    <p:extLst>
      <p:ext uri="{BB962C8B-B14F-4D97-AF65-F5344CB8AC3E}">
        <p14:creationId xmlns:p14="http://schemas.microsoft.com/office/powerpoint/2010/main" xmlns="" val="294231346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aphique 3"/>
          <p:cNvGraphicFramePr>
            <a:graphicFrameLocks/>
          </p:cNvGraphicFramePr>
          <p:nvPr>
            <p:extLst>
              <p:ext uri="{D42A27DB-BD31-4B8C-83A1-F6EECF244321}">
                <p14:modId xmlns:p14="http://schemas.microsoft.com/office/powerpoint/2010/main" xmlns="" val="2490034430"/>
              </p:ext>
            </p:extLst>
          </p:nvPr>
        </p:nvGraphicFramePr>
        <p:xfrm>
          <a:off x="397163" y="1175796"/>
          <a:ext cx="8349673" cy="3425302"/>
        </p:xfrm>
        <a:graphic>
          <a:graphicData uri="http://schemas.openxmlformats.org/drawingml/2006/chart">
            <c:chart xmlns:c="http://schemas.openxmlformats.org/drawingml/2006/chart" xmlns:r="http://schemas.openxmlformats.org/officeDocument/2006/relationships" r:id="rId3"/>
          </a:graphicData>
        </a:graphic>
      </p:graphicFrame>
      <p:sp>
        <p:nvSpPr>
          <p:cNvPr id="5" name="ZoneTexte 4"/>
          <p:cNvSpPr txBox="1"/>
          <p:nvPr/>
        </p:nvSpPr>
        <p:spPr>
          <a:xfrm>
            <a:off x="0" y="174923"/>
            <a:ext cx="9144000" cy="707886"/>
          </a:xfrm>
          <a:prstGeom prst="rect">
            <a:avLst/>
          </a:prstGeom>
          <a:noFill/>
        </p:spPr>
        <p:txBody>
          <a:bodyPr wrap="square" rtlCol="0">
            <a:spAutoFit/>
          </a:bodyPr>
          <a:lstStyle/>
          <a:p>
            <a:pPr algn="r"/>
            <a:r>
              <a:rPr lang="ar-TN" sz="2200" b="1" dirty="0" smtClean="0">
                <a:solidFill>
                  <a:srgbClr val="E51B2E"/>
                </a:solidFill>
                <a:latin typeface="Simplified Arabic" pitchFamily="18" charset="-78"/>
                <a:cs typeface="Simplified Arabic" pitchFamily="18" charset="-78"/>
              </a:rPr>
              <a:t>الظرف الاقتصادي الوطني</a:t>
            </a:r>
          </a:p>
          <a:p>
            <a:r>
              <a:rPr lang="ar-TN" b="1" dirty="0">
                <a:latin typeface="Simplified Arabic" pitchFamily="18" charset="-78"/>
                <a:cs typeface="Simplified Arabic" pitchFamily="18" charset="-78"/>
              </a:rPr>
              <a:t>ضعف نسق </a:t>
            </a:r>
            <a:r>
              <a:rPr lang="ar-TN" b="1" dirty="0" smtClean="0">
                <a:latin typeface="Simplified Arabic" pitchFamily="18" charset="-78"/>
                <a:cs typeface="Simplified Arabic" pitchFamily="18" charset="-78"/>
              </a:rPr>
              <a:t>النمو</a:t>
            </a:r>
            <a:endParaRPr lang="fr-FR" b="1" dirty="0">
              <a:latin typeface="Simplified Arabic" pitchFamily="18" charset="-78"/>
              <a:cs typeface="Simplified Arabic" pitchFamily="18" charset="-78"/>
            </a:endParaRPr>
          </a:p>
        </p:txBody>
      </p:sp>
      <p:cxnSp>
        <p:nvCxnSpPr>
          <p:cNvPr id="3" name="Connecteur droit avec flèche 2"/>
          <p:cNvCxnSpPr/>
          <p:nvPr/>
        </p:nvCxnSpPr>
        <p:spPr>
          <a:xfrm flipH="1">
            <a:off x="6915168" y="1695637"/>
            <a:ext cx="1189607" cy="0"/>
          </a:xfrm>
          <a:prstGeom prst="straightConnector1">
            <a:avLst/>
          </a:prstGeom>
          <a:ln>
            <a:solidFill>
              <a:srgbClr val="00B050"/>
            </a:solidFill>
            <a:headEnd type="triangle"/>
            <a:tailEnd type="triangle"/>
          </a:ln>
        </p:spPr>
        <p:style>
          <a:lnRef idx="3">
            <a:schemeClr val="accent1"/>
          </a:lnRef>
          <a:fillRef idx="0">
            <a:schemeClr val="accent1"/>
          </a:fillRef>
          <a:effectRef idx="2">
            <a:schemeClr val="accent1"/>
          </a:effectRef>
          <a:fontRef idx="minor">
            <a:schemeClr val="tx1"/>
          </a:fontRef>
        </p:style>
      </p:cxnSp>
      <p:cxnSp>
        <p:nvCxnSpPr>
          <p:cNvPr id="6" name="Connecteur droit avec flèche 5"/>
          <p:cNvCxnSpPr/>
          <p:nvPr/>
        </p:nvCxnSpPr>
        <p:spPr>
          <a:xfrm flipH="1">
            <a:off x="5420761" y="1695637"/>
            <a:ext cx="1189607" cy="0"/>
          </a:xfrm>
          <a:prstGeom prst="straightConnector1">
            <a:avLst/>
          </a:prstGeom>
          <a:ln>
            <a:solidFill>
              <a:srgbClr val="00B050"/>
            </a:solidFill>
            <a:headEnd type="triangle"/>
            <a:tailEnd type="triangle"/>
          </a:ln>
        </p:spPr>
        <p:style>
          <a:lnRef idx="3">
            <a:schemeClr val="accent1"/>
          </a:lnRef>
          <a:fillRef idx="0">
            <a:schemeClr val="accent1"/>
          </a:fillRef>
          <a:effectRef idx="2">
            <a:schemeClr val="accent1"/>
          </a:effectRef>
          <a:fontRef idx="minor">
            <a:schemeClr val="tx1"/>
          </a:fontRef>
        </p:style>
      </p:cxnSp>
      <p:cxnSp>
        <p:nvCxnSpPr>
          <p:cNvPr id="7" name="Connecteur droit avec flèche 6"/>
          <p:cNvCxnSpPr/>
          <p:nvPr/>
        </p:nvCxnSpPr>
        <p:spPr>
          <a:xfrm flipH="1">
            <a:off x="3844546" y="1695637"/>
            <a:ext cx="1189607" cy="0"/>
          </a:xfrm>
          <a:prstGeom prst="straightConnector1">
            <a:avLst/>
          </a:prstGeom>
          <a:ln>
            <a:solidFill>
              <a:srgbClr val="00B050"/>
            </a:solidFill>
            <a:headEnd type="triangle"/>
            <a:tailEnd type="triangle"/>
          </a:ln>
        </p:spPr>
        <p:style>
          <a:lnRef idx="3">
            <a:schemeClr val="accent1"/>
          </a:lnRef>
          <a:fillRef idx="0">
            <a:schemeClr val="accent1"/>
          </a:fillRef>
          <a:effectRef idx="2">
            <a:schemeClr val="accent1"/>
          </a:effectRef>
          <a:fontRef idx="minor">
            <a:schemeClr val="tx1"/>
          </a:fontRef>
        </p:style>
      </p:cxnSp>
      <p:cxnSp>
        <p:nvCxnSpPr>
          <p:cNvPr id="8" name="Connecteur droit avec flèche 7"/>
          <p:cNvCxnSpPr/>
          <p:nvPr/>
        </p:nvCxnSpPr>
        <p:spPr>
          <a:xfrm flipH="1">
            <a:off x="2449329" y="1695637"/>
            <a:ext cx="963408" cy="0"/>
          </a:xfrm>
          <a:prstGeom prst="straightConnector1">
            <a:avLst/>
          </a:prstGeom>
          <a:ln>
            <a:solidFill>
              <a:srgbClr val="00B050"/>
            </a:solidFill>
            <a:headEnd type="triangle"/>
            <a:tailEnd type="triangle"/>
          </a:ln>
        </p:spPr>
        <p:style>
          <a:lnRef idx="3">
            <a:schemeClr val="accent1"/>
          </a:lnRef>
          <a:fillRef idx="0">
            <a:schemeClr val="accent1"/>
          </a:fillRef>
          <a:effectRef idx="2">
            <a:schemeClr val="accent1"/>
          </a:effectRef>
          <a:fontRef idx="minor">
            <a:schemeClr val="tx1"/>
          </a:fontRef>
        </p:style>
      </p:cxnSp>
      <p:sp>
        <p:nvSpPr>
          <p:cNvPr id="11" name="Rectangle à coins arrondis 10"/>
          <p:cNvSpPr/>
          <p:nvPr/>
        </p:nvSpPr>
        <p:spPr>
          <a:xfrm>
            <a:off x="378691" y="5172364"/>
            <a:ext cx="8349673" cy="720436"/>
          </a:xfrm>
          <a:prstGeom prst="round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77825" lvl="1" indent="-285750" algn="just" rtl="1">
              <a:lnSpc>
                <a:spcPct val="150000"/>
              </a:lnSpc>
              <a:spcAft>
                <a:spcPts val="600"/>
              </a:spcAft>
              <a:buClr>
                <a:srgbClr val="C00000"/>
              </a:buClr>
              <a:buSzPct val="80000"/>
              <a:buFont typeface="Arial" panose="020B0604020202020204" pitchFamily="34" charset="0"/>
              <a:buChar char="•"/>
            </a:pPr>
            <a:r>
              <a:rPr lang="ar-TN" sz="1600" b="1" spc="-70" dirty="0">
                <a:solidFill>
                  <a:schemeClr val="tx1"/>
                </a:solidFill>
                <a:latin typeface="Simplified Arabic" panose="02020603050405020304" pitchFamily="18" charset="-78"/>
                <a:cs typeface="Simplified Arabic" panose="02020603050405020304" pitchFamily="18" charset="-78"/>
              </a:rPr>
              <a:t>نموّ ضعيف للناتج المحلي الإجمالي خلال التسعة أشهر الاولى بالرغم من تأكّد انتعاشة القطاع السياحي وتسجيل صابة قياسية للحبوب.</a:t>
            </a:r>
          </a:p>
        </p:txBody>
      </p:sp>
      <p:cxnSp>
        <p:nvCxnSpPr>
          <p:cNvPr id="10" name="Connecteur droit avec flèche 9"/>
          <p:cNvCxnSpPr/>
          <p:nvPr/>
        </p:nvCxnSpPr>
        <p:spPr>
          <a:xfrm flipH="1">
            <a:off x="1246719" y="1690499"/>
            <a:ext cx="821093" cy="0"/>
          </a:xfrm>
          <a:prstGeom prst="straightConnector1">
            <a:avLst/>
          </a:prstGeom>
          <a:ln>
            <a:solidFill>
              <a:srgbClr val="00B050"/>
            </a:solidFill>
            <a:headEnd type="triangle"/>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xmlns="" val="137158512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a:spLocks noGrp="1"/>
          </p:cNvSpPr>
          <p:nvPr>
            <p:ph type="ctrTitle" idx="4294967295"/>
          </p:nvPr>
        </p:nvSpPr>
        <p:spPr>
          <a:xfrm>
            <a:off x="0" y="1770063"/>
            <a:ext cx="9144000" cy="3284537"/>
          </a:xfrm>
        </p:spPr>
        <p:txBody>
          <a:bodyPr anchor="ctr">
            <a:normAutofit/>
          </a:bodyPr>
          <a:lstStyle/>
          <a:p>
            <a:pPr algn="ctr" defTabSz="457200" eaLnBrk="0" hangingPunct="0">
              <a:defRPr/>
            </a:pPr>
            <a:r>
              <a:rPr lang="ar-TN" sz="3200" dirty="0">
                <a:solidFill>
                  <a:srgbClr val="FF0000"/>
                </a:solidFill>
                <a:latin typeface="Simplified Arabic" pitchFamily="18" charset="-78"/>
                <a:ea typeface="+mn-ea"/>
                <a:cs typeface="Simplified Arabic" pitchFamily="18" charset="-78"/>
              </a:rPr>
              <a:t> </a:t>
            </a:r>
            <a:r>
              <a:rPr lang="ar-TN" sz="4400" dirty="0" smtClean="0">
                <a:solidFill>
                  <a:srgbClr val="FF0000"/>
                </a:solidFill>
                <a:latin typeface="Simplified Arabic" pitchFamily="18" charset="-78"/>
                <a:ea typeface="+mn-ea"/>
                <a:cs typeface="Simplified Arabic" pitchFamily="18" charset="-78"/>
              </a:rPr>
              <a:t>شكـــرا</a:t>
            </a:r>
            <a:endParaRPr lang="fr-FR" sz="4400" dirty="0">
              <a:solidFill>
                <a:srgbClr val="FF0000"/>
              </a:solidFill>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xmlns="" val="96534645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a:spLocks noGrp="1"/>
          </p:cNvSpPr>
          <p:nvPr>
            <p:ph type="ctrTitle" idx="4294967295"/>
          </p:nvPr>
        </p:nvSpPr>
        <p:spPr>
          <a:xfrm>
            <a:off x="0" y="1770063"/>
            <a:ext cx="9144000" cy="3284537"/>
          </a:xfrm>
        </p:spPr>
        <p:txBody>
          <a:bodyPr anchor="ctr">
            <a:normAutofit/>
          </a:bodyPr>
          <a:lstStyle/>
          <a:p>
            <a:pPr algn="ctr" defTabSz="457200" rtl="1">
              <a:tabLst/>
            </a:pPr>
            <a:r>
              <a:rPr lang="ar-TN" sz="3200" dirty="0" smtClean="0">
                <a:solidFill>
                  <a:srgbClr val="FF0000"/>
                </a:solidFill>
                <a:latin typeface="Simplified Arabic" pitchFamily="18" charset="-78"/>
                <a:ea typeface="+mn-ea"/>
                <a:cs typeface="Simplified Arabic" pitchFamily="18" charset="-78"/>
              </a:rPr>
              <a:t/>
            </a:r>
            <a:br>
              <a:rPr lang="ar-TN" sz="3200" dirty="0" smtClean="0">
                <a:solidFill>
                  <a:srgbClr val="FF0000"/>
                </a:solidFill>
                <a:latin typeface="Simplified Arabic" pitchFamily="18" charset="-78"/>
                <a:ea typeface="+mn-ea"/>
                <a:cs typeface="Simplified Arabic" pitchFamily="18" charset="-78"/>
              </a:rPr>
            </a:br>
            <a:r>
              <a:rPr lang="fr-FR" sz="4400" dirty="0">
                <a:solidFill>
                  <a:srgbClr val="E51B2E"/>
                </a:solidFill>
                <a:latin typeface="Simplified Arabic" pitchFamily="18" charset="-78"/>
                <a:cs typeface="Simplified Arabic" pitchFamily="18" charset="-78"/>
              </a:rPr>
              <a:t/>
            </a:r>
            <a:br>
              <a:rPr lang="fr-FR" sz="4400" dirty="0">
                <a:solidFill>
                  <a:srgbClr val="E51B2E"/>
                </a:solidFill>
                <a:latin typeface="Simplified Arabic" pitchFamily="18" charset="-78"/>
                <a:cs typeface="Simplified Arabic" pitchFamily="18" charset="-78"/>
              </a:rPr>
            </a:br>
            <a:endParaRPr lang="fr-FR" sz="2000" kern="1200" dirty="0">
              <a:solidFill>
                <a:srgbClr val="CC0066"/>
              </a:solidFill>
              <a:latin typeface="Simplified Arabic" pitchFamily="18" charset="-78"/>
              <a:ea typeface="ＭＳ Ｐゴシック" pitchFamily="34" charset="-128"/>
              <a:cs typeface="Simplified Arabic" pitchFamily="18" charset="-78"/>
            </a:endParaRPr>
          </a:p>
        </p:txBody>
      </p:sp>
      <p:sp>
        <p:nvSpPr>
          <p:cNvPr id="3" name="Rectangle 2"/>
          <p:cNvSpPr/>
          <p:nvPr/>
        </p:nvSpPr>
        <p:spPr>
          <a:xfrm>
            <a:off x="283221" y="1869260"/>
            <a:ext cx="8375257" cy="3323987"/>
          </a:xfrm>
          <a:prstGeom prst="rect">
            <a:avLst/>
          </a:prstGeom>
          <a:ln>
            <a:solidFill>
              <a:srgbClr val="E51B2E"/>
            </a:solidFill>
          </a:ln>
        </p:spPr>
        <p:txBody>
          <a:bodyPr wrap="square">
            <a:spAutoFit/>
          </a:bodyPr>
          <a:lstStyle/>
          <a:p>
            <a:pPr algn="ctr" rtl="1"/>
            <a:r>
              <a:rPr lang="ar-TN" sz="4800" b="1" kern="0" dirty="0" smtClean="0">
                <a:solidFill>
                  <a:srgbClr val="FF0000"/>
                </a:solidFill>
                <a:latin typeface="Sakkal Majalla" pitchFamily="2" charset="-78"/>
                <a:ea typeface="ＭＳ Ｐゴシック"/>
                <a:cs typeface="Sakkal Majalla" pitchFamily="2" charset="-78"/>
              </a:rPr>
              <a:t>ملاحـــــــــــق</a:t>
            </a:r>
            <a:r>
              <a:rPr lang="ar-TN" sz="4000" b="1" kern="0" dirty="0" smtClean="0">
                <a:solidFill>
                  <a:srgbClr val="FF0000"/>
                </a:solidFill>
                <a:latin typeface="Sakkal Majalla" pitchFamily="2" charset="-78"/>
                <a:ea typeface="ＭＳ Ｐゴシック"/>
                <a:cs typeface="Sakkal Majalla" pitchFamily="2" charset="-78"/>
              </a:rPr>
              <a:t>:</a:t>
            </a:r>
          </a:p>
          <a:p>
            <a:pPr algn="r" rtl="1">
              <a:spcBef>
                <a:spcPts val="0"/>
              </a:spcBef>
              <a:spcAft>
                <a:spcPts val="1200"/>
              </a:spcAft>
            </a:pPr>
            <a:endParaRPr lang="ar-TN" sz="300" b="1" dirty="0" smtClean="0">
              <a:solidFill>
                <a:srgbClr val="CC0066"/>
              </a:solidFill>
              <a:latin typeface="Sakkal Majalla" pitchFamily="2" charset="-78"/>
              <a:cs typeface="Sakkal Majalla" pitchFamily="2" charset="-78"/>
            </a:endParaRPr>
          </a:p>
          <a:p>
            <a:pPr algn="r" rtl="1">
              <a:lnSpc>
                <a:spcPct val="150000"/>
              </a:lnSpc>
              <a:spcBef>
                <a:spcPts val="0"/>
              </a:spcBef>
              <a:spcAft>
                <a:spcPts val="1200"/>
              </a:spcAft>
            </a:pPr>
            <a:r>
              <a:rPr lang="ar-TN" sz="2000" b="1" dirty="0" smtClean="0">
                <a:solidFill>
                  <a:srgbClr val="CC0066"/>
                </a:solidFill>
                <a:latin typeface="Sakkal Majalla" pitchFamily="2" charset="-78"/>
                <a:cs typeface="Sakkal Majalla" pitchFamily="2" charset="-78"/>
              </a:rPr>
              <a:t>- </a:t>
            </a:r>
            <a:r>
              <a:rPr lang="ar-SA" sz="2400" b="1" dirty="0" smtClean="0">
                <a:solidFill>
                  <a:srgbClr val="CC0066"/>
                </a:solidFill>
                <a:latin typeface="Sakkal Majalla" pitchFamily="2" charset="-78"/>
                <a:cs typeface="Sakkal Majalla" pitchFamily="2" charset="-78"/>
              </a:rPr>
              <a:t>الإصلاحات </a:t>
            </a:r>
            <a:r>
              <a:rPr lang="ar-SA" sz="2400" b="1" dirty="0">
                <a:solidFill>
                  <a:srgbClr val="CC0066"/>
                </a:solidFill>
                <a:latin typeface="Sakkal Majalla" pitchFamily="2" charset="-78"/>
                <a:cs typeface="Sakkal Majalla" pitchFamily="2" charset="-78"/>
              </a:rPr>
              <a:t>المتعلقة بمناخ الأعمال </a:t>
            </a:r>
            <a:r>
              <a:rPr lang="ar-TN" sz="2400" b="1" dirty="0">
                <a:solidFill>
                  <a:srgbClr val="CC0066"/>
                </a:solidFill>
                <a:latin typeface="Sakkal Majalla" pitchFamily="2" charset="-78"/>
                <a:cs typeface="Sakkal Majalla" pitchFamily="2" charset="-78"/>
              </a:rPr>
              <a:t/>
            </a:r>
            <a:br>
              <a:rPr lang="ar-TN" sz="2400" b="1" dirty="0">
                <a:solidFill>
                  <a:srgbClr val="CC0066"/>
                </a:solidFill>
                <a:latin typeface="Sakkal Majalla" pitchFamily="2" charset="-78"/>
                <a:cs typeface="Sakkal Majalla" pitchFamily="2" charset="-78"/>
              </a:rPr>
            </a:br>
            <a:r>
              <a:rPr lang="ar-TN" sz="2400" b="1" dirty="0">
                <a:solidFill>
                  <a:srgbClr val="CC0066"/>
                </a:solidFill>
                <a:latin typeface="Sakkal Majalla" pitchFamily="2" charset="-78"/>
                <a:cs typeface="Sakkal Majalla" pitchFamily="2" charset="-78"/>
              </a:rPr>
              <a:t>- </a:t>
            </a:r>
            <a:r>
              <a:rPr lang="ar-SA" sz="2400" b="1" dirty="0">
                <a:solidFill>
                  <a:srgbClr val="CC0066"/>
                </a:solidFill>
                <a:latin typeface="Sakkal Majalla" pitchFamily="2" charset="-78"/>
                <a:cs typeface="Sakkal Majalla" pitchFamily="2" charset="-78"/>
              </a:rPr>
              <a:t>الإصلاحات الاجتماعية</a:t>
            </a:r>
            <a:r>
              <a:rPr lang="ar-TN" sz="2400" b="1" dirty="0">
                <a:solidFill>
                  <a:srgbClr val="CC0066"/>
                </a:solidFill>
                <a:latin typeface="Sakkal Majalla" pitchFamily="2" charset="-78"/>
                <a:cs typeface="Sakkal Majalla" pitchFamily="2" charset="-78"/>
              </a:rPr>
              <a:t/>
            </a:r>
            <a:br>
              <a:rPr lang="ar-TN" sz="2400" b="1" dirty="0">
                <a:solidFill>
                  <a:srgbClr val="CC0066"/>
                </a:solidFill>
                <a:latin typeface="Sakkal Majalla" pitchFamily="2" charset="-78"/>
                <a:cs typeface="Sakkal Majalla" pitchFamily="2" charset="-78"/>
              </a:rPr>
            </a:br>
            <a:r>
              <a:rPr lang="ar-TN" sz="2400" b="1" dirty="0">
                <a:solidFill>
                  <a:srgbClr val="CC0066"/>
                </a:solidFill>
                <a:latin typeface="Sakkal Majalla" pitchFamily="2" charset="-78"/>
                <a:cs typeface="Sakkal Majalla" pitchFamily="2" charset="-78"/>
              </a:rPr>
              <a:t>- ا</a:t>
            </a:r>
            <a:r>
              <a:rPr lang="ar-SA" sz="2400" b="1" dirty="0">
                <a:solidFill>
                  <a:srgbClr val="CC0066"/>
                </a:solidFill>
                <a:latin typeface="Sakkal Majalla" pitchFamily="2" charset="-78"/>
                <a:cs typeface="Sakkal Majalla" pitchFamily="2" charset="-78"/>
              </a:rPr>
              <a:t>لترقيم السيادي </a:t>
            </a:r>
            <a:r>
              <a:rPr lang="ar-TN" sz="2400" b="1" dirty="0">
                <a:solidFill>
                  <a:srgbClr val="CC0066"/>
                </a:solidFill>
                <a:latin typeface="Sakkal Majalla" pitchFamily="2" charset="-78"/>
                <a:cs typeface="Sakkal Majalla" pitchFamily="2" charset="-78"/>
              </a:rPr>
              <a:t/>
            </a:r>
            <a:br>
              <a:rPr lang="ar-TN" sz="2400" b="1" dirty="0">
                <a:solidFill>
                  <a:srgbClr val="CC0066"/>
                </a:solidFill>
                <a:latin typeface="Sakkal Majalla" pitchFamily="2" charset="-78"/>
                <a:cs typeface="Sakkal Majalla" pitchFamily="2" charset="-78"/>
              </a:rPr>
            </a:br>
            <a:r>
              <a:rPr lang="ar-TN" sz="2400" b="1" dirty="0">
                <a:solidFill>
                  <a:srgbClr val="CC0066"/>
                </a:solidFill>
                <a:latin typeface="Sakkal Majalla" pitchFamily="2" charset="-78"/>
                <a:cs typeface="Sakkal Majalla" pitchFamily="2" charset="-78"/>
              </a:rPr>
              <a:t>- أهم المشاريع القطاعية </a:t>
            </a:r>
            <a:r>
              <a:rPr lang="ar-TN" sz="2400" b="1" dirty="0" smtClean="0">
                <a:solidFill>
                  <a:srgbClr val="CC0066"/>
                </a:solidFill>
                <a:latin typeface="Sakkal Majalla" pitchFamily="2" charset="-78"/>
                <a:cs typeface="Sakkal Majalla" pitchFamily="2" charset="-78"/>
              </a:rPr>
              <a:t>المبرمجة لسنة </a:t>
            </a:r>
            <a:r>
              <a:rPr lang="ar-TN" sz="2400" b="1" dirty="0">
                <a:solidFill>
                  <a:srgbClr val="CC0066"/>
                </a:solidFill>
                <a:latin typeface="Sakkal Majalla" pitchFamily="2" charset="-78"/>
                <a:cs typeface="Sakkal Majalla" pitchFamily="2" charset="-78"/>
              </a:rPr>
              <a:t>2020</a:t>
            </a:r>
            <a:endParaRPr lang="fr-FR" sz="2400" b="1" dirty="0">
              <a:solidFill>
                <a:srgbClr val="CC0066"/>
              </a:solidFill>
              <a:latin typeface="Sakkal Majalla" pitchFamily="2" charset="-78"/>
              <a:cs typeface="Sakkal Majalla" pitchFamily="2" charset="-78"/>
            </a:endParaRPr>
          </a:p>
        </p:txBody>
      </p:sp>
    </p:spTree>
    <p:extLst>
      <p:ext uri="{BB962C8B-B14F-4D97-AF65-F5344CB8AC3E}">
        <p14:creationId xmlns:p14="http://schemas.microsoft.com/office/powerpoint/2010/main" xmlns="" val="16357960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11209" y="381652"/>
            <a:ext cx="9144000" cy="430887"/>
          </a:xfrm>
          <a:prstGeom prst="rect">
            <a:avLst/>
          </a:prstGeom>
          <a:noFill/>
        </p:spPr>
        <p:txBody>
          <a:bodyPr wrap="square" rtlCol="0">
            <a:spAutoFit/>
          </a:bodyPr>
          <a:lstStyle/>
          <a:p>
            <a:pPr algn="ctr" rtl="1"/>
            <a:r>
              <a:rPr lang="ar-SA" sz="2200" b="1" dirty="0" smtClean="0">
                <a:solidFill>
                  <a:srgbClr val="E51B2E"/>
                </a:solidFill>
                <a:latin typeface="Simplified Arabic" pitchFamily="18" charset="-78"/>
                <a:cs typeface="Simplified Arabic" pitchFamily="18" charset="-78"/>
              </a:rPr>
              <a:t>الإصلاحات المتعلقة بمناخ الأعمال </a:t>
            </a:r>
            <a:endParaRPr lang="ar-TN" sz="2200" b="1" dirty="0" smtClean="0">
              <a:solidFill>
                <a:srgbClr val="E51B2E"/>
              </a:solidFill>
              <a:latin typeface="Simplified Arabic" pitchFamily="18" charset="-78"/>
              <a:cs typeface="Simplified Arabic" pitchFamily="18" charset="-78"/>
            </a:endParaRPr>
          </a:p>
        </p:txBody>
      </p:sp>
      <p:sp>
        <p:nvSpPr>
          <p:cNvPr id="4" name="Hexagone 3"/>
          <p:cNvSpPr/>
          <p:nvPr/>
        </p:nvSpPr>
        <p:spPr>
          <a:xfrm>
            <a:off x="7772571" y="1164264"/>
            <a:ext cx="1371429" cy="1051662"/>
          </a:xfrm>
          <a:prstGeom prst="hexagon">
            <a:avLst/>
          </a:prstGeom>
          <a:solidFill>
            <a:srgbClr val="FF0000"/>
          </a:solidFill>
          <a:ln w="19050" cap="flat" cmpd="sng" algn="ctr">
            <a:noFill/>
            <a:prstDash val="solid"/>
            <a:round/>
            <a:headEnd type="none" w="med" len="med"/>
            <a:tailEnd type="none" w="med" len="med"/>
          </a:ln>
          <a:effectLst>
            <a:softEdge rad="12700"/>
          </a:effectLst>
        </p:spPr>
        <p:txBody>
          <a:bodyPr vert="horz" wrap="square" lIns="0" tIns="45520" rIns="0" bIns="45520" numCol="1" rtlCol="0" anchor="ctr" anchorCtr="0" compatLnSpc="1">
            <a:prstTxWarp prst="textNoShape">
              <a:avLst/>
            </a:prstTxWarp>
          </a:bodyPr>
          <a:lstStyle/>
          <a:p>
            <a:pPr algn="ctr" defTabSz="910185" eaLnBrk="0" fontAlgn="base" hangingPunct="0">
              <a:spcBef>
                <a:spcPct val="50000"/>
              </a:spcBef>
              <a:spcAft>
                <a:spcPct val="0"/>
              </a:spcAft>
            </a:pPr>
            <a:endParaRPr lang="fr-FR" sz="1100" b="1" dirty="0">
              <a:solidFill>
                <a:schemeClr val="bg1"/>
              </a:solidFill>
              <a:latin typeface="Century Gothic" panose="020B0502020202020204" pitchFamily="34" charset="0"/>
              <a:ea typeface="Adobe Gothic Std B" panose="020B0800000000000000" pitchFamily="34" charset="-128"/>
              <a:cs typeface="Arial"/>
            </a:endParaRPr>
          </a:p>
        </p:txBody>
      </p:sp>
      <p:sp>
        <p:nvSpPr>
          <p:cNvPr id="8" name="Accolade fermante 7"/>
          <p:cNvSpPr/>
          <p:nvPr/>
        </p:nvSpPr>
        <p:spPr>
          <a:xfrm>
            <a:off x="7667932" y="1103742"/>
            <a:ext cx="74784" cy="1112184"/>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9" name="ZoneTexte 8"/>
          <p:cNvSpPr txBox="1"/>
          <p:nvPr/>
        </p:nvSpPr>
        <p:spPr>
          <a:xfrm>
            <a:off x="4805265" y="3340359"/>
            <a:ext cx="1754155" cy="382555"/>
          </a:xfrm>
          <a:prstGeom prst="rect">
            <a:avLst/>
          </a:prstGeom>
          <a:noFill/>
          <a:ln w="9525">
            <a:solidFill>
              <a:schemeClr val="bg1"/>
            </a:solidFill>
            <a:miter lim="800000"/>
            <a:headEnd/>
            <a:tailEnd/>
          </a:ln>
          <a:effectLst/>
          <a:extLst/>
        </p:spPr>
        <p:txBody>
          <a:bodyPr vert="horz" wrap="square" lIns="76200" tIns="76200" rIns="76200" bIns="76200" numCol="1" rtlCol="0" anchor="t" anchorCtr="0" compatLnSpc="1">
            <a:prstTxWarp prst="textNoShape">
              <a:avLst/>
            </a:prstTxWarp>
            <a:noAutofit/>
          </a:bodyPr>
          <a:lstStyle/>
          <a:p>
            <a:endParaRPr lang="fr-FR" sz="1200" dirty="0" err="1" smtClean="0">
              <a:solidFill>
                <a:schemeClr val="bg1"/>
              </a:solidFill>
            </a:endParaRPr>
          </a:p>
        </p:txBody>
      </p:sp>
      <p:sp>
        <p:nvSpPr>
          <p:cNvPr id="10" name="ZoneTexte 9"/>
          <p:cNvSpPr txBox="1"/>
          <p:nvPr/>
        </p:nvSpPr>
        <p:spPr>
          <a:xfrm>
            <a:off x="7772571" y="1285336"/>
            <a:ext cx="1255593" cy="752870"/>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ctr">
              <a:lnSpc>
                <a:spcPct val="150000"/>
              </a:lnSpc>
            </a:pPr>
            <a:r>
              <a:rPr lang="ar-SA" sz="1400" b="1" spc="-70" dirty="0">
                <a:solidFill>
                  <a:schemeClr val="bg1"/>
                </a:solidFill>
                <a:latin typeface="Simplified Arabic" panose="02020603050405020304" pitchFamily="18" charset="-78"/>
                <a:ea typeface="+mn-ea"/>
                <a:cs typeface="Simplified Arabic" panose="02020603050405020304" pitchFamily="18" charset="-78"/>
              </a:rPr>
              <a:t>الأمر </a:t>
            </a:r>
            <a:r>
              <a:rPr lang="ar-SA" sz="1400" b="1" spc="-70" dirty="0" smtClean="0">
                <a:solidFill>
                  <a:schemeClr val="bg1"/>
                </a:solidFill>
                <a:latin typeface="Simplified Arabic" panose="02020603050405020304" pitchFamily="18" charset="-78"/>
                <a:ea typeface="+mn-ea"/>
                <a:cs typeface="Simplified Arabic" panose="02020603050405020304" pitchFamily="18" charset="-78"/>
              </a:rPr>
              <a:t>الحكومي</a:t>
            </a:r>
            <a:endParaRPr lang="ar-TN" sz="1400" b="1" spc="-70" dirty="0" smtClean="0">
              <a:solidFill>
                <a:schemeClr val="bg1"/>
              </a:solidFill>
              <a:latin typeface="Simplified Arabic" panose="02020603050405020304" pitchFamily="18" charset="-78"/>
              <a:ea typeface="+mn-ea"/>
              <a:cs typeface="Simplified Arabic" panose="02020603050405020304" pitchFamily="18" charset="-78"/>
            </a:endParaRPr>
          </a:p>
          <a:p>
            <a:pPr algn="ctr">
              <a:lnSpc>
                <a:spcPct val="150000"/>
              </a:lnSpc>
            </a:pPr>
            <a:r>
              <a:rPr lang="ar-SA" sz="1200" dirty="0" smtClean="0">
                <a:solidFill>
                  <a:schemeClr val="bg1"/>
                </a:solidFill>
              </a:rPr>
              <a:t> </a:t>
            </a:r>
            <a:r>
              <a:rPr lang="ar-SA" sz="1400" b="1" spc="-70" dirty="0">
                <a:solidFill>
                  <a:schemeClr val="bg1"/>
                </a:solidFill>
                <a:latin typeface="Simplified Arabic" panose="02020603050405020304" pitchFamily="18" charset="-78"/>
                <a:ea typeface="+mn-ea"/>
                <a:cs typeface="Simplified Arabic" panose="02020603050405020304" pitchFamily="18" charset="-78"/>
              </a:rPr>
              <a:t>417</a:t>
            </a:r>
            <a:endParaRPr lang="fr-FR" sz="1400" b="1" spc="-70" dirty="0" err="1">
              <a:solidFill>
                <a:schemeClr val="bg1"/>
              </a:solidFill>
              <a:latin typeface="Simplified Arabic" panose="02020603050405020304" pitchFamily="18" charset="-78"/>
              <a:ea typeface="+mn-ea"/>
              <a:cs typeface="Simplified Arabic" panose="02020603050405020304" pitchFamily="18" charset="-78"/>
            </a:endParaRPr>
          </a:p>
        </p:txBody>
      </p:sp>
      <p:sp>
        <p:nvSpPr>
          <p:cNvPr id="11" name="ZoneTexte 10"/>
          <p:cNvSpPr txBox="1"/>
          <p:nvPr/>
        </p:nvSpPr>
        <p:spPr>
          <a:xfrm>
            <a:off x="4829097" y="1274816"/>
            <a:ext cx="2722999" cy="681135"/>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marL="180975" lvl="2" indent="-180975" algn="just" rtl="1">
              <a:spcBef>
                <a:spcPts val="600"/>
              </a:spcBef>
              <a:buClr>
                <a:srgbClr val="FF0000"/>
              </a:buClr>
              <a:buSzPct val="80000"/>
              <a:buFont typeface="Arial" panose="020B0604020202020204" pitchFamily="34" charset="0"/>
              <a:buChar char="•"/>
            </a:pPr>
            <a:r>
              <a:rPr lang="ar-SA" sz="1400" b="1" dirty="0">
                <a:latin typeface="Simplified Arabic" pitchFamily="18" charset="-78"/>
                <a:cs typeface="Simplified Arabic" pitchFamily="18" charset="-78"/>
              </a:rPr>
              <a:t>تبسيط الإجراءات الإدارية </a:t>
            </a:r>
          </a:p>
          <a:p>
            <a:pPr marL="180975" lvl="2" indent="-180975" algn="just" rtl="1">
              <a:spcBef>
                <a:spcPts val="600"/>
              </a:spcBef>
              <a:buClr>
                <a:srgbClr val="FF0000"/>
              </a:buClr>
              <a:buSzPct val="80000"/>
              <a:buFont typeface="Arial" panose="020B0604020202020204" pitchFamily="34" charset="0"/>
              <a:buChar char="•"/>
            </a:pPr>
            <a:r>
              <a:rPr lang="ar-SA" sz="1400" b="1" dirty="0">
                <a:latin typeface="Simplified Arabic" pitchFamily="18" charset="-78"/>
                <a:cs typeface="Simplified Arabic" pitchFamily="18" charset="-78"/>
              </a:rPr>
              <a:t>تكريس مبدأ حرية الاستثمار</a:t>
            </a:r>
          </a:p>
        </p:txBody>
      </p:sp>
      <p:pic>
        <p:nvPicPr>
          <p:cNvPr id="12" name="Image 11"/>
          <p:cNvPicPr>
            <a:picLocks noChangeAspect="1"/>
          </p:cNvPicPr>
          <p:nvPr/>
        </p:nvPicPr>
        <p:blipFill>
          <a:blip r:embed="rId2"/>
          <a:stretch>
            <a:fillRect/>
          </a:stretch>
        </p:blipFill>
        <p:spPr>
          <a:xfrm>
            <a:off x="7772571" y="2454822"/>
            <a:ext cx="1371719" cy="1066892"/>
          </a:xfrm>
          <a:prstGeom prst="rect">
            <a:avLst/>
          </a:prstGeom>
        </p:spPr>
      </p:pic>
      <p:sp>
        <p:nvSpPr>
          <p:cNvPr id="13" name="ZoneTexte 12"/>
          <p:cNvSpPr txBox="1"/>
          <p:nvPr/>
        </p:nvSpPr>
        <p:spPr>
          <a:xfrm>
            <a:off x="7968742" y="2570022"/>
            <a:ext cx="956555" cy="852764"/>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ctr"/>
            <a:r>
              <a:rPr lang="ar-SA" sz="1400" b="1" spc="-70" dirty="0">
                <a:solidFill>
                  <a:schemeClr val="bg1"/>
                </a:solidFill>
                <a:latin typeface="Simplified Arabic" panose="02020603050405020304" pitchFamily="18" charset="-78"/>
                <a:ea typeface="+mn-ea"/>
                <a:cs typeface="Simplified Arabic" panose="02020603050405020304" pitchFamily="18" charset="-78"/>
              </a:rPr>
              <a:t>السجل الوطني للمؤسسات</a:t>
            </a:r>
            <a:endParaRPr lang="fr-FR" sz="1400" b="1" spc="-70" dirty="0" err="1">
              <a:solidFill>
                <a:schemeClr val="bg1"/>
              </a:solidFill>
              <a:latin typeface="Simplified Arabic" panose="02020603050405020304" pitchFamily="18" charset="-78"/>
              <a:ea typeface="+mn-ea"/>
              <a:cs typeface="Simplified Arabic" panose="02020603050405020304" pitchFamily="18" charset="-78"/>
            </a:endParaRPr>
          </a:p>
        </p:txBody>
      </p:sp>
      <p:sp>
        <p:nvSpPr>
          <p:cNvPr id="17" name="ZoneTexte 16"/>
          <p:cNvSpPr txBox="1"/>
          <p:nvPr/>
        </p:nvSpPr>
        <p:spPr>
          <a:xfrm>
            <a:off x="4651669" y="2420189"/>
            <a:ext cx="3062620" cy="1086914"/>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marL="361950" lvl="2" indent="-180975" algn="just" rtl="1">
              <a:spcBef>
                <a:spcPts val="600"/>
              </a:spcBef>
              <a:buClr>
                <a:srgbClr val="FF0000"/>
              </a:buClr>
              <a:buSzPct val="80000"/>
              <a:buFont typeface="Arial" panose="020B0604020202020204" pitchFamily="34" charset="0"/>
              <a:buChar char="•"/>
            </a:pPr>
            <a:r>
              <a:rPr lang="ar-SA" sz="1400" b="1" dirty="0">
                <a:latin typeface="Simplified Arabic" pitchFamily="18" charset="-78"/>
                <a:cs typeface="Simplified Arabic" pitchFamily="18" charset="-78"/>
              </a:rPr>
              <a:t>تدعيم شفافية المعاملات الاقتصادية والمالية</a:t>
            </a:r>
          </a:p>
          <a:p>
            <a:pPr marL="361950" lvl="2" indent="-180975" algn="just" rtl="1">
              <a:spcBef>
                <a:spcPts val="600"/>
              </a:spcBef>
              <a:buClr>
                <a:srgbClr val="FF0000"/>
              </a:buClr>
              <a:buSzPct val="80000"/>
              <a:buFont typeface="Arial" panose="020B0604020202020204" pitchFamily="34" charset="0"/>
              <a:buChar char="•"/>
            </a:pPr>
            <a:r>
              <a:rPr lang="ar-SA" sz="1400" b="1" dirty="0">
                <a:latin typeface="Simplified Arabic" pitchFamily="18" charset="-78"/>
                <a:cs typeface="Simplified Arabic" pitchFamily="18" charset="-78"/>
              </a:rPr>
              <a:t>تكريس المعايير الدولية في مجال المعطيات الخاصة بالمؤسسات والناشطين في المجال الاقتصادي والجمعيات</a:t>
            </a:r>
          </a:p>
        </p:txBody>
      </p:sp>
      <p:pic>
        <p:nvPicPr>
          <p:cNvPr id="18" name="Image 17"/>
          <p:cNvPicPr>
            <a:picLocks noChangeAspect="1"/>
          </p:cNvPicPr>
          <p:nvPr/>
        </p:nvPicPr>
        <p:blipFill>
          <a:blip r:embed="rId3"/>
          <a:stretch>
            <a:fillRect/>
          </a:stretch>
        </p:blipFill>
        <p:spPr>
          <a:xfrm>
            <a:off x="7780946" y="3792493"/>
            <a:ext cx="1371719" cy="1066892"/>
          </a:xfrm>
          <a:prstGeom prst="rect">
            <a:avLst/>
          </a:prstGeom>
        </p:spPr>
      </p:pic>
      <p:sp>
        <p:nvSpPr>
          <p:cNvPr id="20" name="ZoneTexte 19"/>
          <p:cNvSpPr txBox="1"/>
          <p:nvPr/>
        </p:nvSpPr>
        <p:spPr>
          <a:xfrm>
            <a:off x="7935686" y="3874321"/>
            <a:ext cx="956555" cy="880871"/>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ctr"/>
            <a:r>
              <a:rPr lang="ar-SA" sz="1400" b="1" spc="-70" dirty="0">
                <a:solidFill>
                  <a:schemeClr val="bg1"/>
                </a:solidFill>
                <a:latin typeface="Simplified Arabic" panose="02020603050405020304" pitchFamily="18" charset="-78"/>
                <a:ea typeface="+mn-ea"/>
                <a:cs typeface="Simplified Arabic" panose="02020603050405020304" pitchFamily="18" charset="-78"/>
              </a:rPr>
              <a:t>القانون المتعلق بالمؤسسات الناشئة</a:t>
            </a:r>
            <a:endParaRPr lang="fr-FR" sz="1400" b="1" spc="-70" dirty="0" err="1">
              <a:solidFill>
                <a:schemeClr val="bg1"/>
              </a:solidFill>
              <a:latin typeface="Simplified Arabic" panose="02020603050405020304" pitchFamily="18" charset="-78"/>
              <a:ea typeface="+mn-ea"/>
              <a:cs typeface="Simplified Arabic" panose="02020603050405020304" pitchFamily="18" charset="-78"/>
            </a:endParaRPr>
          </a:p>
        </p:txBody>
      </p:sp>
      <p:sp>
        <p:nvSpPr>
          <p:cNvPr id="22" name="ZoneTexte 21"/>
          <p:cNvSpPr txBox="1"/>
          <p:nvPr/>
        </p:nvSpPr>
        <p:spPr>
          <a:xfrm>
            <a:off x="4718210" y="3653667"/>
            <a:ext cx="3473168" cy="1210516"/>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marL="801688" lvl="2" indent="-171450" algn="just" rtl="1">
              <a:spcBef>
                <a:spcPts val="600"/>
              </a:spcBef>
              <a:buClr>
                <a:srgbClr val="FF0000"/>
              </a:buClr>
              <a:buSzPct val="80000"/>
              <a:buFont typeface="Arial" panose="020B0604020202020204" pitchFamily="34" charset="0"/>
              <a:buChar char="•"/>
            </a:pPr>
            <a:r>
              <a:rPr lang="ar-SA" sz="1400" b="1" dirty="0">
                <a:latin typeface="Simplified Arabic" pitchFamily="18" charset="-78"/>
                <a:cs typeface="Simplified Arabic" pitchFamily="18" charset="-78"/>
              </a:rPr>
              <a:t>وضع اطار محفز لبعث وتطوير المؤسسات الناشئة التي تعتمد على الابتكار والتجديد واعتماد التكنولوجيات الحديثة وتحقيق قيمة مضافة عالية وقدرة تنافسية معتبرة على المستويين الوطني والدولي</a:t>
            </a:r>
          </a:p>
        </p:txBody>
      </p:sp>
      <p:sp>
        <p:nvSpPr>
          <p:cNvPr id="23" name="Hexagone 22"/>
          <p:cNvSpPr/>
          <p:nvPr/>
        </p:nvSpPr>
        <p:spPr>
          <a:xfrm>
            <a:off x="3213211" y="1143778"/>
            <a:ext cx="1455435" cy="1174279"/>
          </a:xfrm>
          <a:prstGeom prst="hexagon">
            <a:avLst/>
          </a:prstGeom>
          <a:solidFill>
            <a:srgbClr val="E51B2E"/>
          </a:solidFill>
          <a:ln w="19050" cap="flat" cmpd="sng" algn="ctr">
            <a:noFill/>
            <a:prstDash val="solid"/>
            <a:round/>
            <a:headEnd type="none" w="med" len="med"/>
            <a:tailEnd type="none" w="med" len="med"/>
          </a:ln>
          <a:effectLst>
            <a:softEdge rad="12700"/>
          </a:effectLst>
        </p:spPr>
        <p:txBody>
          <a:bodyPr vert="horz" wrap="square" lIns="0" tIns="45520" rIns="0" bIns="45520" numCol="1" rtlCol="0" anchor="ctr" anchorCtr="0" compatLnSpc="1">
            <a:prstTxWarp prst="textNoShape">
              <a:avLst/>
            </a:prstTxWarp>
          </a:bodyPr>
          <a:lstStyle/>
          <a:p>
            <a:pPr algn="ctr" defTabSz="910185" eaLnBrk="0" fontAlgn="base" hangingPunct="0">
              <a:spcBef>
                <a:spcPct val="50000"/>
              </a:spcBef>
              <a:spcAft>
                <a:spcPct val="0"/>
              </a:spcAft>
            </a:pPr>
            <a:endParaRPr lang="fr-FR" sz="1100" b="1" dirty="0">
              <a:solidFill>
                <a:schemeClr val="bg1"/>
              </a:solidFill>
              <a:latin typeface="Century Gothic" panose="020B0502020202020204" pitchFamily="34" charset="0"/>
              <a:ea typeface="Adobe Gothic Std B" panose="020B0800000000000000" pitchFamily="34" charset="-128"/>
              <a:cs typeface="Arial"/>
            </a:endParaRPr>
          </a:p>
        </p:txBody>
      </p:sp>
      <p:pic>
        <p:nvPicPr>
          <p:cNvPr id="24" name="Image 23"/>
          <p:cNvPicPr>
            <a:picLocks noChangeAspect="1"/>
          </p:cNvPicPr>
          <p:nvPr/>
        </p:nvPicPr>
        <p:blipFill>
          <a:blip r:embed="rId2"/>
          <a:stretch>
            <a:fillRect/>
          </a:stretch>
        </p:blipFill>
        <p:spPr>
          <a:xfrm>
            <a:off x="3058364" y="3937052"/>
            <a:ext cx="1735989" cy="1149808"/>
          </a:xfrm>
          <a:prstGeom prst="rect">
            <a:avLst/>
          </a:prstGeom>
        </p:spPr>
      </p:pic>
      <p:pic>
        <p:nvPicPr>
          <p:cNvPr id="25" name="Image 24"/>
          <p:cNvPicPr>
            <a:picLocks noChangeAspect="1"/>
          </p:cNvPicPr>
          <p:nvPr/>
        </p:nvPicPr>
        <p:blipFill>
          <a:blip r:embed="rId2"/>
          <a:stretch>
            <a:fillRect/>
          </a:stretch>
        </p:blipFill>
        <p:spPr>
          <a:xfrm>
            <a:off x="7790668" y="5010747"/>
            <a:ext cx="1371719" cy="1024838"/>
          </a:xfrm>
          <a:prstGeom prst="rect">
            <a:avLst/>
          </a:prstGeom>
        </p:spPr>
      </p:pic>
      <p:sp>
        <p:nvSpPr>
          <p:cNvPr id="26" name="ZoneTexte 25"/>
          <p:cNvSpPr txBox="1"/>
          <p:nvPr/>
        </p:nvSpPr>
        <p:spPr>
          <a:xfrm>
            <a:off x="3260397" y="1285336"/>
            <a:ext cx="1143043" cy="934479"/>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r"/>
            <a:r>
              <a:rPr lang="ar-SA" sz="1400" b="1" spc="-70" dirty="0">
                <a:solidFill>
                  <a:schemeClr val="bg1"/>
                </a:solidFill>
                <a:latin typeface="Simplified Arabic" panose="02020603050405020304" pitchFamily="18" charset="-78"/>
                <a:ea typeface="+mn-ea"/>
                <a:cs typeface="Simplified Arabic" panose="02020603050405020304" pitchFamily="18" charset="-78"/>
              </a:rPr>
              <a:t>القانون الأفقي المتعلق بتحسين مناخ </a:t>
            </a:r>
            <a:r>
              <a:rPr lang="ar-SA" sz="1400" b="1" spc="-70" dirty="0" smtClean="0">
                <a:solidFill>
                  <a:schemeClr val="bg1"/>
                </a:solidFill>
                <a:latin typeface="Simplified Arabic" panose="02020603050405020304" pitchFamily="18" charset="-78"/>
                <a:ea typeface="+mn-ea"/>
                <a:cs typeface="Simplified Arabic" panose="02020603050405020304" pitchFamily="18" charset="-78"/>
              </a:rPr>
              <a:t>الاستثمار</a:t>
            </a:r>
            <a:endParaRPr lang="fr-FR" sz="1400" b="1" spc="-70" dirty="0" err="1">
              <a:solidFill>
                <a:schemeClr val="bg1"/>
              </a:solidFill>
              <a:latin typeface="Simplified Arabic" panose="02020603050405020304" pitchFamily="18" charset="-78"/>
              <a:ea typeface="+mn-ea"/>
              <a:cs typeface="Simplified Arabic" panose="02020603050405020304" pitchFamily="18" charset="-78"/>
            </a:endParaRPr>
          </a:p>
        </p:txBody>
      </p:sp>
      <p:sp>
        <p:nvSpPr>
          <p:cNvPr id="27" name="ZoneTexte 26"/>
          <p:cNvSpPr txBox="1"/>
          <p:nvPr/>
        </p:nvSpPr>
        <p:spPr>
          <a:xfrm>
            <a:off x="3214741" y="4009087"/>
            <a:ext cx="1406394" cy="596561"/>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defPPr>
              <a:defRPr lang="en-US"/>
            </a:defPPr>
            <a:lvl1pPr algn="r">
              <a:defRPr sz="1400" b="1" spc="-70">
                <a:latin typeface="Simplified Arabic" panose="02020603050405020304" pitchFamily="18" charset="-78"/>
                <a:ea typeface="+mn-ea"/>
                <a:cs typeface="Simplified Arabic" panose="02020603050405020304" pitchFamily="18" charset="-78"/>
              </a:defRPr>
            </a:lvl1pPr>
          </a:lstStyle>
          <a:p>
            <a:pPr algn="ctr"/>
            <a:r>
              <a:rPr lang="ar-SA" dirty="0">
                <a:solidFill>
                  <a:schemeClr val="bg1"/>
                </a:solidFill>
              </a:rPr>
              <a:t>الميثاق القطاعي للشراكة بين القطاع العام والخاص في قطاع النسيج والملابس</a:t>
            </a:r>
            <a:endParaRPr lang="fr-FR" dirty="0" err="1">
              <a:solidFill>
                <a:schemeClr val="bg1"/>
              </a:solidFill>
            </a:endParaRPr>
          </a:p>
        </p:txBody>
      </p:sp>
      <p:sp>
        <p:nvSpPr>
          <p:cNvPr id="29" name="Accolade fermante 28"/>
          <p:cNvSpPr/>
          <p:nvPr/>
        </p:nvSpPr>
        <p:spPr>
          <a:xfrm>
            <a:off x="3124794" y="1031456"/>
            <a:ext cx="45719" cy="1388733"/>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30" name="ZoneTexte 29"/>
          <p:cNvSpPr txBox="1"/>
          <p:nvPr/>
        </p:nvSpPr>
        <p:spPr>
          <a:xfrm>
            <a:off x="43444" y="919347"/>
            <a:ext cx="3111206" cy="1759751"/>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marL="266700" lvl="2" indent="-185738" algn="just" rtl="1">
              <a:spcBef>
                <a:spcPts val="600"/>
              </a:spcBef>
              <a:buClr>
                <a:srgbClr val="FF0000"/>
              </a:buClr>
              <a:buSzPct val="80000"/>
              <a:buFont typeface="Arial" panose="020B0604020202020204" pitchFamily="34" charset="0"/>
              <a:buChar char="•"/>
            </a:pPr>
            <a:r>
              <a:rPr lang="ar-SA" sz="1400" b="1" dirty="0">
                <a:latin typeface="Simplified Arabic" pitchFamily="18" charset="-78"/>
                <a:cs typeface="Simplified Arabic" pitchFamily="18" charset="-78"/>
              </a:rPr>
              <a:t>مزيد تبسيط الإجراءات المستوجبة لبعث المؤسسات الاقتصادية وتيسير طرق تمويلها عبر الصناديق </a:t>
            </a:r>
            <a:r>
              <a:rPr lang="ar-SA" sz="1400" b="1" dirty="0" err="1">
                <a:latin typeface="Simplified Arabic" pitchFamily="18" charset="-78"/>
                <a:cs typeface="Simplified Arabic" pitchFamily="18" charset="-78"/>
              </a:rPr>
              <a:t>الإستثمارية</a:t>
            </a:r>
            <a:endParaRPr lang="ar-SA" sz="1400" b="1" dirty="0">
              <a:latin typeface="Simplified Arabic" pitchFamily="18" charset="-78"/>
              <a:cs typeface="Simplified Arabic" pitchFamily="18" charset="-78"/>
            </a:endParaRPr>
          </a:p>
          <a:p>
            <a:pPr marL="266700" lvl="2" indent="-185738" algn="just" rtl="1">
              <a:spcBef>
                <a:spcPts val="600"/>
              </a:spcBef>
              <a:buClr>
                <a:srgbClr val="FF0000"/>
              </a:buClr>
              <a:buSzPct val="80000"/>
              <a:buFont typeface="Arial" panose="020B0604020202020204" pitchFamily="34" charset="0"/>
              <a:buChar char="•"/>
            </a:pPr>
            <a:r>
              <a:rPr lang="ar-SA" sz="1400" b="1" dirty="0">
                <a:latin typeface="Simplified Arabic" pitchFamily="18" charset="-78"/>
                <a:cs typeface="Simplified Arabic" pitchFamily="18" charset="-78"/>
              </a:rPr>
              <a:t>دعم </a:t>
            </a:r>
            <a:r>
              <a:rPr lang="ar-SA" sz="1400" b="1" dirty="0" err="1">
                <a:latin typeface="Simplified Arabic" pitchFamily="18" charset="-78"/>
                <a:cs typeface="Simplified Arabic" pitchFamily="18" charset="-78"/>
              </a:rPr>
              <a:t>حوكمة</a:t>
            </a:r>
            <a:r>
              <a:rPr lang="ar-SA" sz="1400" b="1" dirty="0">
                <a:latin typeface="Simplified Arabic" pitchFamily="18" charset="-78"/>
                <a:cs typeface="Simplified Arabic" pitchFamily="18" charset="-78"/>
              </a:rPr>
              <a:t> الشركات </a:t>
            </a:r>
            <a:r>
              <a:rPr lang="ar-SA" sz="1400" b="1" dirty="0" smtClean="0">
                <a:latin typeface="Simplified Arabic" pitchFamily="18" charset="-78"/>
                <a:cs typeface="Simplified Arabic" pitchFamily="18" charset="-78"/>
              </a:rPr>
              <a:t>وشفافيتها</a:t>
            </a:r>
            <a:endParaRPr lang="ar-SA" sz="1400" b="1" dirty="0">
              <a:latin typeface="Simplified Arabic" pitchFamily="18" charset="-78"/>
              <a:cs typeface="Simplified Arabic" pitchFamily="18" charset="-78"/>
            </a:endParaRPr>
          </a:p>
          <a:p>
            <a:pPr marL="266700" lvl="2" indent="-185738" algn="r" rtl="1">
              <a:spcBef>
                <a:spcPts val="600"/>
              </a:spcBef>
              <a:buClr>
                <a:srgbClr val="FF0000"/>
              </a:buClr>
              <a:buSzPct val="80000"/>
              <a:buFont typeface="Arial" panose="020B0604020202020204" pitchFamily="34" charset="0"/>
              <a:buChar char="•"/>
            </a:pPr>
            <a:r>
              <a:rPr lang="ar-SA" sz="1400" b="1" dirty="0">
                <a:latin typeface="Simplified Arabic" pitchFamily="18" charset="-78"/>
                <a:cs typeface="Simplified Arabic" pitchFamily="18" charset="-78"/>
              </a:rPr>
              <a:t>تيسير نظام الشراكة بين القطاعين العمومي </a:t>
            </a:r>
            <a:r>
              <a:rPr lang="ar-SA" sz="1400" b="1" dirty="0" smtClean="0">
                <a:latin typeface="Simplified Arabic" pitchFamily="18" charset="-78"/>
                <a:cs typeface="Simplified Arabic" pitchFamily="18" charset="-78"/>
              </a:rPr>
              <a:t>والخاص</a:t>
            </a:r>
            <a:endParaRPr lang="ar-SA" sz="1400" b="1" dirty="0">
              <a:latin typeface="Simplified Arabic" pitchFamily="18" charset="-78"/>
              <a:cs typeface="Simplified Arabic" pitchFamily="18" charset="-78"/>
            </a:endParaRPr>
          </a:p>
        </p:txBody>
      </p:sp>
      <p:sp>
        <p:nvSpPr>
          <p:cNvPr id="32" name="ZoneTexte 31"/>
          <p:cNvSpPr txBox="1"/>
          <p:nvPr/>
        </p:nvSpPr>
        <p:spPr>
          <a:xfrm>
            <a:off x="0" y="4171730"/>
            <a:ext cx="3475480" cy="681135"/>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marL="630238" lvl="2" indent="-180975" algn="just" rtl="1">
              <a:spcBef>
                <a:spcPts val="600"/>
              </a:spcBef>
              <a:buClr>
                <a:srgbClr val="FF0000"/>
              </a:buClr>
              <a:buSzPct val="80000"/>
              <a:buFont typeface="Arial" panose="020B0604020202020204" pitchFamily="34" charset="0"/>
              <a:buChar char="•"/>
              <a:tabLst>
                <a:tab pos="630238" algn="l"/>
                <a:tab pos="801688" algn="l"/>
              </a:tabLst>
            </a:pPr>
            <a:r>
              <a:rPr lang="ar-SA" sz="1400" b="1" dirty="0">
                <a:latin typeface="Simplified Arabic" pitchFamily="18" charset="-78"/>
                <a:cs typeface="Simplified Arabic" pitchFamily="18" charset="-78"/>
              </a:rPr>
              <a:t>استرجاع حصص تونس في السوق الأوروبية </a:t>
            </a:r>
          </a:p>
          <a:p>
            <a:pPr marL="630238" lvl="2" indent="-180975" algn="just" rtl="1">
              <a:spcBef>
                <a:spcPts val="600"/>
              </a:spcBef>
              <a:buClr>
                <a:srgbClr val="FF0000"/>
              </a:buClr>
              <a:buSzPct val="80000"/>
              <a:buFont typeface="Arial" panose="020B0604020202020204" pitchFamily="34" charset="0"/>
              <a:buChar char="•"/>
              <a:tabLst>
                <a:tab pos="630238" algn="l"/>
                <a:tab pos="801688" algn="l"/>
              </a:tabLst>
            </a:pPr>
            <a:r>
              <a:rPr lang="ar-SA" sz="1400" b="1" dirty="0">
                <a:latin typeface="Simplified Arabic" pitchFamily="18" charset="-78"/>
                <a:cs typeface="Simplified Arabic" pitchFamily="18" charset="-78"/>
              </a:rPr>
              <a:t>الارتقاء بالمجهود </a:t>
            </a:r>
            <a:r>
              <a:rPr lang="ar-SA" sz="1400" b="1" dirty="0" err="1">
                <a:latin typeface="Simplified Arabic" pitchFamily="18" charset="-78"/>
                <a:cs typeface="Simplified Arabic" pitchFamily="18" charset="-78"/>
              </a:rPr>
              <a:t>التصديري</a:t>
            </a:r>
            <a:endParaRPr lang="fr-FR" sz="1400" b="1" dirty="0" err="1">
              <a:latin typeface="Simplified Arabic" pitchFamily="18" charset="-78"/>
              <a:cs typeface="Simplified Arabic" pitchFamily="18" charset="-78"/>
            </a:endParaRPr>
          </a:p>
        </p:txBody>
      </p:sp>
      <p:sp>
        <p:nvSpPr>
          <p:cNvPr id="33" name="ZoneTexte 32"/>
          <p:cNvSpPr txBox="1"/>
          <p:nvPr/>
        </p:nvSpPr>
        <p:spPr>
          <a:xfrm>
            <a:off x="7875436" y="5342006"/>
            <a:ext cx="1049861" cy="595778"/>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defPPr>
              <a:defRPr lang="en-US"/>
            </a:defPPr>
            <a:lvl1pPr algn="r">
              <a:defRPr sz="1400" b="1" spc="-70">
                <a:latin typeface="Simplified Arabic" panose="02020603050405020304" pitchFamily="18" charset="-78"/>
                <a:ea typeface="+mn-ea"/>
                <a:cs typeface="Simplified Arabic" panose="02020603050405020304" pitchFamily="18" charset="-78"/>
              </a:defRPr>
            </a:lvl1pPr>
          </a:lstStyle>
          <a:p>
            <a:pPr algn="ctr"/>
            <a:r>
              <a:rPr lang="ar-SA" dirty="0">
                <a:solidFill>
                  <a:schemeClr val="bg1"/>
                </a:solidFill>
              </a:rPr>
              <a:t>القانون الأساسي للميزانية</a:t>
            </a:r>
            <a:endParaRPr lang="fr-FR" dirty="0" err="1">
              <a:solidFill>
                <a:schemeClr val="bg1"/>
              </a:solidFill>
            </a:endParaRPr>
          </a:p>
        </p:txBody>
      </p:sp>
      <p:sp>
        <p:nvSpPr>
          <p:cNvPr id="35" name="ZoneTexte 34"/>
          <p:cNvSpPr txBox="1"/>
          <p:nvPr/>
        </p:nvSpPr>
        <p:spPr>
          <a:xfrm>
            <a:off x="4818713" y="5221095"/>
            <a:ext cx="3461657" cy="681135"/>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marL="896938" lvl="2" indent="-180975" algn="just" rtl="1">
              <a:spcBef>
                <a:spcPts val="600"/>
              </a:spcBef>
              <a:buClr>
                <a:srgbClr val="FF0000"/>
              </a:buClr>
              <a:buSzPct val="80000"/>
              <a:buFont typeface="Arial" panose="020B0604020202020204" pitchFamily="34" charset="0"/>
              <a:buChar char="•"/>
            </a:pPr>
            <a:r>
              <a:rPr lang="ar-SA" sz="1400" b="1" dirty="0">
                <a:latin typeface="Simplified Arabic" pitchFamily="18" charset="-78"/>
                <a:cs typeface="Simplified Arabic" pitchFamily="18" charset="-78"/>
              </a:rPr>
              <a:t>تعميم العمل بالإطار الموحد للتصرف في المشاريع العمومية</a:t>
            </a:r>
            <a:endParaRPr lang="fr-FR" sz="1400" b="1" dirty="0" err="1">
              <a:latin typeface="Simplified Arabic" pitchFamily="18" charset="-78"/>
              <a:cs typeface="Simplified Arabic" pitchFamily="18" charset="-78"/>
            </a:endParaRPr>
          </a:p>
        </p:txBody>
      </p:sp>
      <p:sp>
        <p:nvSpPr>
          <p:cNvPr id="28" name="Accolade fermante 27"/>
          <p:cNvSpPr/>
          <p:nvPr/>
        </p:nvSpPr>
        <p:spPr>
          <a:xfrm>
            <a:off x="3023185" y="4009429"/>
            <a:ext cx="70358" cy="963462"/>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36" name="Accolade fermante 35"/>
          <p:cNvSpPr/>
          <p:nvPr/>
        </p:nvSpPr>
        <p:spPr>
          <a:xfrm>
            <a:off x="7696773" y="5158865"/>
            <a:ext cx="84173" cy="87672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37" name="Accolade fermante 36"/>
          <p:cNvSpPr/>
          <p:nvPr/>
        </p:nvSpPr>
        <p:spPr>
          <a:xfrm>
            <a:off x="7684432" y="2519034"/>
            <a:ext cx="58284" cy="98807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38" name="Accolade fermante 37"/>
          <p:cNvSpPr/>
          <p:nvPr/>
        </p:nvSpPr>
        <p:spPr>
          <a:xfrm>
            <a:off x="7684432" y="3653667"/>
            <a:ext cx="106236" cy="1168167"/>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pic>
        <p:nvPicPr>
          <p:cNvPr id="41" name="Image 40"/>
          <p:cNvPicPr>
            <a:picLocks noChangeAspect="1"/>
          </p:cNvPicPr>
          <p:nvPr/>
        </p:nvPicPr>
        <p:blipFill>
          <a:blip r:embed="rId2"/>
          <a:stretch>
            <a:fillRect/>
          </a:stretch>
        </p:blipFill>
        <p:spPr>
          <a:xfrm>
            <a:off x="3170513" y="2690083"/>
            <a:ext cx="1524577" cy="1082514"/>
          </a:xfrm>
          <a:prstGeom prst="rect">
            <a:avLst/>
          </a:prstGeom>
        </p:spPr>
      </p:pic>
      <p:sp>
        <p:nvSpPr>
          <p:cNvPr id="42" name="ZoneTexte 41"/>
          <p:cNvSpPr txBox="1"/>
          <p:nvPr/>
        </p:nvSpPr>
        <p:spPr>
          <a:xfrm>
            <a:off x="3346592" y="2882134"/>
            <a:ext cx="1113135" cy="595778"/>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defPPr>
              <a:defRPr lang="en-US"/>
            </a:defPPr>
            <a:lvl1pPr algn="r">
              <a:defRPr sz="1400" b="1" spc="-70">
                <a:latin typeface="Simplified Arabic" panose="02020603050405020304" pitchFamily="18" charset="-78"/>
                <a:ea typeface="+mn-ea"/>
                <a:cs typeface="Simplified Arabic" panose="02020603050405020304" pitchFamily="18" charset="-78"/>
              </a:defRPr>
            </a:lvl1pPr>
          </a:lstStyle>
          <a:p>
            <a:pPr algn="ctr"/>
            <a:r>
              <a:rPr lang="ar-SA" dirty="0" smtClean="0">
                <a:solidFill>
                  <a:schemeClr val="bg1"/>
                </a:solidFill>
              </a:rPr>
              <a:t>المخطط الشمسي التونسي</a:t>
            </a:r>
            <a:endParaRPr lang="fr-FR" dirty="0" err="1">
              <a:solidFill>
                <a:schemeClr val="bg1"/>
              </a:solidFill>
            </a:endParaRPr>
          </a:p>
        </p:txBody>
      </p:sp>
      <p:sp>
        <p:nvSpPr>
          <p:cNvPr id="43" name="Accolade fermante 42"/>
          <p:cNvSpPr/>
          <p:nvPr/>
        </p:nvSpPr>
        <p:spPr>
          <a:xfrm>
            <a:off x="3084291" y="2776934"/>
            <a:ext cx="70358" cy="963462"/>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44" name="ZoneTexte 43"/>
          <p:cNvSpPr txBox="1"/>
          <p:nvPr/>
        </p:nvSpPr>
        <p:spPr>
          <a:xfrm>
            <a:off x="101318" y="2757192"/>
            <a:ext cx="2957046" cy="1035301"/>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marL="180975" lvl="2" indent="-180975" algn="just" rtl="1">
              <a:spcBef>
                <a:spcPts val="600"/>
              </a:spcBef>
              <a:buClr>
                <a:srgbClr val="FF0000"/>
              </a:buClr>
              <a:buSzPct val="80000"/>
              <a:buFont typeface="Arial" panose="020B0604020202020204" pitchFamily="34" charset="0"/>
              <a:buChar char="•"/>
              <a:tabLst>
                <a:tab pos="180975" algn="l"/>
                <a:tab pos="801688" algn="l"/>
              </a:tabLst>
            </a:pPr>
            <a:r>
              <a:rPr lang="ar-TN" sz="1400" b="1" dirty="0" smtClean="0">
                <a:latin typeface="Simplified Arabic" pitchFamily="18" charset="-78"/>
                <a:cs typeface="Simplified Arabic" pitchFamily="18" charset="-78"/>
              </a:rPr>
              <a:t>تكريس </a:t>
            </a:r>
            <a:r>
              <a:rPr lang="ar-SA" sz="1400" b="1" dirty="0" smtClean="0">
                <a:latin typeface="Simplified Arabic" pitchFamily="18" charset="-78"/>
                <a:cs typeface="Simplified Arabic" pitchFamily="18" charset="-78"/>
              </a:rPr>
              <a:t>الانتقال </a:t>
            </a:r>
            <a:r>
              <a:rPr lang="ar-SA" sz="1400" b="1" dirty="0" err="1" smtClean="0">
                <a:latin typeface="Simplified Arabic" pitchFamily="18" charset="-78"/>
                <a:cs typeface="Simplified Arabic" pitchFamily="18" charset="-78"/>
              </a:rPr>
              <a:t>الطاقي</a:t>
            </a:r>
            <a:endParaRPr lang="ar-SA" sz="1400" b="1" dirty="0">
              <a:latin typeface="Simplified Arabic" pitchFamily="18" charset="-78"/>
              <a:cs typeface="Simplified Arabic" pitchFamily="18" charset="-78"/>
            </a:endParaRPr>
          </a:p>
          <a:p>
            <a:pPr marL="180975" lvl="2" indent="-180975" algn="just" rtl="1">
              <a:spcBef>
                <a:spcPts val="600"/>
              </a:spcBef>
              <a:buClr>
                <a:srgbClr val="FF0000"/>
              </a:buClr>
              <a:buSzPct val="80000"/>
              <a:buFont typeface="Arial" panose="020B0604020202020204" pitchFamily="34" charset="0"/>
              <a:buChar char="•"/>
              <a:tabLst>
                <a:tab pos="180975" algn="l"/>
                <a:tab pos="801688" algn="l"/>
              </a:tabLst>
            </a:pPr>
            <a:r>
              <a:rPr lang="ar-SA" sz="1400" b="1" dirty="0" smtClean="0">
                <a:latin typeface="Simplified Arabic" pitchFamily="18" charset="-78"/>
                <a:cs typeface="Simplified Arabic" pitchFamily="18" charset="-78"/>
              </a:rPr>
              <a:t>تسريع تنفيذ مشاريع انتاج الكهرباء من الطاقات المتجددة في اطار الشراكة بين القطاع</a:t>
            </a:r>
            <a:r>
              <a:rPr lang="ar-TN" sz="1400" b="1" dirty="0" smtClean="0">
                <a:latin typeface="Simplified Arabic" pitchFamily="18" charset="-78"/>
                <a:cs typeface="Simplified Arabic" pitchFamily="18" charset="-78"/>
              </a:rPr>
              <a:t>ين العمومي </a:t>
            </a:r>
            <a:r>
              <a:rPr lang="ar-SA" sz="1400" b="1" dirty="0" smtClean="0">
                <a:latin typeface="Simplified Arabic" pitchFamily="18" charset="-78"/>
                <a:cs typeface="Simplified Arabic" pitchFamily="18" charset="-78"/>
              </a:rPr>
              <a:t> والخاص</a:t>
            </a:r>
            <a:endParaRPr lang="fr-FR" sz="1400" b="1" dirty="0" err="1">
              <a:latin typeface="Simplified Arabic" pitchFamily="18" charset="-78"/>
              <a:cs typeface="Simplified Arabic" pitchFamily="18" charset="-78"/>
            </a:endParaRPr>
          </a:p>
        </p:txBody>
      </p:sp>
      <p:pic>
        <p:nvPicPr>
          <p:cNvPr id="45" name="Image 44"/>
          <p:cNvPicPr>
            <a:picLocks noChangeAspect="1"/>
          </p:cNvPicPr>
          <p:nvPr/>
        </p:nvPicPr>
        <p:blipFill>
          <a:blip r:embed="rId2"/>
          <a:stretch>
            <a:fillRect/>
          </a:stretch>
        </p:blipFill>
        <p:spPr>
          <a:xfrm>
            <a:off x="3214741" y="5147569"/>
            <a:ext cx="1524577" cy="950712"/>
          </a:xfrm>
          <a:prstGeom prst="rect">
            <a:avLst/>
          </a:prstGeom>
        </p:spPr>
      </p:pic>
      <p:sp>
        <p:nvSpPr>
          <p:cNvPr id="46" name="ZoneTexte 45"/>
          <p:cNvSpPr txBox="1"/>
          <p:nvPr/>
        </p:nvSpPr>
        <p:spPr>
          <a:xfrm>
            <a:off x="3193855" y="5321634"/>
            <a:ext cx="1406394" cy="596561"/>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defPPr>
              <a:defRPr lang="en-US"/>
            </a:defPPr>
            <a:lvl1pPr algn="r">
              <a:defRPr sz="1400" b="1" spc="-70">
                <a:latin typeface="Simplified Arabic" panose="02020603050405020304" pitchFamily="18" charset="-78"/>
                <a:ea typeface="+mn-ea"/>
                <a:cs typeface="Simplified Arabic" panose="02020603050405020304" pitchFamily="18" charset="-78"/>
              </a:defRPr>
            </a:lvl1pPr>
          </a:lstStyle>
          <a:p>
            <a:pPr algn="ctr"/>
            <a:r>
              <a:rPr lang="ar-SA" dirty="0" smtClean="0">
                <a:solidFill>
                  <a:schemeClr val="bg1"/>
                </a:solidFill>
              </a:rPr>
              <a:t>الإصلاحات </a:t>
            </a:r>
            <a:r>
              <a:rPr lang="ar-SA" dirty="0" err="1" smtClean="0">
                <a:solidFill>
                  <a:schemeClr val="bg1"/>
                </a:solidFill>
              </a:rPr>
              <a:t>الجبائية</a:t>
            </a:r>
            <a:r>
              <a:rPr lang="ar-SA" dirty="0" smtClean="0">
                <a:solidFill>
                  <a:schemeClr val="bg1"/>
                </a:solidFill>
              </a:rPr>
              <a:t> ومقاومة التهرب الجبائي </a:t>
            </a:r>
            <a:endParaRPr lang="fr-FR" dirty="0" err="1">
              <a:solidFill>
                <a:schemeClr val="bg1"/>
              </a:solidFill>
            </a:endParaRPr>
          </a:p>
        </p:txBody>
      </p:sp>
      <p:sp>
        <p:nvSpPr>
          <p:cNvPr id="47" name="Accolade fermante 46"/>
          <p:cNvSpPr/>
          <p:nvPr/>
        </p:nvSpPr>
        <p:spPr>
          <a:xfrm>
            <a:off x="3054436" y="5147623"/>
            <a:ext cx="70358" cy="963462"/>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48" name="ZoneTexte 47"/>
          <p:cNvSpPr txBox="1"/>
          <p:nvPr/>
        </p:nvSpPr>
        <p:spPr>
          <a:xfrm>
            <a:off x="14810" y="5112125"/>
            <a:ext cx="3008375" cy="986618"/>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marL="180975" lvl="2" indent="-95250" algn="just" rtl="1">
              <a:spcBef>
                <a:spcPts val="600"/>
              </a:spcBef>
              <a:buClr>
                <a:srgbClr val="FF0000"/>
              </a:buClr>
              <a:buSzPct val="80000"/>
              <a:buFont typeface="Arial" panose="020B0604020202020204" pitchFamily="34" charset="0"/>
              <a:buChar char="•"/>
              <a:tabLst>
                <a:tab pos="266700" algn="l"/>
                <a:tab pos="801688" algn="l"/>
              </a:tabLst>
            </a:pPr>
            <a:r>
              <a:rPr lang="ar-SA" sz="1400" b="1" dirty="0">
                <a:latin typeface="Simplified Arabic" pitchFamily="18" charset="-78"/>
                <a:cs typeface="Simplified Arabic" pitchFamily="18" charset="-78"/>
              </a:rPr>
              <a:t>سحب تونس من قائمة </a:t>
            </a:r>
            <a:r>
              <a:rPr lang="ar-SA" sz="1400" b="1" dirty="0" err="1">
                <a:latin typeface="Simplified Arabic" pitchFamily="18" charset="-78"/>
                <a:cs typeface="Simplified Arabic" pitchFamily="18" charset="-78"/>
              </a:rPr>
              <a:t>الملاذات</a:t>
            </a:r>
            <a:r>
              <a:rPr lang="ar-SA" sz="1400" b="1" dirty="0">
                <a:latin typeface="Simplified Arabic" pitchFamily="18" charset="-78"/>
                <a:cs typeface="Simplified Arabic" pitchFamily="18" charset="-78"/>
              </a:rPr>
              <a:t> الضريبية للاتحاد الأوروبي في مارس 2019</a:t>
            </a:r>
          </a:p>
          <a:p>
            <a:pPr marL="180975" lvl="2" indent="-95250" algn="just" rtl="1">
              <a:spcBef>
                <a:spcPts val="600"/>
              </a:spcBef>
              <a:buClr>
                <a:srgbClr val="FF0000"/>
              </a:buClr>
              <a:buSzPct val="80000"/>
              <a:buFont typeface="Arial" panose="020B0604020202020204" pitchFamily="34" charset="0"/>
              <a:buChar char="•"/>
              <a:tabLst>
                <a:tab pos="266700" algn="l"/>
                <a:tab pos="801688" algn="l"/>
              </a:tabLst>
            </a:pPr>
            <a:r>
              <a:rPr lang="ar-SA" sz="1400" b="1" dirty="0">
                <a:latin typeface="Simplified Arabic" pitchFamily="18" charset="-78"/>
                <a:cs typeface="Simplified Arabic" pitchFamily="18" charset="-78"/>
              </a:rPr>
              <a:t>تكريس </a:t>
            </a:r>
            <a:r>
              <a:rPr lang="ar-SA" sz="1400" b="1" dirty="0" err="1">
                <a:latin typeface="Simplified Arabic" pitchFamily="18" charset="-78"/>
                <a:cs typeface="Simplified Arabic" pitchFamily="18" charset="-78"/>
              </a:rPr>
              <a:t>الإمتثال</a:t>
            </a:r>
            <a:r>
              <a:rPr lang="ar-SA" sz="1400" b="1" dirty="0">
                <a:latin typeface="Simplified Arabic" pitchFamily="18" charset="-78"/>
                <a:cs typeface="Simplified Arabic" pitchFamily="18" charset="-78"/>
              </a:rPr>
              <a:t> الضريبي وشفافية المعاملات البنكية</a:t>
            </a:r>
            <a:endParaRPr lang="fr-FR" sz="1400" b="1" dirty="0" err="1">
              <a:latin typeface="Simplified Arabic" pitchFamily="18" charset="-78"/>
              <a:cs typeface="Simplified Arabic" pitchFamily="18" charset="-78"/>
            </a:endParaRPr>
          </a:p>
        </p:txBody>
      </p:sp>
    </p:spTree>
    <p:extLst>
      <p:ext uri="{BB962C8B-B14F-4D97-AF65-F5344CB8AC3E}">
        <p14:creationId xmlns:p14="http://schemas.microsoft.com/office/powerpoint/2010/main" xmlns="" val="26997151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1321721" y="308051"/>
            <a:ext cx="6064898" cy="354563"/>
          </a:xfrm>
          <a:prstGeom prst="rect">
            <a:avLst/>
          </a:prstGeom>
          <a:noFill/>
          <a:ln w="9525">
            <a:solidFill>
              <a:schemeClr val="bg1"/>
            </a:solid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ctr"/>
            <a:r>
              <a:rPr lang="ar-SA" sz="2200" b="1" dirty="0">
                <a:solidFill>
                  <a:srgbClr val="E51B2E"/>
                </a:solidFill>
                <a:latin typeface="Simplified Arabic" pitchFamily="18" charset="-78"/>
                <a:cs typeface="Simplified Arabic" pitchFamily="18" charset="-78"/>
              </a:rPr>
              <a:t>الإصلاحات </a:t>
            </a:r>
            <a:r>
              <a:rPr lang="ar-SA" sz="2200" b="1" dirty="0" smtClean="0">
                <a:solidFill>
                  <a:srgbClr val="E51B2E"/>
                </a:solidFill>
                <a:latin typeface="Simplified Arabic" pitchFamily="18" charset="-78"/>
                <a:cs typeface="Simplified Arabic" pitchFamily="18" charset="-78"/>
              </a:rPr>
              <a:t>الاجتماعية</a:t>
            </a:r>
            <a:endParaRPr lang="fr-FR" sz="2200" b="1" dirty="0" err="1">
              <a:solidFill>
                <a:srgbClr val="E51B2E"/>
              </a:solidFill>
              <a:latin typeface="Simplified Arabic" pitchFamily="18" charset="-78"/>
              <a:cs typeface="Simplified Arabic" pitchFamily="18" charset="-78"/>
            </a:endParaRPr>
          </a:p>
        </p:txBody>
      </p:sp>
      <p:sp>
        <p:nvSpPr>
          <p:cNvPr id="3" name="Hexagone 2"/>
          <p:cNvSpPr/>
          <p:nvPr/>
        </p:nvSpPr>
        <p:spPr>
          <a:xfrm>
            <a:off x="7539371" y="1428184"/>
            <a:ext cx="1371429" cy="1062857"/>
          </a:xfrm>
          <a:prstGeom prst="hexagon">
            <a:avLst/>
          </a:prstGeom>
          <a:solidFill>
            <a:srgbClr val="E51B2E"/>
          </a:solidFill>
          <a:ln w="19050" cap="flat" cmpd="sng" algn="ctr">
            <a:noFill/>
            <a:prstDash val="solid"/>
            <a:round/>
            <a:headEnd type="none" w="med" len="med"/>
            <a:tailEnd type="none" w="med" len="med"/>
          </a:ln>
          <a:effectLst>
            <a:softEdge rad="12700"/>
          </a:effectLst>
        </p:spPr>
        <p:txBody>
          <a:bodyPr vert="horz" wrap="square" lIns="0" tIns="45520" rIns="0" bIns="45520" numCol="1" rtlCol="0" anchor="ctr" anchorCtr="0" compatLnSpc="1">
            <a:prstTxWarp prst="textNoShape">
              <a:avLst/>
            </a:prstTxWarp>
          </a:bodyPr>
          <a:lstStyle/>
          <a:p>
            <a:pPr algn="ctr" defTabSz="910185" eaLnBrk="0" fontAlgn="base" hangingPunct="0">
              <a:spcBef>
                <a:spcPct val="50000"/>
              </a:spcBef>
              <a:spcAft>
                <a:spcPct val="0"/>
              </a:spcAft>
            </a:pPr>
            <a:endParaRPr lang="fr-FR" sz="1100" b="1" dirty="0">
              <a:solidFill>
                <a:schemeClr val="bg1"/>
              </a:solidFill>
              <a:latin typeface="Century Gothic" panose="020B0502020202020204" pitchFamily="34" charset="0"/>
              <a:ea typeface="Adobe Gothic Std B" panose="020B0800000000000000" pitchFamily="34" charset="-128"/>
              <a:cs typeface="Arial"/>
            </a:endParaRPr>
          </a:p>
        </p:txBody>
      </p:sp>
      <p:sp>
        <p:nvSpPr>
          <p:cNvPr id="4" name="ZoneTexte 3"/>
          <p:cNvSpPr txBox="1"/>
          <p:nvPr/>
        </p:nvSpPr>
        <p:spPr>
          <a:xfrm>
            <a:off x="7478638" y="1661449"/>
            <a:ext cx="1101011" cy="641804"/>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r"/>
            <a:r>
              <a:rPr lang="ar-SA" sz="1400" b="1" dirty="0" smtClean="0">
                <a:solidFill>
                  <a:schemeClr val="bg1"/>
                </a:solidFill>
                <a:latin typeface="Simplified Arabic" panose="02020603050405020304" pitchFamily="18" charset="-78"/>
                <a:cs typeface="Simplified Arabic" panose="02020603050405020304" pitchFamily="18" charset="-78"/>
              </a:rPr>
              <a:t>برنامج الأمان الإجتماعي</a:t>
            </a:r>
            <a:endParaRPr lang="fr-FR" sz="1400" b="1" dirty="0" smtClean="0">
              <a:solidFill>
                <a:schemeClr val="bg1"/>
              </a:solidFill>
              <a:latin typeface="Simplified Arabic" panose="02020603050405020304" pitchFamily="18" charset="-78"/>
              <a:cs typeface="Simplified Arabic" panose="02020603050405020304" pitchFamily="18" charset="-78"/>
            </a:endParaRPr>
          </a:p>
        </p:txBody>
      </p:sp>
      <p:sp>
        <p:nvSpPr>
          <p:cNvPr id="5" name="ZoneTexte 4"/>
          <p:cNvSpPr txBox="1"/>
          <p:nvPr/>
        </p:nvSpPr>
        <p:spPr>
          <a:xfrm>
            <a:off x="543465" y="1079048"/>
            <a:ext cx="6771736" cy="2432973"/>
          </a:xfrm>
          <a:prstGeom prst="rect">
            <a:avLst/>
          </a:prstGeom>
          <a:noFill/>
          <a:ln w="9525">
            <a:solidFill>
              <a:schemeClr val="bg1"/>
            </a:solidFill>
            <a:miter lim="800000"/>
            <a:headEnd/>
            <a:tailEnd/>
          </a:ln>
          <a:effectLst/>
          <a:extLst/>
        </p:spPr>
        <p:txBody>
          <a:bodyPr vert="horz" wrap="square" lIns="76200" tIns="76200" rIns="76200" bIns="76200" numCol="1" rtlCol="0" anchor="t" anchorCtr="0" compatLnSpc="1">
            <a:prstTxWarp prst="textNoShape">
              <a:avLst/>
            </a:prstTxWarp>
            <a:noAutofit/>
          </a:bodyPr>
          <a:lstStyle/>
          <a:p>
            <a:pPr marL="720725" lvl="2" indent="-285750" algn="just" rtl="1">
              <a:spcBef>
                <a:spcPts val="600"/>
              </a:spcBef>
              <a:buClr>
                <a:srgbClr val="FF0000"/>
              </a:buClr>
              <a:buSzPct val="80000"/>
              <a:buFont typeface="Arial" panose="020B0604020202020204" pitchFamily="34" charset="0"/>
              <a:buChar char="•"/>
            </a:pPr>
            <a:r>
              <a:rPr lang="ar-SA" sz="1600" b="1" dirty="0">
                <a:latin typeface="Simplified Arabic" pitchFamily="18" charset="-78"/>
                <a:cs typeface="Simplified Arabic" pitchFamily="18" charset="-78"/>
              </a:rPr>
              <a:t>ضمان الحق في حد ادنى من الدخل والحق في المنافع الصحية للفئات الفقيرة والفئات محدودة الدخل</a:t>
            </a:r>
          </a:p>
          <a:p>
            <a:pPr marL="720725" lvl="2" indent="-285750" algn="just" rtl="1">
              <a:spcBef>
                <a:spcPts val="600"/>
              </a:spcBef>
              <a:buClr>
                <a:srgbClr val="FF0000"/>
              </a:buClr>
              <a:buSzPct val="80000"/>
              <a:buFont typeface="Arial" panose="020B0604020202020204" pitchFamily="34" charset="0"/>
              <a:buChar char="•"/>
            </a:pPr>
            <a:r>
              <a:rPr lang="ar-SA" sz="1600" b="1" dirty="0">
                <a:latin typeface="Simplified Arabic" pitchFamily="18" charset="-78"/>
                <a:cs typeface="Simplified Arabic" pitchFamily="18" charset="-78"/>
              </a:rPr>
              <a:t>النهوض بالفئات الفقيرة والفئات محدودة الدخل والرفع من ظروف عيشها وتأمين نفادها الى الخدمات الأساسية</a:t>
            </a:r>
          </a:p>
          <a:p>
            <a:pPr marL="720725" lvl="2" indent="-285750" algn="just" rtl="1">
              <a:spcBef>
                <a:spcPts val="600"/>
              </a:spcBef>
              <a:buClr>
                <a:srgbClr val="FF0000"/>
              </a:buClr>
              <a:buSzPct val="80000"/>
              <a:buFont typeface="Arial" panose="020B0604020202020204" pitchFamily="34" charset="0"/>
              <a:buChar char="•"/>
            </a:pPr>
            <a:r>
              <a:rPr lang="ar-SA" sz="1600" b="1" dirty="0">
                <a:latin typeface="Simplified Arabic" pitchFamily="18" charset="-78"/>
                <a:cs typeface="Simplified Arabic" pitchFamily="18" charset="-78"/>
              </a:rPr>
              <a:t>تعزيز </a:t>
            </a:r>
            <a:r>
              <a:rPr lang="ar-SA" sz="1600" b="1" dirty="0" smtClean="0">
                <a:latin typeface="Simplified Arabic" pitchFamily="18" charset="-78"/>
                <a:cs typeface="Simplified Arabic" pitchFamily="18" charset="-78"/>
              </a:rPr>
              <a:t>آليات </a:t>
            </a:r>
            <a:r>
              <a:rPr lang="ar-SA" sz="1600" b="1" dirty="0">
                <a:latin typeface="Simplified Arabic" pitchFamily="18" charset="-78"/>
                <a:cs typeface="Simplified Arabic" pitchFamily="18" charset="-78"/>
              </a:rPr>
              <a:t>الإدماج والتمكين الاقتصادي وتكريس </a:t>
            </a:r>
            <a:r>
              <a:rPr lang="ar-SA" sz="1600" b="1" dirty="0" smtClean="0">
                <a:latin typeface="Simplified Arabic" pitchFamily="18" charset="-78"/>
                <a:cs typeface="Simplified Arabic" pitchFamily="18" charset="-78"/>
              </a:rPr>
              <a:t>مبدأ </a:t>
            </a:r>
            <a:r>
              <a:rPr lang="ar-SA" sz="1600" b="1" dirty="0">
                <a:latin typeface="Simplified Arabic" pitchFamily="18" charset="-78"/>
                <a:cs typeface="Simplified Arabic" pitchFamily="18" charset="-78"/>
              </a:rPr>
              <a:t>التعويل على الذات </a:t>
            </a:r>
          </a:p>
          <a:p>
            <a:pPr marL="720725" lvl="2" indent="-285750" algn="just" rtl="1">
              <a:spcBef>
                <a:spcPts val="600"/>
              </a:spcBef>
              <a:buClr>
                <a:srgbClr val="FF0000"/>
              </a:buClr>
              <a:buSzPct val="80000"/>
              <a:buFont typeface="Arial" panose="020B0604020202020204" pitchFamily="34" charset="0"/>
              <a:buChar char="•"/>
            </a:pPr>
            <a:r>
              <a:rPr lang="ar-SA" sz="1600" b="1" dirty="0" smtClean="0">
                <a:latin typeface="Simplified Arabic" pitchFamily="18" charset="-78"/>
                <a:cs typeface="Simplified Arabic" pitchFamily="18" charset="-78"/>
              </a:rPr>
              <a:t>الحد</a:t>
            </a:r>
            <a:r>
              <a:rPr lang="ar-TN" sz="1600" b="1" dirty="0" smtClean="0">
                <a:latin typeface="Simplified Arabic" pitchFamily="18" charset="-78"/>
                <a:cs typeface="Simplified Arabic" pitchFamily="18" charset="-78"/>
              </a:rPr>
              <a:t>ّ</a:t>
            </a:r>
            <a:r>
              <a:rPr lang="ar-SA" sz="1600" b="1" dirty="0" smtClean="0">
                <a:latin typeface="Simplified Arabic" pitchFamily="18" charset="-78"/>
                <a:cs typeface="Simplified Arabic" pitchFamily="18" charset="-78"/>
              </a:rPr>
              <a:t> </a:t>
            </a:r>
            <a:r>
              <a:rPr lang="ar-SA" sz="1600" b="1" dirty="0">
                <a:latin typeface="Simplified Arabic" pitchFamily="18" charset="-78"/>
                <a:cs typeface="Simplified Arabic" pitchFamily="18" charset="-78"/>
              </a:rPr>
              <a:t>من الفقر والارتداد إليه وتوارثه</a:t>
            </a:r>
          </a:p>
          <a:p>
            <a:pPr marL="720725" lvl="2" indent="-285750" algn="just" rtl="1">
              <a:spcBef>
                <a:spcPts val="600"/>
              </a:spcBef>
              <a:buClr>
                <a:srgbClr val="FF0000"/>
              </a:buClr>
              <a:buSzPct val="80000"/>
              <a:buFont typeface="Arial" panose="020B0604020202020204" pitchFamily="34" charset="0"/>
              <a:buChar char="•"/>
            </a:pPr>
            <a:r>
              <a:rPr lang="ar-SA" sz="1600" b="1" dirty="0">
                <a:latin typeface="Simplified Arabic" pitchFamily="18" charset="-78"/>
                <a:cs typeface="Simplified Arabic" pitchFamily="18" charset="-78"/>
              </a:rPr>
              <a:t>مقاومة الإقصاء </a:t>
            </a:r>
            <a:r>
              <a:rPr lang="ar-TN" sz="1600" b="1" dirty="0" smtClean="0">
                <a:latin typeface="Simplified Arabic" pitchFamily="18" charset="-78"/>
                <a:cs typeface="Simplified Arabic" pitchFamily="18" charset="-78"/>
              </a:rPr>
              <a:t>وتقليص </a:t>
            </a:r>
            <a:r>
              <a:rPr lang="ar-SA" sz="1600" b="1" dirty="0" smtClean="0">
                <a:latin typeface="Simplified Arabic" pitchFamily="18" charset="-78"/>
                <a:cs typeface="Simplified Arabic" pitchFamily="18" charset="-78"/>
              </a:rPr>
              <a:t>التفاوت </a:t>
            </a:r>
            <a:r>
              <a:rPr lang="ar-SA" sz="1600" b="1" dirty="0">
                <a:latin typeface="Simplified Arabic" pitchFamily="18" charset="-78"/>
                <a:cs typeface="Simplified Arabic" pitchFamily="18" charset="-78"/>
              </a:rPr>
              <a:t>الاجتماعي والجهوي وتعزيز تكافئ الفرص وتكريس العدالة الاجتماعية والتضامن</a:t>
            </a:r>
          </a:p>
        </p:txBody>
      </p:sp>
      <p:sp>
        <p:nvSpPr>
          <p:cNvPr id="6" name="Accolade fermante 5"/>
          <p:cNvSpPr/>
          <p:nvPr/>
        </p:nvSpPr>
        <p:spPr>
          <a:xfrm>
            <a:off x="7152234" y="1183944"/>
            <a:ext cx="162965" cy="2038140"/>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7" name="Hexagone 6"/>
          <p:cNvSpPr/>
          <p:nvPr/>
        </p:nvSpPr>
        <p:spPr>
          <a:xfrm>
            <a:off x="7506562" y="3252805"/>
            <a:ext cx="1371429" cy="1062857"/>
          </a:xfrm>
          <a:prstGeom prst="hexagon">
            <a:avLst/>
          </a:prstGeom>
          <a:solidFill>
            <a:srgbClr val="E51B2E"/>
          </a:solidFill>
          <a:ln w="19050" cap="flat" cmpd="sng" algn="ctr">
            <a:noFill/>
            <a:prstDash val="solid"/>
            <a:round/>
            <a:headEnd type="none" w="med" len="med"/>
            <a:tailEnd type="none" w="med" len="med"/>
          </a:ln>
          <a:effectLst>
            <a:softEdge rad="12700"/>
          </a:effectLst>
        </p:spPr>
        <p:txBody>
          <a:bodyPr vert="horz" wrap="square" lIns="0" tIns="45520" rIns="0" bIns="45520" numCol="1" rtlCol="0" anchor="ctr" anchorCtr="0" compatLnSpc="1">
            <a:prstTxWarp prst="textNoShape">
              <a:avLst/>
            </a:prstTxWarp>
          </a:bodyPr>
          <a:lstStyle/>
          <a:p>
            <a:pPr algn="ctr" defTabSz="910185" eaLnBrk="0" fontAlgn="base" hangingPunct="0">
              <a:spcBef>
                <a:spcPct val="50000"/>
              </a:spcBef>
              <a:spcAft>
                <a:spcPct val="0"/>
              </a:spcAft>
            </a:pPr>
            <a:endParaRPr lang="fr-FR" sz="1100" b="1" dirty="0">
              <a:solidFill>
                <a:schemeClr val="bg1"/>
              </a:solidFill>
              <a:latin typeface="Century Gothic" panose="020B0502020202020204" pitchFamily="34" charset="0"/>
              <a:ea typeface="Adobe Gothic Std B" panose="020B0800000000000000" pitchFamily="34" charset="-128"/>
              <a:cs typeface="Arial"/>
            </a:endParaRPr>
          </a:p>
        </p:txBody>
      </p:sp>
      <p:sp>
        <p:nvSpPr>
          <p:cNvPr id="8" name="ZoneTexte 7"/>
          <p:cNvSpPr txBox="1"/>
          <p:nvPr/>
        </p:nvSpPr>
        <p:spPr>
          <a:xfrm>
            <a:off x="7539371" y="3605508"/>
            <a:ext cx="1101011" cy="437939"/>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r"/>
            <a:r>
              <a:rPr lang="ar-SA" sz="1400" b="1" dirty="0" smtClean="0">
                <a:solidFill>
                  <a:schemeClr val="bg1"/>
                </a:solidFill>
                <a:latin typeface="Simplified Arabic" panose="02020603050405020304" pitchFamily="18" charset="-78"/>
                <a:cs typeface="Simplified Arabic" panose="02020603050405020304" pitchFamily="18" charset="-78"/>
              </a:rPr>
              <a:t>قانون التقاعد</a:t>
            </a:r>
            <a:endParaRPr lang="fr-FR" sz="1400" b="1" dirty="0" err="1" smtClean="0">
              <a:solidFill>
                <a:schemeClr val="bg1"/>
              </a:solidFill>
              <a:latin typeface="Simplified Arabic" panose="02020603050405020304" pitchFamily="18" charset="-78"/>
              <a:cs typeface="Simplified Arabic" panose="02020603050405020304" pitchFamily="18" charset="-78"/>
            </a:endParaRPr>
          </a:p>
        </p:txBody>
      </p:sp>
      <p:sp>
        <p:nvSpPr>
          <p:cNvPr id="9" name="Accolade fermante 8"/>
          <p:cNvSpPr/>
          <p:nvPr/>
        </p:nvSpPr>
        <p:spPr>
          <a:xfrm>
            <a:off x="7173304" y="3512021"/>
            <a:ext cx="141896" cy="750397"/>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0" name="ZoneTexte 9"/>
          <p:cNvSpPr txBox="1"/>
          <p:nvPr/>
        </p:nvSpPr>
        <p:spPr>
          <a:xfrm>
            <a:off x="1613140" y="3585684"/>
            <a:ext cx="5620576" cy="621500"/>
          </a:xfrm>
          <a:prstGeom prst="rect">
            <a:avLst/>
          </a:prstGeom>
          <a:noFill/>
          <a:ln w="9525">
            <a:solidFill>
              <a:schemeClr val="bg1"/>
            </a:solidFill>
            <a:miter lim="800000"/>
            <a:headEnd/>
            <a:tailEnd/>
          </a:ln>
          <a:effectLst/>
          <a:extLst/>
        </p:spPr>
        <p:txBody>
          <a:bodyPr vert="horz" wrap="square" lIns="76200" tIns="76200" rIns="76200" bIns="76200" numCol="1" rtlCol="0" anchor="t" anchorCtr="0" compatLnSpc="1">
            <a:prstTxWarp prst="textNoShape">
              <a:avLst/>
            </a:prstTxWarp>
            <a:noAutofit/>
          </a:bodyPr>
          <a:lstStyle/>
          <a:p>
            <a:pPr marL="720725" lvl="2" indent="-285750" algn="just" rtl="1">
              <a:spcBef>
                <a:spcPts val="600"/>
              </a:spcBef>
              <a:buClr>
                <a:srgbClr val="FF0000"/>
              </a:buClr>
              <a:buSzPct val="80000"/>
              <a:buFont typeface="Arial" panose="020B0604020202020204" pitchFamily="34" charset="0"/>
              <a:buChar char="•"/>
            </a:pPr>
            <a:r>
              <a:rPr lang="ar-SA" sz="1600" b="1" dirty="0">
                <a:latin typeface="Simplified Arabic" pitchFamily="18" charset="-78"/>
                <a:cs typeface="Simplified Arabic" pitchFamily="18" charset="-78"/>
              </a:rPr>
              <a:t>التقدم في اصلاحات منظومة الضمان الاجتماعي</a:t>
            </a:r>
          </a:p>
        </p:txBody>
      </p:sp>
      <p:sp>
        <p:nvSpPr>
          <p:cNvPr id="11" name="Hexagone 10"/>
          <p:cNvSpPr/>
          <p:nvPr/>
        </p:nvSpPr>
        <p:spPr>
          <a:xfrm>
            <a:off x="7586089" y="4668365"/>
            <a:ext cx="1371429" cy="1062857"/>
          </a:xfrm>
          <a:prstGeom prst="hexagon">
            <a:avLst/>
          </a:prstGeom>
          <a:solidFill>
            <a:srgbClr val="E51B2E"/>
          </a:solidFill>
          <a:ln w="19050" cap="flat" cmpd="sng" algn="ctr">
            <a:noFill/>
            <a:prstDash val="solid"/>
            <a:round/>
            <a:headEnd type="none" w="med" len="med"/>
            <a:tailEnd type="none" w="med" len="med"/>
          </a:ln>
          <a:effectLst>
            <a:softEdge rad="12700"/>
          </a:effectLst>
        </p:spPr>
        <p:txBody>
          <a:bodyPr vert="horz" wrap="square" lIns="0" tIns="45520" rIns="0" bIns="45520" numCol="1" rtlCol="0" anchor="ctr" anchorCtr="0" compatLnSpc="1">
            <a:prstTxWarp prst="textNoShape">
              <a:avLst/>
            </a:prstTxWarp>
          </a:bodyPr>
          <a:lstStyle/>
          <a:p>
            <a:pPr algn="ctr" defTabSz="910185" eaLnBrk="0" fontAlgn="base" hangingPunct="0">
              <a:spcBef>
                <a:spcPct val="50000"/>
              </a:spcBef>
              <a:spcAft>
                <a:spcPct val="0"/>
              </a:spcAft>
            </a:pPr>
            <a:endParaRPr lang="fr-FR" sz="1100" b="1" dirty="0">
              <a:solidFill>
                <a:schemeClr val="bg1"/>
              </a:solidFill>
              <a:latin typeface="Century Gothic" panose="020B0502020202020204" pitchFamily="34" charset="0"/>
              <a:ea typeface="Adobe Gothic Std B" panose="020B0800000000000000" pitchFamily="34" charset="-128"/>
              <a:cs typeface="Arial"/>
            </a:endParaRPr>
          </a:p>
        </p:txBody>
      </p:sp>
      <p:sp>
        <p:nvSpPr>
          <p:cNvPr id="12" name="ZoneTexte 11"/>
          <p:cNvSpPr txBox="1"/>
          <p:nvPr/>
        </p:nvSpPr>
        <p:spPr>
          <a:xfrm>
            <a:off x="7636445" y="4740724"/>
            <a:ext cx="1101011" cy="836470"/>
          </a:xfrm>
          <a:prstGeom prst="rect">
            <a:avLst/>
          </a:prstGeom>
          <a:noFill/>
          <a:ln w="9525">
            <a:no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ctr"/>
            <a:r>
              <a:rPr lang="ar-SA" sz="1400" b="1" dirty="0" smtClean="0">
                <a:solidFill>
                  <a:schemeClr val="bg1"/>
                </a:solidFill>
                <a:latin typeface="Simplified Arabic" panose="02020603050405020304" pitchFamily="18" charset="-78"/>
                <a:cs typeface="Simplified Arabic" panose="02020603050405020304" pitchFamily="18" charset="-78"/>
              </a:rPr>
              <a:t>الاستراتيجية الوطنية لدعم الاندماج المالي </a:t>
            </a:r>
            <a:endParaRPr lang="fr-FR" sz="1400" b="1" dirty="0" err="1" smtClean="0">
              <a:solidFill>
                <a:schemeClr val="bg1"/>
              </a:solidFill>
              <a:latin typeface="Simplified Arabic" panose="02020603050405020304" pitchFamily="18" charset="-78"/>
              <a:cs typeface="Simplified Arabic" panose="02020603050405020304" pitchFamily="18" charset="-78"/>
            </a:endParaRPr>
          </a:p>
        </p:txBody>
      </p:sp>
      <p:sp>
        <p:nvSpPr>
          <p:cNvPr id="13" name="Accolade fermante 12"/>
          <p:cNvSpPr/>
          <p:nvPr/>
        </p:nvSpPr>
        <p:spPr>
          <a:xfrm>
            <a:off x="7223654" y="4740724"/>
            <a:ext cx="162965" cy="1062858"/>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4" name="ZoneTexte 13"/>
          <p:cNvSpPr txBox="1"/>
          <p:nvPr/>
        </p:nvSpPr>
        <p:spPr>
          <a:xfrm>
            <a:off x="405442" y="4610193"/>
            <a:ext cx="6746792" cy="1393792"/>
          </a:xfrm>
          <a:prstGeom prst="rect">
            <a:avLst/>
          </a:prstGeom>
          <a:noFill/>
          <a:ln w="9525">
            <a:solidFill>
              <a:schemeClr val="bg1"/>
            </a:solidFill>
            <a:miter lim="800000"/>
            <a:headEnd/>
            <a:tailEnd/>
          </a:ln>
          <a:effectLst/>
          <a:extLst/>
        </p:spPr>
        <p:txBody>
          <a:bodyPr vert="horz" wrap="square" lIns="76200" tIns="76200" rIns="76200" bIns="76200" numCol="1" rtlCol="0" anchor="t" anchorCtr="0" compatLnSpc="1">
            <a:prstTxWarp prst="textNoShape">
              <a:avLst/>
            </a:prstTxWarp>
            <a:noAutofit/>
          </a:bodyPr>
          <a:lstStyle/>
          <a:p>
            <a:pPr marL="534988" lvl="2" indent="-285750" algn="just" rtl="1">
              <a:spcBef>
                <a:spcPts val="600"/>
              </a:spcBef>
              <a:buClr>
                <a:srgbClr val="FF0000"/>
              </a:buClr>
              <a:buSzPct val="80000"/>
              <a:buFont typeface="Arial" panose="020B0604020202020204" pitchFamily="34" charset="0"/>
              <a:buChar char="•"/>
            </a:pPr>
            <a:r>
              <a:rPr lang="ar-SA" sz="1600" b="1" dirty="0">
                <a:latin typeface="Simplified Arabic" pitchFamily="18" charset="-78"/>
                <a:cs typeface="Simplified Arabic" pitchFamily="18" charset="-78"/>
              </a:rPr>
              <a:t>تكريس البعد </a:t>
            </a:r>
            <a:r>
              <a:rPr lang="ar-SA" sz="1600" b="1" dirty="0" smtClean="0">
                <a:latin typeface="Simplified Arabic" pitchFamily="18" charset="-78"/>
                <a:cs typeface="Simplified Arabic" pitchFamily="18" charset="-78"/>
              </a:rPr>
              <a:t>الادماجي </a:t>
            </a:r>
            <a:r>
              <a:rPr lang="ar-SA" sz="1600" b="1" dirty="0">
                <a:latin typeface="Simplified Arabic" pitchFamily="18" charset="-78"/>
                <a:cs typeface="Simplified Arabic" pitchFamily="18" charset="-78"/>
              </a:rPr>
              <a:t>للتنمية وتيسير النفاذ الى التمويل</a:t>
            </a:r>
          </a:p>
          <a:p>
            <a:pPr marL="534988" lvl="2" indent="-285750" algn="just" rtl="1">
              <a:spcBef>
                <a:spcPts val="600"/>
              </a:spcBef>
              <a:buClr>
                <a:srgbClr val="FF0000"/>
              </a:buClr>
              <a:buSzPct val="80000"/>
              <a:buFont typeface="Arial" panose="020B0604020202020204" pitchFamily="34" charset="0"/>
              <a:buChar char="•"/>
            </a:pPr>
            <a:r>
              <a:rPr lang="ar-SA" sz="1600" b="1" dirty="0">
                <a:latin typeface="Simplified Arabic" pitchFamily="18" charset="-78"/>
                <a:cs typeface="Simplified Arabic" pitchFamily="18" charset="-78"/>
              </a:rPr>
              <a:t>تمكين الشرائح المعنية من الانتفاع بمنتجات وخدمات مالية تتماشى والحاجيات الخاصة </a:t>
            </a:r>
            <a:r>
              <a:rPr lang="ar-SA" sz="1600" b="1" dirty="0" smtClean="0">
                <a:latin typeface="Simplified Arabic" pitchFamily="18" charset="-78"/>
                <a:cs typeface="Simplified Arabic" pitchFamily="18" charset="-78"/>
              </a:rPr>
              <a:t>بها</a:t>
            </a:r>
            <a:endParaRPr lang="ar-SA" sz="1600" b="1" dirty="0">
              <a:latin typeface="Simplified Arabic" pitchFamily="18" charset="-78"/>
              <a:cs typeface="Simplified Arabic" pitchFamily="18" charset="-78"/>
            </a:endParaRPr>
          </a:p>
          <a:p>
            <a:pPr marL="534988" lvl="2" indent="-285750" algn="just" rtl="1">
              <a:spcBef>
                <a:spcPts val="600"/>
              </a:spcBef>
              <a:buClr>
                <a:srgbClr val="FF0000"/>
              </a:buClr>
              <a:buSzPct val="80000"/>
              <a:buFont typeface="Arial" panose="020B0604020202020204" pitchFamily="34" charset="0"/>
              <a:buChar char="•"/>
            </a:pPr>
            <a:r>
              <a:rPr lang="ar-SA" sz="1600" b="1" dirty="0" smtClean="0">
                <a:latin typeface="Simplified Arabic" pitchFamily="18" charset="-78"/>
                <a:cs typeface="Simplified Arabic" pitchFamily="18" charset="-78"/>
              </a:rPr>
              <a:t>دعم </a:t>
            </a:r>
            <a:r>
              <a:rPr lang="ar-SA" sz="1600" b="1" dirty="0">
                <a:latin typeface="Simplified Arabic" pitchFamily="18" charset="-78"/>
                <a:cs typeface="Simplified Arabic" pitchFamily="18" charset="-78"/>
              </a:rPr>
              <a:t>منظومة التمويل الصغير والتمويل الرقمي والتأمين الصغير </a:t>
            </a:r>
            <a:r>
              <a:rPr lang="ar-SA" sz="1600" b="1" dirty="0" smtClean="0">
                <a:latin typeface="Simplified Arabic" pitchFamily="18" charset="-78"/>
                <a:cs typeface="Simplified Arabic" pitchFamily="18" charset="-78"/>
              </a:rPr>
              <a:t>والنهوض </a:t>
            </a:r>
            <a:r>
              <a:rPr lang="ar-SA" sz="1600" b="1" dirty="0">
                <a:latin typeface="Simplified Arabic" pitchFamily="18" charset="-78"/>
                <a:cs typeface="Simplified Arabic" pitchFamily="18" charset="-78"/>
              </a:rPr>
              <a:t>بالاقتصاد الاجتماعي والتضامني </a:t>
            </a:r>
          </a:p>
        </p:txBody>
      </p:sp>
    </p:spTree>
    <p:extLst>
      <p:ext uri="{BB962C8B-B14F-4D97-AF65-F5344CB8AC3E}">
        <p14:creationId xmlns:p14="http://schemas.microsoft.com/office/powerpoint/2010/main" xmlns="" val="128809179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9"/>
          <p:cNvSpPr txBox="1">
            <a:spLocks/>
          </p:cNvSpPr>
          <p:nvPr/>
        </p:nvSpPr>
        <p:spPr>
          <a:xfrm>
            <a:off x="211021" y="183980"/>
            <a:ext cx="8846715" cy="676423"/>
          </a:xfrm>
          <a:prstGeom prst="rect">
            <a:avLst/>
          </a:prstGeom>
        </p:spPr>
        <p:txBody>
          <a:bodyPr>
            <a:normAutofit/>
          </a:bodyPr>
          <a:lstStyle>
            <a:lvl1pPr marL="0" indent="0" algn="l" defTabSz="91323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44" indent="-195925" algn="l" defTabSz="91323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31" indent="-267170"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636" indent="-158683" algn="l" defTabSz="91323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85" indent="-132776" algn="l" defTabSz="91323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ctr" defTabSz="913235" rtl="0" eaLnBrk="1" fontAlgn="base" latinLnBrk="0" hangingPunct="1">
              <a:lnSpc>
                <a:spcPct val="100000"/>
              </a:lnSpc>
              <a:spcBef>
                <a:spcPct val="0"/>
              </a:spcBef>
              <a:spcAft>
                <a:spcPct val="0"/>
              </a:spcAft>
              <a:buClr>
                <a:srgbClr val="464646"/>
              </a:buClr>
              <a:buSzTx/>
              <a:buFontTx/>
              <a:buNone/>
              <a:tabLst/>
              <a:defRPr/>
            </a:pPr>
            <a:r>
              <a:rPr kumimoji="0" lang="ar-SA" sz="2200" b="1" i="0" u="none" strike="noStrike" kern="0" cap="none" spc="0" normalizeH="0" baseline="0" noProof="0" dirty="0" smtClean="0">
                <a:ln>
                  <a:noFill/>
                </a:ln>
                <a:solidFill>
                  <a:schemeClr val="accent1"/>
                </a:solidFill>
                <a:effectLst/>
                <a:uLnTx/>
                <a:uFillTx/>
                <a:latin typeface="Simplified Arabic" panose="02020603050405020304" pitchFamily="18" charset="-78"/>
                <a:ea typeface="ＭＳ Ｐゴシック"/>
                <a:cs typeface="Simplified Arabic" panose="02020603050405020304" pitchFamily="18" charset="-78"/>
              </a:rPr>
              <a:t>استقرار نسبي للترقيم السيادي </a:t>
            </a:r>
            <a:r>
              <a:rPr lang="ar-TN" sz="2200" b="1" kern="0" dirty="0">
                <a:solidFill>
                  <a:schemeClr val="accent1"/>
                </a:solidFill>
                <a:latin typeface="Simplified Arabic" panose="02020603050405020304" pitchFamily="18" charset="-78"/>
                <a:ea typeface="ＭＳ Ｐゴシック"/>
                <a:cs typeface="Simplified Arabic" panose="02020603050405020304" pitchFamily="18" charset="-78"/>
              </a:rPr>
              <a:t>ل</a:t>
            </a:r>
            <a:r>
              <a:rPr kumimoji="0" lang="ar-SA" sz="2200" b="1" i="0" u="none" strike="noStrike" kern="0" cap="none" spc="0" normalizeH="0" baseline="0" noProof="0" dirty="0" smtClean="0">
                <a:ln>
                  <a:noFill/>
                </a:ln>
                <a:solidFill>
                  <a:schemeClr val="accent1"/>
                </a:solidFill>
                <a:effectLst/>
                <a:uLnTx/>
                <a:uFillTx/>
                <a:latin typeface="Simplified Arabic" panose="02020603050405020304" pitchFamily="18" charset="-78"/>
                <a:ea typeface="ＭＳ Ｐゴシック"/>
                <a:cs typeface="Simplified Arabic" panose="02020603050405020304" pitchFamily="18" charset="-78"/>
              </a:rPr>
              <a:t>سنة 2019 بعد المراجعات العديدة نحو التخفيض </a:t>
            </a:r>
            <a:endParaRPr kumimoji="0" lang="ar-TN" sz="2200" b="1" i="0" u="none" strike="noStrike" kern="0" cap="none" spc="0" normalizeH="0" baseline="0" noProof="0" dirty="0" smtClean="0">
              <a:ln>
                <a:noFill/>
              </a:ln>
              <a:solidFill>
                <a:schemeClr val="accent1"/>
              </a:solidFill>
              <a:effectLst/>
              <a:uLnTx/>
              <a:uFillTx/>
              <a:latin typeface="Simplified Arabic" panose="02020603050405020304" pitchFamily="18" charset="-78"/>
              <a:ea typeface="ＭＳ Ｐゴシック"/>
              <a:cs typeface="Simplified Arabic" panose="02020603050405020304" pitchFamily="18" charset="-78"/>
            </a:endParaRPr>
          </a:p>
        </p:txBody>
      </p:sp>
      <p:grpSp>
        <p:nvGrpSpPr>
          <p:cNvPr id="77" name="Group 111"/>
          <p:cNvGrpSpPr/>
          <p:nvPr>
            <p:custDataLst>
              <p:tags r:id="rId1"/>
            </p:custDataLst>
          </p:nvPr>
        </p:nvGrpSpPr>
        <p:grpSpPr>
          <a:xfrm>
            <a:off x="3649423" y="1434236"/>
            <a:ext cx="335140" cy="528412"/>
            <a:chOff x="9205119" y="1247659"/>
            <a:chExt cx="224390" cy="353794"/>
          </a:xfrm>
        </p:grpSpPr>
        <p:sp>
          <p:nvSpPr>
            <p:cNvPr id="78" name="Freeform 96"/>
            <p:cNvSpPr>
              <a:spLocks/>
            </p:cNvSpPr>
            <p:nvPr>
              <p:custDataLst>
                <p:tags r:id="rId35"/>
              </p:custDataLst>
            </p:nvPr>
          </p:nvSpPr>
          <p:spPr bwMode="gray">
            <a:xfrm flipH="1">
              <a:off x="9358154" y="1273501"/>
              <a:ext cx="71355" cy="59120"/>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79" name="Freeform 96"/>
            <p:cNvSpPr>
              <a:spLocks/>
            </p:cNvSpPr>
            <p:nvPr>
              <p:custDataLst>
                <p:tags r:id="rId36"/>
              </p:custDataLst>
            </p:nvPr>
          </p:nvSpPr>
          <p:spPr bwMode="gray">
            <a:xfrm flipH="1">
              <a:off x="9358154" y="1380677"/>
              <a:ext cx="71355" cy="59120"/>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80" name="Freeform 97"/>
            <p:cNvSpPr>
              <a:spLocks/>
            </p:cNvSpPr>
            <p:nvPr>
              <p:custDataLst>
                <p:tags r:id="rId37"/>
              </p:custDataLst>
            </p:nvPr>
          </p:nvSpPr>
          <p:spPr bwMode="gray">
            <a:xfrm flipH="1">
              <a:off x="9358154" y="1491527"/>
              <a:ext cx="71355" cy="59120"/>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81" name="Freeform 96"/>
            <p:cNvSpPr>
              <a:spLocks/>
            </p:cNvSpPr>
            <p:nvPr>
              <p:custDataLst>
                <p:tags r:id="rId38"/>
              </p:custDataLst>
            </p:nvPr>
          </p:nvSpPr>
          <p:spPr bwMode="gray">
            <a:xfrm>
              <a:off x="9205119" y="1273501"/>
              <a:ext cx="71355" cy="59120"/>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82" name="Freeform 96"/>
            <p:cNvSpPr>
              <a:spLocks/>
            </p:cNvSpPr>
            <p:nvPr>
              <p:custDataLst>
                <p:tags r:id="rId39"/>
              </p:custDataLst>
            </p:nvPr>
          </p:nvSpPr>
          <p:spPr bwMode="gray">
            <a:xfrm>
              <a:off x="9205119" y="1380677"/>
              <a:ext cx="71355" cy="59120"/>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83" name="Freeform 97"/>
            <p:cNvSpPr>
              <a:spLocks/>
            </p:cNvSpPr>
            <p:nvPr>
              <p:custDataLst>
                <p:tags r:id="rId40"/>
              </p:custDataLst>
            </p:nvPr>
          </p:nvSpPr>
          <p:spPr bwMode="gray">
            <a:xfrm>
              <a:off x="9205119" y="1491527"/>
              <a:ext cx="71355" cy="59120"/>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84" name="Freeform 95"/>
            <p:cNvSpPr>
              <a:spLocks/>
            </p:cNvSpPr>
            <p:nvPr>
              <p:custDataLst>
                <p:tags r:id="rId41"/>
              </p:custDataLst>
            </p:nvPr>
          </p:nvSpPr>
          <p:spPr bwMode="gray">
            <a:xfrm>
              <a:off x="9250527" y="1247659"/>
              <a:ext cx="141782" cy="353794"/>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85" name="Freeform 98"/>
            <p:cNvSpPr>
              <a:spLocks/>
            </p:cNvSpPr>
            <p:nvPr>
              <p:custDataLst>
                <p:tags r:id="rId42"/>
              </p:custDataLst>
            </p:nvPr>
          </p:nvSpPr>
          <p:spPr bwMode="gray">
            <a:xfrm>
              <a:off x="9279254" y="1270752"/>
              <a:ext cx="83401" cy="83137"/>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rgbClr val="FF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86" name="Freeform 103"/>
            <p:cNvSpPr>
              <a:spLocks/>
            </p:cNvSpPr>
            <p:nvPr>
              <p:custDataLst>
                <p:tags r:id="rId43"/>
              </p:custDataLst>
            </p:nvPr>
          </p:nvSpPr>
          <p:spPr bwMode="gray">
            <a:xfrm>
              <a:off x="9279254" y="1380677"/>
              <a:ext cx="83401" cy="84061"/>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chemeClr val="bg1"/>
            </a:solidFill>
            <a:ln>
              <a:noFill/>
            </a:ln>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87" name="Freeform 108"/>
            <p:cNvSpPr>
              <a:spLocks/>
            </p:cNvSpPr>
            <p:nvPr>
              <p:custDataLst>
                <p:tags r:id="rId44"/>
              </p:custDataLst>
            </p:nvPr>
          </p:nvSpPr>
          <p:spPr bwMode="gray">
            <a:xfrm>
              <a:off x="9279254" y="1495221"/>
              <a:ext cx="83401" cy="83137"/>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grpSp>
      <p:sp>
        <p:nvSpPr>
          <p:cNvPr id="88" name="ZoneTexte 87"/>
          <p:cNvSpPr txBox="1"/>
          <p:nvPr/>
        </p:nvSpPr>
        <p:spPr>
          <a:xfrm>
            <a:off x="6171536" y="998985"/>
            <a:ext cx="628650" cy="27699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ar-SA" sz="1200" b="1"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2018</a:t>
            </a:r>
            <a:endParaRPr kumimoji="0" lang="fr-FR" sz="1200" b="1"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endParaRPr>
          </a:p>
        </p:txBody>
      </p:sp>
      <p:sp>
        <p:nvSpPr>
          <p:cNvPr id="89" name="ZoneTexte 88"/>
          <p:cNvSpPr txBox="1"/>
          <p:nvPr/>
        </p:nvSpPr>
        <p:spPr>
          <a:xfrm>
            <a:off x="4674988" y="1017865"/>
            <a:ext cx="628650" cy="27699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ar-SA" sz="1200" b="1"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2019</a:t>
            </a:r>
            <a:endParaRPr kumimoji="0" lang="fr-FR" sz="1200" b="1"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endParaRPr>
          </a:p>
        </p:txBody>
      </p:sp>
      <p:cxnSp>
        <p:nvCxnSpPr>
          <p:cNvPr id="90" name="Connecteur droit 89"/>
          <p:cNvCxnSpPr/>
          <p:nvPr/>
        </p:nvCxnSpPr>
        <p:spPr>
          <a:xfrm flipH="1">
            <a:off x="161985" y="2310390"/>
            <a:ext cx="7362766" cy="0"/>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cxnSp>
        <p:nvCxnSpPr>
          <p:cNvPr id="91" name="Connecteur droit 90"/>
          <p:cNvCxnSpPr/>
          <p:nvPr/>
        </p:nvCxnSpPr>
        <p:spPr>
          <a:xfrm flipH="1">
            <a:off x="162282" y="3316880"/>
            <a:ext cx="7323563" cy="0"/>
          </a:xfrm>
          <a:prstGeom prst="line">
            <a:avLst/>
          </a:prstGeom>
          <a:ln w="19050">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Connecteur droit 91"/>
          <p:cNvCxnSpPr/>
          <p:nvPr/>
        </p:nvCxnSpPr>
        <p:spPr>
          <a:xfrm flipH="1" flipV="1">
            <a:off x="162282" y="4432994"/>
            <a:ext cx="7369876" cy="20732"/>
          </a:xfrm>
          <a:prstGeom prst="line">
            <a:avLst/>
          </a:prstGeom>
          <a:ln w="19050">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Connecteur droit 92"/>
          <p:cNvCxnSpPr/>
          <p:nvPr/>
        </p:nvCxnSpPr>
        <p:spPr>
          <a:xfrm flipH="1">
            <a:off x="115070" y="5364820"/>
            <a:ext cx="7409682" cy="17300"/>
          </a:xfrm>
          <a:prstGeom prst="line">
            <a:avLst/>
          </a:prstGeom>
          <a:ln w="19050">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4" name="ZoneTexte 93"/>
          <p:cNvSpPr txBox="1"/>
          <p:nvPr/>
        </p:nvSpPr>
        <p:spPr>
          <a:xfrm>
            <a:off x="6252505" y="3718034"/>
            <a:ext cx="409575" cy="276999"/>
          </a:xfrm>
          <a:prstGeom prst="rect">
            <a:avLst/>
          </a:prstGeom>
          <a:noFill/>
        </p:spPr>
        <p:txBody>
          <a:bodyPr wrap="square" rtlCol="0">
            <a:spAutoFit/>
          </a:bodyPr>
          <a:lstStyle/>
          <a:p>
            <a:pPr marL="0" marR="0" lvl="0" indent="0" algn="r" defTabSz="457200" rtl="1" eaLnBrk="1" fontAlgn="base" latinLnBrk="0" hangingPunct="1">
              <a:lnSpc>
                <a:spcPct val="100000"/>
              </a:lnSpc>
              <a:spcBef>
                <a:spcPct val="0"/>
              </a:spcBef>
              <a:spcAft>
                <a:spcPct val="0"/>
              </a:spcAft>
              <a:buClrTx/>
              <a:buSzTx/>
              <a:buFontTx/>
              <a:buNone/>
              <a:tabLst/>
              <a:defRPr/>
            </a:pPr>
            <a:r>
              <a:rPr kumimoji="0" lang="ar-SA" sz="1200" b="1"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87</a:t>
            </a:r>
            <a:endParaRPr kumimoji="0" lang="fr-FR" sz="1200" b="1"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endParaRPr>
          </a:p>
        </p:txBody>
      </p:sp>
      <p:sp>
        <p:nvSpPr>
          <p:cNvPr id="95" name="ZoneTexte 94"/>
          <p:cNvSpPr txBox="1"/>
          <p:nvPr/>
        </p:nvSpPr>
        <p:spPr>
          <a:xfrm>
            <a:off x="4561131" y="3718034"/>
            <a:ext cx="409575" cy="276999"/>
          </a:xfrm>
          <a:prstGeom prst="rect">
            <a:avLst/>
          </a:prstGeom>
          <a:noFill/>
        </p:spPr>
        <p:txBody>
          <a:bodyPr wrap="square" rtlCol="0">
            <a:spAutoFit/>
          </a:bodyPr>
          <a:lstStyle/>
          <a:p>
            <a:pPr marL="0" marR="0" lvl="0" indent="0" algn="r" defTabSz="457200" rtl="1" eaLnBrk="1" fontAlgn="base" latinLnBrk="0" hangingPunct="1">
              <a:lnSpc>
                <a:spcPct val="100000"/>
              </a:lnSpc>
              <a:spcBef>
                <a:spcPct val="0"/>
              </a:spcBef>
              <a:spcAft>
                <a:spcPct val="0"/>
              </a:spcAft>
              <a:buClrTx/>
              <a:buSzTx/>
              <a:buFontTx/>
              <a:buNone/>
              <a:tabLst/>
              <a:defRPr/>
            </a:pPr>
            <a:r>
              <a:rPr kumimoji="0" lang="ar-SA" sz="1200" b="1"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87</a:t>
            </a:r>
            <a:endParaRPr kumimoji="0" lang="fr-FR" sz="1200" b="1"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endParaRPr>
          </a:p>
        </p:txBody>
      </p:sp>
      <p:sp>
        <p:nvSpPr>
          <p:cNvPr id="96" name="ZoneTexte 95"/>
          <p:cNvSpPr txBox="1"/>
          <p:nvPr/>
        </p:nvSpPr>
        <p:spPr>
          <a:xfrm>
            <a:off x="6201839" y="4770773"/>
            <a:ext cx="409575" cy="276999"/>
          </a:xfrm>
          <a:prstGeom prst="rect">
            <a:avLst/>
          </a:prstGeom>
          <a:noFill/>
        </p:spPr>
        <p:txBody>
          <a:bodyPr wrap="square" rtlCol="0">
            <a:spAutoFit/>
          </a:bodyPr>
          <a:lstStyle/>
          <a:p>
            <a:pPr marL="0" marR="0" lvl="0" indent="0" algn="r" defTabSz="457200" rtl="1" eaLnBrk="1" fontAlgn="base" latinLnBrk="0" hangingPunct="1">
              <a:lnSpc>
                <a:spcPct val="100000"/>
              </a:lnSpc>
              <a:spcBef>
                <a:spcPct val="0"/>
              </a:spcBef>
              <a:spcAft>
                <a:spcPct val="0"/>
              </a:spcAft>
              <a:buClrTx/>
              <a:buSzTx/>
              <a:buFontTx/>
              <a:buNone/>
              <a:tabLst/>
              <a:defRPr/>
            </a:pPr>
            <a:r>
              <a:rPr kumimoji="0" lang="ar-SA" sz="1200" b="1"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80</a:t>
            </a:r>
            <a:endParaRPr kumimoji="0" lang="fr-FR" sz="1200" b="1"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endParaRPr>
          </a:p>
        </p:txBody>
      </p:sp>
      <p:sp>
        <p:nvSpPr>
          <p:cNvPr id="97" name="ZoneTexte 96"/>
          <p:cNvSpPr txBox="1"/>
          <p:nvPr/>
        </p:nvSpPr>
        <p:spPr>
          <a:xfrm>
            <a:off x="4549186" y="4758931"/>
            <a:ext cx="409575" cy="276999"/>
          </a:xfrm>
          <a:prstGeom prst="rect">
            <a:avLst/>
          </a:prstGeom>
          <a:noFill/>
        </p:spPr>
        <p:txBody>
          <a:bodyPr wrap="square" rtlCol="0">
            <a:spAutoFit/>
          </a:bodyPr>
          <a:lstStyle/>
          <a:p>
            <a:pPr marL="0" marR="0" lvl="0" indent="0" algn="r" defTabSz="457200" rtl="1" eaLnBrk="1" fontAlgn="base" latinLnBrk="0" hangingPunct="1">
              <a:lnSpc>
                <a:spcPct val="100000"/>
              </a:lnSpc>
              <a:spcBef>
                <a:spcPct val="0"/>
              </a:spcBef>
              <a:spcAft>
                <a:spcPct val="0"/>
              </a:spcAft>
              <a:buClrTx/>
              <a:buSzTx/>
              <a:buFontTx/>
              <a:buNone/>
              <a:tabLst/>
              <a:defRPr/>
            </a:pPr>
            <a:r>
              <a:rPr kumimoji="0" lang="ar-SA" sz="1200" b="1"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78</a:t>
            </a:r>
            <a:endParaRPr kumimoji="0" lang="fr-FR" sz="1200" b="1"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endParaRPr>
          </a:p>
        </p:txBody>
      </p:sp>
      <p:sp>
        <p:nvSpPr>
          <p:cNvPr id="98" name="ZoneTexte 97"/>
          <p:cNvSpPr txBox="1"/>
          <p:nvPr/>
        </p:nvSpPr>
        <p:spPr>
          <a:xfrm>
            <a:off x="5706670" y="1300093"/>
            <a:ext cx="1514475" cy="461665"/>
          </a:xfrm>
          <a:prstGeom prst="rect">
            <a:avLst/>
          </a:prstGeom>
          <a:noFill/>
        </p:spPr>
        <p:txBody>
          <a:bodyPr wrap="square" rtlCol="0">
            <a:spAutoFit/>
          </a:bodyPr>
          <a:lstStyle/>
          <a:p>
            <a:pPr marL="0" marR="0" lvl="0" indent="0" algn="ctr" defTabSz="914206" rtl="1"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B</a:t>
            </a:r>
            <a:r>
              <a:rPr kumimoji="0" lang="fr-FR"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rPr>
              <a:t>+</a:t>
            </a:r>
            <a:r>
              <a:rPr kumimoji="0" lang="fr-FR"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  </a:t>
            </a:r>
            <a:r>
              <a:rPr kumimoji="0" lang="ar-SA"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 </a:t>
            </a:r>
            <a:r>
              <a:rPr kumimoji="0" lang="ar-TN"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مع آفاق</a:t>
            </a:r>
            <a:r>
              <a:rPr kumimoji="0" lang="ar-SA"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rPr>
              <a:t> </a:t>
            </a:r>
            <a:r>
              <a:rPr kumimoji="0" lang="ar-SA"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سلبية</a:t>
            </a:r>
            <a:r>
              <a:rPr kumimoji="0" lang="ar-TN"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 </a:t>
            </a:r>
            <a:br>
              <a:rPr kumimoji="0" lang="ar-TN"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br>
            <a:r>
              <a:rPr kumimoji="0" lang="ar-SA"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   </a:t>
            </a:r>
            <a:r>
              <a:rPr kumimoji="0" lang="ar-TN" sz="105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a:t>
            </a:r>
            <a:r>
              <a:rPr kumimoji="0" lang="ar-SA" sz="105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11 ديسمبر 2018</a:t>
            </a:r>
            <a:r>
              <a:rPr kumimoji="0" lang="ar-TN" sz="105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a:t>
            </a:r>
            <a:endParaRPr kumimoji="0" lang="fr-FR" sz="1050" b="0" i="0" u="none" strike="noStrike" kern="1200" cap="none" spc="0" normalizeH="0" baseline="0" noProof="0" dirty="0">
              <a:ln>
                <a:noFill/>
              </a:ln>
              <a:solidFill>
                <a:srgbClr val="000000"/>
              </a:solidFill>
              <a:effectLst/>
              <a:uLnTx/>
              <a:uFillTx/>
              <a:latin typeface="Times New Roman" pitchFamily="18" charset="0"/>
              <a:ea typeface="ＭＳ Ｐゴシック" pitchFamily="34" charset="-128"/>
              <a:cs typeface="+mn-cs"/>
            </a:endParaRPr>
          </a:p>
        </p:txBody>
      </p:sp>
      <p:sp>
        <p:nvSpPr>
          <p:cNvPr id="99" name="ZoneTexte 98"/>
          <p:cNvSpPr txBox="1"/>
          <p:nvPr/>
        </p:nvSpPr>
        <p:spPr>
          <a:xfrm>
            <a:off x="5733342" y="2450652"/>
            <a:ext cx="1317100" cy="446276"/>
          </a:xfrm>
          <a:prstGeom prst="rect">
            <a:avLst/>
          </a:prstGeom>
          <a:noFill/>
        </p:spPr>
        <p:txBody>
          <a:bodyPr wrap="square" rtlCol="0">
            <a:spAutoFit/>
          </a:bodyPr>
          <a:lstStyle/>
          <a:p>
            <a:pPr marL="0" marR="0" lvl="0" indent="0" algn="ctr" defTabSz="914206"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BB</a:t>
            </a:r>
            <a:r>
              <a:rPr kumimoji="0" lang="ar-TN"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 مع </a:t>
            </a:r>
            <a:r>
              <a:rPr kumimoji="0" lang="ar-TN" sz="1200" b="0" i="0" u="none" strike="noStrike" kern="1200" cap="none" spc="0" normalizeH="0" baseline="0" noProof="0" dirty="0" err="1" smtClean="0">
                <a:ln>
                  <a:noFill/>
                </a:ln>
                <a:solidFill>
                  <a:srgbClr val="000000"/>
                </a:solidFill>
                <a:effectLst/>
                <a:uLnTx/>
                <a:uFillTx/>
                <a:latin typeface="Arial" pitchFamily="34" charset="0"/>
                <a:ea typeface="ＭＳ Ｐゴシック" pitchFamily="34" charset="-128"/>
                <a:cs typeface="+mn-cs"/>
              </a:rPr>
              <a:t>آفا</a:t>
            </a:r>
            <a:r>
              <a:rPr kumimoji="0" lang="ar-SA"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ق سلبية</a:t>
            </a:r>
          </a:p>
          <a:p>
            <a:pPr marL="0" marR="0" lvl="0" indent="0" algn="ctr" defTabSz="914206" rtl="1" eaLnBrk="1" fontAlgn="auto" latinLnBrk="0" hangingPunct="1">
              <a:lnSpc>
                <a:spcPct val="100000"/>
              </a:lnSpc>
              <a:spcBef>
                <a:spcPts val="0"/>
              </a:spcBef>
              <a:spcAft>
                <a:spcPts val="0"/>
              </a:spcAft>
              <a:buClrTx/>
              <a:buSzTx/>
              <a:buFontTx/>
              <a:buNone/>
              <a:tabLst/>
              <a:defRPr/>
            </a:pPr>
            <a:r>
              <a:rPr kumimoji="0" lang="ar-TN" sz="11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a:t>
            </a:r>
            <a:r>
              <a:rPr kumimoji="0" lang="ar-SA" sz="11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11 أكتوبر 2018</a:t>
            </a:r>
            <a:r>
              <a:rPr kumimoji="0" lang="ar-TN" sz="11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a:t>
            </a:r>
            <a:endParaRPr kumimoji="0" lang="ar-TN" sz="1200" b="0" i="0" u="none" strike="noStrike" kern="1200" cap="none" spc="0" normalizeH="0" baseline="0" noProof="0" dirty="0" smtClean="0">
              <a:ln>
                <a:noFill/>
              </a:ln>
              <a:solidFill>
                <a:srgbClr val="972021"/>
              </a:solidFill>
              <a:effectLst/>
              <a:uLnTx/>
              <a:uFillTx/>
              <a:latin typeface="Arial" pitchFamily="34" charset="0"/>
              <a:ea typeface="ＭＳ Ｐゴシック" pitchFamily="34" charset="-128"/>
              <a:cs typeface="+mn-cs"/>
            </a:endParaRPr>
          </a:p>
        </p:txBody>
      </p:sp>
      <p:grpSp>
        <p:nvGrpSpPr>
          <p:cNvPr id="100" name="Group 111"/>
          <p:cNvGrpSpPr/>
          <p:nvPr>
            <p:custDataLst>
              <p:tags r:id="rId2"/>
            </p:custDataLst>
          </p:nvPr>
        </p:nvGrpSpPr>
        <p:grpSpPr>
          <a:xfrm>
            <a:off x="3633562" y="2656962"/>
            <a:ext cx="335140" cy="528412"/>
            <a:chOff x="9205119" y="1247659"/>
            <a:chExt cx="224390" cy="353794"/>
          </a:xfrm>
        </p:grpSpPr>
        <p:sp>
          <p:nvSpPr>
            <p:cNvPr id="101" name="Freeform 96"/>
            <p:cNvSpPr>
              <a:spLocks/>
            </p:cNvSpPr>
            <p:nvPr>
              <p:custDataLst>
                <p:tags r:id="rId25"/>
              </p:custDataLst>
            </p:nvPr>
          </p:nvSpPr>
          <p:spPr bwMode="gray">
            <a:xfrm flipH="1">
              <a:off x="9358154" y="1273501"/>
              <a:ext cx="71355" cy="59120"/>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02" name="Freeform 96"/>
            <p:cNvSpPr>
              <a:spLocks/>
            </p:cNvSpPr>
            <p:nvPr>
              <p:custDataLst>
                <p:tags r:id="rId26"/>
              </p:custDataLst>
            </p:nvPr>
          </p:nvSpPr>
          <p:spPr bwMode="gray">
            <a:xfrm flipH="1">
              <a:off x="9358154" y="1380677"/>
              <a:ext cx="71355" cy="59120"/>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03" name="Freeform 97"/>
            <p:cNvSpPr>
              <a:spLocks/>
            </p:cNvSpPr>
            <p:nvPr>
              <p:custDataLst>
                <p:tags r:id="rId27"/>
              </p:custDataLst>
            </p:nvPr>
          </p:nvSpPr>
          <p:spPr bwMode="gray">
            <a:xfrm flipH="1">
              <a:off x="9358154" y="1491527"/>
              <a:ext cx="71355" cy="59120"/>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04" name="Freeform 96"/>
            <p:cNvSpPr>
              <a:spLocks/>
            </p:cNvSpPr>
            <p:nvPr>
              <p:custDataLst>
                <p:tags r:id="rId28"/>
              </p:custDataLst>
            </p:nvPr>
          </p:nvSpPr>
          <p:spPr bwMode="gray">
            <a:xfrm>
              <a:off x="9205119" y="1273501"/>
              <a:ext cx="71355" cy="59120"/>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05" name="Freeform 96"/>
            <p:cNvSpPr>
              <a:spLocks/>
            </p:cNvSpPr>
            <p:nvPr>
              <p:custDataLst>
                <p:tags r:id="rId29"/>
              </p:custDataLst>
            </p:nvPr>
          </p:nvSpPr>
          <p:spPr bwMode="gray">
            <a:xfrm>
              <a:off x="9205119" y="1380677"/>
              <a:ext cx="71355" cy="59120"/>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06" name="Freeform 97"/>
            <p:cNvSpPr>
              <a:spLocks/>
            </p:cNvSpPr>
            <p:nvPr>
              <p:custDataLst>
                <p:tags r:id="rId30"/>
              </p:custDataLst>
            </p:nvPr>
          </p:nvSpPr>
          <p:spPr bwMode="gray">
            <a:xfrm>
              <a:off x="9205119" y="1491527"/>
              <a:ext cx="71355" cy="59120"/>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07" name="Freeform 95"/>
            <p:cNvSpPr>
              <a:spLocks/>
            </p:cNvSpPr>
            <p:nvPr>
              <p:custDataLst>
                <p:tags r:id="rId31"/>
              </p:custDataLst>
            </p:nvPr>
          </p:nvSpPr>
          <p:spPr bwMode="gray">
            <a:xfrm>
              <a:off x="9250527" y="1247659"/>
              <a:ext cx="141782" cy="353794"/>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08" name="Freeform 98"/>
            <p:cNvSpPr>
              <a:spLocks/>
            </p:cNvSpPr>
            <p:nvPr>
              <p:custDataLst>
                <p:tags r:id="rId32"/>
              </p:custDataLst>
            </p:nvPr>
          </p:nvSpPr>
          <p:spPr bwMode="gray">
            <a:xfrm>
              <a:off x="9279254" y="1270752"/>
              <a:ext cx="83401" cy="83137"/>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09" name="Freeform 103"/>
            <p:cNvSpPr>
              <a:spLocks/>
            </p:cNvSpPr>
            <p:nvPr>
              <p:custDataLst>
                <p:tags r:id="rId33"/>
              </p:custDataLst>
            </p:nvPr>
          </p:nvSpPr>
          <p:spPr bwMode="gray">
            <a:xfrm>
              <a:off x="9279254" y="1380677"/>
              <a:ext cx="83401" cy="84061"/>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FF00"/>
            </a:solidFill>
            <a:ln>
              <a:solidFill>
                <a:srgbClr val="FFFF00"/>
              </a:solidFill>
            </a:ln>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10" name="Freeform 108"/>
            <p:cNvSpPr>
              <a:spLocks/>
            </p:cNvSpPr>
            <p:nvPr>
              <p:custDataLst>
                <p:tags r:id="rId34"/>
              </p:custDataLst>
            </p:nvPr>
          </p:nvSpPr>
          <p:spPr bwMode="gray">
            <a:xfrm>
              <a:off x="9279254" y="1495221"/>
              <a:ext cx="83401" cy="83137"/>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grpSp>
      <p:grpSp>
        <p:nvGrpSpPr>
          <p:cNvPr id="111" name="Group 111"/>
          <p:cNvGrpSpPr/>
          <p:nvPr>
            <p:custDataLst>
              <p:tags r:id="rId3"/>
            </p:custDataLst>
          </p:nvPr>
        </p:nvGrpSpPr>
        <p:grpSpPr>
          <a:xfrm>
            <a:off x="3588775" y="3639476"/>
            <a:ext cx="335140" cy="528412"/>
            <a:chOff x="9205119" y="1247659"/>
            <a:chExt cx="224390" cy="353794"/>
          </a:xfrm>
        </p:grpSpPr>
        <p:sp>
          <p:nvSpPr>
            <p:cNvPr id="112" name="Freeform 96"/>
            <p:cNvSpPr>
              <a:spLocks/>
            </p:cNvSpPr>
            <p:nvPr>
              <p:custDataLst>
                <p:tags r:id="rId15"/>
              </p:custDataLst>
            </p:nvPr>
          </p:nvSpPr>
          <p:spPr bwMode="gray">
            <a:xfrm flipH="1">
              <a:off x="9358154" y="1273501"/>
              <a:ext cx="71355" cy="59120"/>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13" name="Freeform 96"/>
            <p:cNvSpPr>
              <a:spLocks/>
            </p:cNvSpPr>
            <p:nvPr>
              <p:custDataLst>
                <p:tags r:id="rId16"/>
              </p:custDataLst>
            </p:nvPr>
          </p:nvSpPr>
          <p:spPr bwMode="gray">
            <a:xfrm flipH="1">
              <a:off x="9358154" y="1380677"/>
              <a:ext cx="71355" cy="59120"/>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14" name="Freeform 97"/>
            <p:cNvSpPr>
              <a:spLocks/>
            </p:cNvSpPr>
            <p:nvPr>
              <p:custDataLst>
                <p:tags r:id="rId17"/>
              </p:custDataLst>
            </p:nvPr>
          </p:nvSpPr>
          <p:spPr bwMode="gray">
            <a:xfrm flipH="1">
              <a:off x="9358154" y="1491527"/>
              <a:ext cx="71355" cy="59120"/>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15" name="Freeform 96"/>
            <p:cNvSpPr>
              <a:spLocks/>
            </p:cNvSpPr>
            <p:nvPr>
              <p:custDataLst>
                <p:tags r:id="rId18"/>
              </p:custDataLst>
            </p:nvPr>
          </p:nvSpPr>
          <p:spPr bwMode="gray">
            <a:xfrm>
              <a:off x="9205119" y="1273501"/>
              <a:ext cx="71355" cy="59120"/>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16" name="Freeform 96"/>
            <p:cNvSpPr>
              <a:spLocks/>
            </p:cNvSpPr>
            <p:nvPr>
              <p:custDataLst>
                <p:tags r:id="rId19"/>
              </p:custDataLst>
            </p:nvPr>
          </p:nvSpPr>
          <p:spPr bwMode="gray">
            <a:xfrm>
              <a:off x="9205119" y="1380677"/>
              <a:ext cx="71355" cy="59120"/>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17" name="Freeform 97"/>
            <p:cNvSpPr>
              <a:spLocks/>
            </p:cNvSpPr>
            <p:nvPr>
              <p:custDataLst>
                <p:tags r:id="rId20"/>
              </p:custDataLst>
            </p:nvPr>
          </p:nvSpPr>
          <p:spPr bwMode="gray">
            <a:xfrm>
              <a:off x="9205119" y="1491527"/>
              <a:ext cx="71355" cy="59120"/>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18" name="Freeform 95"/>
            <p:cNvSpPr>
              <a:spLocks/>
            </p:cNvSpPr>
            <p:nvPr>
              <p:custDataLst>
                <p:tags r:id="rId21"/>
              </p:custDataLst>
            </p:nvPr>
          </p:nvSpPr>
          <p:spPr bwMode="gray">
            <a:xfrm>
              <a:off x="9250527" y="1247659"/>
              <a:ext cx="141782" cy="353794"/>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19" name="Freeform 98"/>
            <p:cNvSpPr>
              <a:spLocks/>
            </p:cNvSpPr>
            <p:nvPr>
              <p:custDataLst>
                <p:tags r:id="rId22"/>
              </p:custDataLst>
            </p:nvPr>
          </p:nvSpPr>
          <p:spPr bwMode="gray">
            <a:xfrm>
              <a:off x="9279254" y="1270752"/>
              <a:ext cx="83401" cy="83137"/>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20" name="Freeform 103"/>
            <p:cNvSpPr>
              <a:spLocks/>
            </p:cNvSpPr>
            <p:nvPr>
              <p:custDataLst>
                <p:tags r:id="rId23"/>
              </p:custDataLst>
            </p:nvPr>
          </p:nvSpPr>
          <p:spPr bwMode="gray">
            <a:xfrm>
              <a:off x="9279254" y="1380677"/>
              <a:ext cx="83401" cy="84061"/>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FF00"/>
            </a:solidFill>
            <a:ln>
              <a:solidFill>
                <a:srgbClr val="FFFF00"/>
              </a:solidFill>
            </a:ln>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21" name="Freeform 108"/>
            <p:cNvSpPr>
              <a:spLocks/>
            </p:cNvSpPr>
            <p:nvPr>
              <p:custDataLst>
                <p:tags r:id="rId24"/>
              </p:custDataLst>
            </p:nvPr>
          </p:nvSpPr>
          <p:spPr bwMode="gray">
            <a:xfrm>
              <a:off x="9279254" y="1495221"/>
              <a:ext cx="83401" cy="83137"/>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grpSp>
      <p:grpSp>
        <p:nvGrpSpPr>
          <p:cNvPr id="122" name="Group 111"/>
          <p:cNvGrpSpPr/>
          <p:nvPr>
            <p:custDataLst>
              <p:tags r:id="rId4"/>
            </p:custDataLst>
          </p:nvPr>
        </p:nvGrpSpPr>
        <p:grpSpPr>
          <a:xfrm>
            <a:off x="3578002" y="4659307"/>
            <a:ext cx="335140" cy="528412"/>
            <a:chOff x="9205119" y="1247659"/>
            <a:chExt cx="224390" cy="353794"/>
          </a:xfrm>
        </p:grpSpPr>
        <p:sp>
          <p:nvSpPr>
            <p:cNvPr id="123" name="Freeform 96"/>
            <p:cNvSpPr>
              <a:spLocks/>
            </p:cNvSpPr>
            <p:nvPr>
              <p:custDataLst>
                <p:tags r:id="rId5"/>
              </p:custDataLst>
            </p:nvPr>
          </p:nvSpPr>
          <p:spPr bwMode="gray">
            <a:xfrm flipH="1">
              <a:off x="9358154" y="1273501"/>
              <a:ext cx="71355" cy="59120"/>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24" name="Freeform 96"/>
            <p:cNvSpPr>
              <a:spLocks/>
            </p:cNvSpPr>
            <p:nvPr>
              <p:custDataLst>
                <p:tags r:id="rId6"/>
              </p:custDataLst>
            </p:nvPr>
          </p:nvSpPr>
          <p:spPr bwMode="gray">
            <a:xfrm flipH="1">
              <a:off x="9358154" y="1380677"/>
              <a:ext cx="71355" cy="59120"/>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25" name="Freeform 97"/>
            <p:cNvSpPr>
              <a:spLocks/>
            </p:cNvSpPr>
            <p:nvPr>
              <p:custDataLst>
                <p:tags r:id="rId7"/>
              </p:custDataLst>
            </p:nvPr>
          </p:nvSpPr>
          <p:spPr bwMode="gray">
            <a:xfrm flipH="1">
              <a:off x="9358154" y="1491527"/>
              <a:ext cx="71355" cy="59120"/>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26" name="Freeform 96"/>
            <p:cNvSpPr>
              <a:spLocks/>
            </p:cNvSpPr>
            <p:nvPr>
              <p:custDataLst>
                <p:tags r:id="rId8"/>
              </p:custDataLst>
            </p:nvPr>
          </p:nvSpPr>
          <p:spPr bwMode="gray">
            <a:xfrm>
              <a:off x="9205119" y="1273501"/>
              <a:ext cx="71355" cy="59120"/>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27" name="Freeform 96"/>
            <p:cNvSpPr>
              <a:spLocks/>
            </p:cNvSpPr>
            <p:nvPr>
              <p:custDataLst>
                <p:tags r:id="rId9"/>
              </p:custDataLst>
            </p:nvPr>
          </p:nvSpPr>
          <p:spPr bwMode="gray">
            <a:xfrm>
              <a:off x="9205119" y="1380677"/>
              <a:ext cx="71355" cy="59120"/>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28" name="Freeform 97"/>
            <p:cNvSpPr>
              <a:spLocks/>
            </p:cNvSpPr>
            <p:nvPr>
              <p:custDataLst>
                <p:tags r:id="rId10"/>
              </p:custDataLst>
            </p:nvPr>
          </p:nvSpPr>
          <p:spPr bwMode="gray">
            <a:xfrm>
              <a:off x="9205119" y="1491527"/>
              <a:ext cx="71355" cy="59120"/>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29" name="Freeform 95"/>
            <p:cNvSpPr>
              <a:spLocks/>
            </p:cNvSpPr>
            <p:nvPr>
              <p:custDataLst>
                <p:tags r:id="rId11"/>
              </p:custDataLst>
            </p:nvPr>
          </p:nvSpPr>
          <p:spPr bwMode="gray">
            <a:xfrm>
              <a:off x="9250527" y="1247659"/>
              <a:ext cx="141782" cy="353794"/>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30" name="Freeform 98"/>
            <p:cNvSpPr>
              <a:spLocks/>
            </p:cNvSpPr>
            <p:nvPr>
              <p:custDataLst>
                <p:tags r:id="rId12"/>
              </p:custDataLst>
            </p:nvPr>
          </p:nvSpPr>
          <p:spPr bwMode="gray">
            <a:xfrm>
              <a:off x="9279254" y="1270752"/>
              <a:ext cx="83401" cy="83137"/>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31" name="Freeform 103"/>
            <p:cNvSpPr>
              <a:spLocks/>
            </p:cNvSpPr>
            <p:nvPr>
              <p:custDataLst>
                <p:tags r:id="rId13"/>
              </p:custDataLst>
            </p:nvPr>
          </p:nvSpPr>
          <p:spPr bwMode="gray">
            <a:xfrm>
              <a:off x="9279254" y="1380677"/>
              <a:ext cx="83401" cy="84061"/>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FF00"/>
            </a:solidFill>
            <a:ln>
              <a:solidFill>
                <a:srgbClr val="FFFF00"/>
              </a:solidFill>
            </a:ln>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sp>
          <p:nvSpPr>
            <p:cNvPr id="132" name="Freeform 108"/>
            <p:cNvSpPr>
              <a:spLocks/>
            </p:cNvSpPr>
            <p:nvPr>
              <p:custDataLst>
                <p:tags r:id="rId14"/>
              </p:custDataLst>
            </p:nvPr>
          </p:nvSpPr>
          <p:spPr bwMode="gray">
            <a:xfrm>
              <a:off x="9279254" y="1495221"/>
              <a:ext cx="83401" cy="83137"/>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pitchFamily="34" charset="-128"/>
                <a:cs typeface="+mn-cs"/>
              </a:endParaRPr>
            </a:p>
          </p:txBody>
        </p:sp>
      </p:grpSp>
      <p:cxnSp>
        <p:nvCxnSpPr>
          <p:cNvPr id="135" name="Connecteur droit 134"/>
          <p:cNvCxnSpPr/>
          <p:nvPr/>
        </p:nvCxnSpPr>
        <p:spPr>
          <a:xfrm flipH="1">
            <a:off x="230819" y="984504"/>
            <a:ext cx="7254729" cy="1389"/>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sp>
        <p:nvSpPr>
          <p:cNvPr id="136" name="Rectangle 135"/>
          <p:cNvSpPr>
            <a:spLocks noChangeArrowheads="1"/>
          </p:cNvSpPr>
          <p:nvPr/>
        </p:nvSpPr>
        <p:spPr bwMode="gray">
          <a:xfrm>
            <a:off x="7739997" y="1164200"/>
            <a:ext cx="1207970" cy="530232"/>
          </a:xfrm>
          <a:prstGeom prst="rect">
            <a:avLst/>
          </a:prstGeom>
          <a:solidFill>
            <a:schemeClr val="accent1"/>
          </a:solidFill>
          <a:ln w="19050">
            <a:solidFill>
              <a:schemeClr val="bg1"/>
            </a:solidFill>
            <a:miter lim="800000"/>
            <a:headEnd/>
            <a:tailEnd/>
          </a:ln>
          <a:effectLst>
            <a:outerShdw blurRad="50800" dist="38100" dir="2700000" algn="tl" rotWithShape="0">
              <a:prstClr val="black">
                <a:alpha val="40000"/>
              </a:prstClr>
            </a:outerShdw>
          </a:effectLst>
          <a:extLst/>
        </p:spPr>
        <p:txBody>
          <a:bodyPr wrap="square" lIns="74614" tIns="46623" rIns="74614" bIns="46623" anchor="ctr">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104" algn="l" rtl="0" fontAlgn="base">
              <a:spcBef>
                <a:spcPct val="0"/>
              </a:spcBef>
              <a:spcAft>
                <a:spcPct val="0"/>
              </a:spcAft>
              <a:defRPr kern="1200">
                <a:solidFill>
                  <a:schemeClr val="tx1"/>
                </a:solidFill>
                <a:latin typeface="Arial" charset="0"/>
                <a:ea typeface="+mn-ea"/>
                <a:cs typeface="Arial" charset="0"/>
              </a:defRPr>
            </a:lvl2pPr>
            <a:lvl3pPr marL="914206" algn="l" rtl="0" fontAlgn="base">
              <a:spcBef>
                <a:spcPct val="0"/>
              </a:spcBef>
              <a:spcAft>
                <a:spcPct val="0"/>
              </a:spcAft>
              <a:defRPr kern="1200">
                <a:solidFill>
                  <a:schemeClr val="tx1"/>
                </a:solidFill>
                <a:latin typeface="Arial" charset="0"/>
                <a:ea typeface="+mn-ea"/>
                <a:cs typeface="Arial" charset="0"/>
              </a:defRPr>
            </a:lvl3pPr>
            <a:lvl4pPr marL="1371310" algn="l" rtl="0" fontAlgn="base">
              <a:spcBef>
                <a:spcPct val="0"/>
              </a:spcBef>
              <a:spcAft>
                <a:spcPct val="0"/>
              </a:spcAft>
              <a:defRPr kern="1200">
                <a:solidFill>
                  <a:schemeClr val="tx1"/>
                </a:solidFill>
                <a:latin typeface="Arial" charset="0"/>
                <a:ea typeface="+mn-ea"/>
                <a:cs typeface="Arial" charset="0"/>
              </a:defRPr>
            </a:lvl4pPr>
            <a:lvl5pPr marL="1828412" algn="l" rtl="0" fontAlgn="base">
              <a:spcBef>
                <a:spcPct val="0"/>
              </a:spcBef>
              <a:spcAft>
                <a:spcPct val="0"/>
              </a:spcAft>
              <a:defRPr kern="1200">
                <a:solidFill>
                  <a:schemeClr val="tx1"/>
                </a:solidFill>
                <a:latin typeface="Arial" charset="0"/>
                <a:ea typeface="+mn-ea"/>
                <a:cs typeface="Arial" charset="0"/>
              </a:defRPr>
            </a:lvl5pPr>
            <a:lvl6pPr marL="2285516" algn="l" defTabSz="914206" rtl="0" eaLnBrk="1" latinLnBrk="0" hangingPunct="1">
              <a:defRPr kern="1200">
                <a:solidFill>
                  <a:schemeClr val="tx1"/>
                </a:solidFill>
                <a:latin typeface="Arial" charset="0"/>
                <a:ea typeface="+mn-ea"/>
                <a:cs typeface="Arial" charset="0"/>
              </a:defRPr>
            </a:lvl6pPr>
            <a:lvl7pPr marL="2742618" algn="l" defTabSz="914206" rtl="0" eaLnBrk="1" latinLnBrk="0" hangingPunct="1">
              <a:defRPr kern="1200">
                <a:solidFill>
                  <a:schemeClr val="tx1"/>
                </a:solidFill>
                <a:latin typeface="Arial" charset="0"/>
                <a:ea typeface="+mn-ea"/>
                <a:cs typeface="Arial" charset="0"/>
              </a:defRPr>
            </a:lvl7pPr>
            <a:lvl8pPr marL="3199722" algn="l" defTabSz="914206" rtl="0" eaLnBrk="1" latinLnBrk="0" hangingPunct="1">
              <a:defRPr kern="1200">
                <a:solidFill>
                  <a:schemeClr val="tx1"/>
                </a:solidFill>
                <a:latin typeface="Arial" charset="0"/>
                <a:ea typeface="+mn-ea"/>
                <a:cs typeface="Arial" charset="0"/>
              </a:defRPr>
            </a:lvl8pPr>
            <a:lvl9pPr marL="3656825" algn="l" defTabSz="914206" rtl="0" eaLnBrk="1" latinLnBrk="0" hangingPunct="1">
              <a:defRPr kern="1200">
                <a:solidFill>
                  <a:schemeClr val="tx1"/>
                </a:solidFill>
                <a:latin typeface="Arial" charset="0"/>
                <a:ea typeface="+mn-ea"/>
                <a:cs typeface="Arial" charset="0"/>
              </a:defRPr>
            </a:lvl9pPr>
          </a:lstStyle>
          <a:p>
            <a:pPr marL="0" marR="0" lvl="0" indent="0" algn="ctr" defTabSz="457200" rtl="1" eaLnBrk="1" fontAlgn="base" latinLnBrk="0" hangingPunct="1">
              <a:lnSpc>
                <a:spcPct val="100000"/>
              </a:lnSpc>
              <a:spcBef>
                <a:spcPct val="0"/>
              </a:spcBef>
              <a:spcAft>
                <a:spcPct val="0"/>
              </a:spcAft>
              <a:buClrTx/>
              <a:buSzTx/>
              <a:buFontTx/>
              <a:buNone/>
              <a:tabLst/>
              <a:defRPr/>
            </a:pPr>
            <a:r>
              <a:rPr kumimoji="0" lang="ar-TN" sz="1600" b="1" i="0" u="none" strike="noStrike" kern="1200" cap="none" spc="0" normalizeH="0" baseline="0" noProof="0" dirty="0" smtClean="0">
                <a:ln>
                  <a:noFill/>
                </a:ln>
                <a:solidFill>
                  <a:srgbClr val="FFFFFF"/>
                </a:solidFill>
                <a:effectLst/>
                <a:uLnTx/>
                <a:uFillTx/>
                <a:latin typeface="Arial" charset="0"/>
                <a:ea typeface="ＭＳ Ｐゴシック"/>
                <a:cs typeface="Arial" charset="0"/>
              </a:rPr>
              <a:t>ترقيم فيتش</a:t>
            </a:r>
            <a:endParaRPr kumimoji="0" lang="fr-FR" sz="16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charset="0"/>
            </a:endParaRPr>
          </a:p>
        </p:txBody>
      </p:sp>
      <p:sp>
        <p:nvSpPr>
          <p:cNvPr id="137" name="Rectangle 136"/>
          <p:cNvSpPr>
            <a:spLocks noChangeArrowheads="1"/>
          </p:cNvSpPr>
          <p:nvPr/>
        </p:nvSpPr>
        <p:spPr bwMode="gray">
          <a:xfrm>
            <a:off x="7732651" y="2503580"/>
            <a:ext cx="1190320" cy="528412"/>
          </a:xfrm>
          <a:prstGeom prst="rect">
            <a:avLst/>
          </a:prstGeom>
          <a:solidFill>
            <a:srgbClr val="C00000"/>
          </a:solidFill>
          <a:ln w="19050">
            <a:solidFill>
              <a:schemeClr val="bg1"/>
            </a:solidFill>
            <a:miter lim="800000"/>
            <a:headEnd/>
            <a:tailEnd/>
          </a:ln>
          <a:effectLst>
            <a:outerShdw blurRad="50800" dist="38100" dir="2700000" algn="tl" rotWithShape="0">
              <a:prstClr val="black">
                <a:alpha val="40000"/>
              </a:prstClr>
            </a:outerShdw>
          </a:effectLst>
          <a:extLst/>
        </p:spPr>
        <p:txBody>
          <a:bodyPr wrap="square" lIns="74614" tIns="46623" rIns="74614" bIns="46623" anchor="ctr">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104" algn="l" rtl="0" fontAlgn="base">
              <a:spcBef>
                <a:spcPct val="0"/>
              </a:spcBef>
              <a:spcAft>
                <a:spcPct val="0"/>
              </a:spcAft>
              <a:defRPr kern="1200">
                <a:solidFill>
                  <a:schemeClr val="tx1"/>
                </a:solidFill>
                <a:latin typeface="Arial" charset="0"/>
                <a:ea typeface="+mn-ea"/>
                <a:cs typeface="Arial" charset="0"/>
              </a:defRPr>
            </a:lvl2pPr>
            <a:lvl3pPr marL="914206" algn="l" rtl="0" fontAlgn="base">
              <a:spcBef>
                <a:spcPct val="0"/>
              </a:spcBef>
              <a:spcAft>
                <a:spcPct val="0"/>
              </a:spcAft>
              <a:defRPr kern="1200">
                <a:solidFill>
                  <a:schemeClr val="tx1"/>
                </a:solidFill>
                <a:latin typeface="Arial" charset="0"/>
                <a:ea typeface="+mn-ea"/>
                <a:cs typeface="Arial" charset="0"/>
              </a:defRPr>
            </a:lvl3pPr>
            <a:lvl4pPr marL="1371310" algn="l" rtl="0" fontAlgn="base">
              <a:spcBef>
                <a:spcPct val="0"/>
              </a:spcBef>
              <a:spcAft>
                <a:spcPct val="0"/>
              </a:spcAft>
              <a:defRPr kern="1200">
                <a:solidFill>
                  <a:schemeClr val="tx1"/>
                </a:solidFill>
                <a:latin typeface="Arial" charset="0"/>
                <a:ea typeface="+mn-ea"/>
                <a:cs typeface="Arial" charset="0"/>
              </a:defRPr>
            </a:lvl4pPr>
            <a:lvl5pPr marL="1828412" algn="l" rtl="0" fontAlgn="base">
              <a:spcBef>
                <a:spcPct val="0"/>
              </a:spcBef>
              <a:spcAft>
                <a:spcPct val="0"/>
              </a:spcAft>
              <a:defRPr kern="1200">
                <a:solidFill>
                  <a:schemeClr val="tx1"/>
                </a:solidFill>
                <a:latin typeface="Arial" charset="0"/>
                <a:ea typeface="+mn-ea"/>
                <a:cs typeface="Arial" charset="0"/>
              </a:defRPr>
            </a:lvl5pPr>
            <a:lvl6pPr marL="2285516" algn="l" defTabSz="914206" rtl="0" eaLnBrk="1" latinLnBrk="0" hangingPunct="1">
              <a:defRPr kern="1200">
                <a:solidFill>
                  <a:schemeClr val="tx1"/>
                </a:solidFill>
                <a:latin typeface="Arial" charset="0"/>
                <a:ea typeface="+mn-ea"/>
                <a:cs typeface="Arial" charset="0"/>
              </a:defRPr>
            </a:lvl6pPr>
            <a:lvl7pPr marL="2742618" algn="l" defTabSz="914206" rtl="0" eaLnBrk="1" latinLnBrk="0" hangingPunct="1">
              <a:defRPr kern="1200">
                <a:solidFill>
                  <a:schemeClr val="tx1"/>
                </a:solidFill>
                <a:latin typeface="Arial" charset="0"/>
                <a:ea typeface="+mn-ea"/>
                <a:cs typeface="Arial" charset="0"/>
              </a:defRPr>
            </a:lvl7pPr>
            <a:lvl8pPr marL="3199722" algn="l" defTabSz="914206" rtl="0" eaLnBrk="1" latinLnBrk="0" hangingPunct="1">
              <a:defRPr kern="1200">
                <a:solidFill>
                  <a:schemeClr val="tx1"/>
                </a:solidFill>
                <a:latin typeface="Arial" charset="0"/>
                <a:ea typeface="+mn-ea"/>
                <a:cs typeface="Arial" charset="0"/>
              </a:defRPr>
            </a:lvl8pPr>
            <a:lvl9pPr marL="3656825" algn="l" defTabSz="914206" rtl="0" eaLnBrk="1" latinLnBrk="0" hangingPunct="1">
              <a:defRPr kern="1200">
                <a:solidFill>
                  <a:schemeClr val="tx1"/>
                </a:solidFill>
                <a:latin typeface="Arial" charset="0"/>
                <a:ea typeface="+mn-ea"/>
                <a:cs typeface="Arial" charset="0"/>
              </a:defRPr>
            </a:lvl9pPr>
          </a:lstStyle>
          <a:p>
            <a:pPr marL="0" marR="0" lvl="0" indent="0" algn="ctr" defTabSz="457200" rtl="1" eaLnBrk="1" fontAlgn="base" latinLnBrk="0" hangingPunct="1">
              <a:lnSpc>
                <a:spcPct val="100000"/>
              </a:lnSpc>
              <a:spcBef>
                <a:spcPct val="0"/>
              </a:spcBef>
              <a:spcAft>
                <a:spcPct val="0"/>
              </a:spcAft>
              <a:buClrTx/>
              <a:buSzTx/>
              <a:buFontTx/>
              <a:buNone/>
              <a:tabLst/>
              <a:defRPr/>
            </a:pPr>
            <a:r>
              <a:rPr kumimoji="0" lang="ar-TN" sz="16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charset="0"/>
              </a:rPr>
              <a:t>ترقيم</a:t>
            </a:r>
            <a:r>
              <a:rPr kumimoji="0" lang="ar-TN" sz="1600" b="1" i="0" u="none" strike="noStrike" kern="1200" cap="none" spc="0" normalizeH="0" baseline="0" noProof="0" dirty="0" smtClean="0">
                <a:ln>
                  <a:noFill/>
                </a:ln>
                <a:solidFill>
                  <a:srgbClr val="FFFFFF"/>
                </a:solidFill>
                <a:effectLst/>
                <a:uLnTx/>
                <a:uFillTx/>
                <a:latin typeface="Arial" charset="0"/>
                <a:ea typeface="ＭＳ Ｐゴシック"/>
                <a:cs typeface="Arial" charset="0"/>
              </a:rPr>
              <a:t> </a:t>
            </a:r>
            <a:r>
              <a:rPr kumimoji="0" lang="fr-FR" sz="1600" b="1" i="0" u="none" strike="noStrike" kern="1200" cap="none" spc="0" normalizeH="0" baseline="0" noProof="0" dirty="0" smtClean="0">
                <a:ln>
                  <a:noFill/>
                </a:ln>
                <a:solidFill>
                  <a:srgbClr val="FFFFFF"/>
                </a:solidFill>
                <a:effectLst/>
                <a:uLnTx/>
                <a:uFillTx/>
                <a:latin typeface="Arial" charset="0"/>
                <a:ea typeface="ＭＳ Ｐゴシック"/>
                <a:cs typeface="Arial" charset="0"/>
              </a:rPr>
              <a:t>R&amp;I</a:t>
            </a:r>
            <a:endParaRPr kumimoji="0" lang="fr-FR" sz="1600" b="1" i="0" u="none" strike="noStrike" kern="1200" cap="none" spc="0" normalizeH="0" baseline="0" noProof="0" dirty="0">
              <a:ln>
                <a:noFill/>
              </a:ln>
              <a:solidFill>
                <a:srgbClr val="FFFFFF"/>
              </a:solidFill>
              <a:effectLst/>
              <a:uLnTx/>
              <a:uFillTx/>
              <a:latin typeface="Arial" charset="0"/>
              <a:ea typeface="ＭＳ Ｐゴシック"/>
              <a:cs typeface="Arial" charset="0"/>
            </a:endParaRPr>
          </a:p>
        </p:txBody>
      </p:sp>
      <p:sp>
        <p:nvSpPr>
          <p:cNvPr id="138" name="Rectangle 137"/>
          <p:cNvSpPr>
            <a:spLocks noChangeArrowheads="1"/>
          </p:cNvSpPr>
          <p:nvPr/>
        </p:nvSpPr>
        <p:spPr bwMode="gray">
          <a:xfrm>
            <a:off x="7732651" y="3460816"/>
            <a:ext cx="1207970" cy="791436"/>
          </a:xfrm>
          <a:prstGeom prst="rect">
            <a:avLst/>
          </a:prstGeom>
          <a:solidFill>
            <a:srgbClr val="C00000"/>
          </a:solidFill>
          <a:ln w="19050">
            <a:solidFill>
              <a:schemeClr val="bg1"/>
            </a:solidFill>
            <a:miter lim="800000"/>
            <a:headEnd/>
            <a:tailEnd/>
          </a:ln>
          <a:effectLst>
            <a:outerShdw blurRad="50800" dist="38100" dir="2700000" algn="tl" rotWithShape="0">
              <a:prstClr val="black">
                <a:alpha val="40000"/>
              </a:prstClr>
            </a:outerShdw>
          </a:effectLst>
          <a:extLst/>
        </p:spPr>
        <p:txBody>
          <a:bodyPr wrap="square" lIns="74614" tIns="46623" rIns="74614" bIns="46623" anchor="ctr">
            <a:noAutofit/>
          </a:bodyPr>
          <a:lstStyle/>
          <a:p>
            <a:pPr marL="0" marR="0" lvl="0" indent="0" algn="ctr" defTabSz="457200" rtl="1" eaLnBrk="1" fontAlgn="base" latinLnBrk="0" hangingPunct="1">
              <a:lnSpc>
                <a:spcPct val="100000"/>
              </a:lnSpc>
              <a:spcBef>
                <a:spcPct val="0"/>
              </a:spcBef>
              <a:spcAft>
                <a:spcPct val="0"/>
              </a:spcAft>
              <a:buClrTx/>
              <a:buSzTx/>
              <a:buFontTx/>
              <a:buNone/>
              <a:tabLst/>
              <a:defRPr/>
            </a:pPr>
            <a:r>
              <a:rPr kumimoji="0" lang="ar-TN" sz="16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mn-cs"/>
              </a:rPr>
              <a:t>ترتيب </a:t>
            </a:r>
            <a:r>
              <a:rPr kumimoji="0" lang="ar-TN" sz="1600" b="1" i="0" u="none" strike="noStrike" kern="1200" cap="none" spc="0" normalizeH="0" baseline="0" noProof="0" dirty="0" err="1">
                <a:ln>
                  <a:noFill/>
                </a:ln>
                <a:solidFill>
                  <a:srgbClr val="FFFFFF"/>
                </a:solidFill>
                <a:effectLst/>
                <a:uLnTx/>
                <a:uFillTx/>
                <a:latin typeface="Arial" pitchFamily="34" charset="0"/>
                <a:ea typeface="ＭＳ Ｐゴシック" pitchFamily="34" charset="-128"/>
                <a:cs typeface="+mn-cs"/>
              </a:rPr>
              <a:t>دافوس</a:t>
            </a:r>
            <a:r>
              <a:rPr kumimoji="0" lang="ar-TN" sz="16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mn-cs"/>
              </a:rPr>
              <a:t> للتنافسية </a:t>
            </a:r>
            <a:endParaRPr kumimoji="0" lang="fr-FR" sz="16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mn-cs"/>
            </a:endParaRPr>
          </a:p>
        </p:txBody>
      </p:sp>
      <p:sp>
        <p:nvSpPr>
          <p:cNvPr id="139" name="Rectangle 138"/>
          <p:cNvSpPr>
            <a:spLocks noChangeArrowheads="1"/>
          </p:cNvSpPr>
          <p:nvPr/>
        </p:nvSpPr>
        <p:spPr bwMode="gray">
          <a:xfrm>
            <a:off x="7732651" y="4577826"/>
            <a:ext cx="1222663" cy="658526"/>
          </a:xfrm>
          <a:prstGeom prst="rect">
            <a:avLst/>
          </a:prstGeom>
          <a:solidFill>
            <a:srgbClr val="C00000"/>
          </a:solidFill>
          <a:ln w="19050">
            <a:solidFill>
              <a:schemeClr val="bg1"/>
            </a:solidFill>
            <a:miter lim="800000"/>
            <a:headEnd/>
            <a:tailEnd/>
          </a:ln>
          <a:effectLst>
            <a:outerShdw blurRad="50800" dist="38100" dir="2700000" algn="tl" rotWithShape="0">
              <a:prstClr val="black">
                <a:alpha val="40000"/>
              </a:prstClr>
            </a:outerShdw>
          </a:effectLst>
          <a:extLst/>
        </p:spPr>
        <p:txBody>
          <a:bodyPr wrap="square" lIns="74614" tIns="46623" rIns="74614" bIns="46623" anchor="ctr">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104" algn="l" rtl="0" fontAlgn="base">
              <a:spcBef>
                <a:spcPct val="0"/>
              </a:spcBef>
              <a:spcAft>
                <a:spcPct val="0"/>
              </a:spcAft>
              <a:defRPr kern="1200">
                <a:solidFill>
                  <a:schemeClr val="tx1"/>
                </a:solidFill>
                <a:latin typeface="Arial" charset="0"/>
                <a:ea typeface="+mn-ea"/>
                <a:cs typeface="Arial" charset="0"/>
              </a:defRPr>
            </a:lvl2pPr>
            <a:lvl3pPr marL="914206" algn="l" rtl="0" fontAlgn="base">
              <a:spcBef>
                <a:spcPct val="0"/>
              </a:spcBef>
              <a:spcAft>
                <a:spcPct val="0"/>
              </a:spcAft>
              <a:defRPr kern="1200">
                <a:solidFill>
                  <a:schemeClr val="tx1"/>
                </a:solidFill>
                <a:latin typeface="Arial" charset="0"/>
                <a:ea typeface="+mn-ea"/>
                <a:cs typeface="Arial" charset="0"/>
              </a:defRPr>
            </a:lvl3pPr>
            <a:lvl4pPr marL="1371310" algn="l" rtl="0" fontAlgn="base">
              <a:spcBef>
                <a:spcPct val="0"/>
              </a:spcBef>
              <a:spcAft>
                <a:spcPct val="0"/>
              </a:spcAft>
              <a:defRPr kern="1200">
                <a:solidFill>
                  <a:schemeClr val="tx1"/>
                </a:solidFill>
                <a:latin typeface="Arial" charset="0"/>
                <a:ea typeface="+mn-ea"/>
                <a:cs typeface="Arial" charset="0"/>
              </a:defRPr>
            </a:lvl4pPr>
            <a:lvl5pPr marL="1828412" algn="l" rtl="0" fontAlgn="base">
              <a:spcBef>
                <a:spcPct val="0"/>
              </a:spcBef>
              <a:spcAft>
                <a:spcPct val="0"/>
              </a:spcAft>
              <a:defRPr kern="1200">
                <a:solidFill>
                  <a:schemeClr val="tx1"/>
                </a:solidFill>
                <a:latin typeface="Arial" charset="0"/>
                <a:ea typeface="+mn-ea"/>
                <a:cs typeface="Arial" charset="0"/>
              </a:defRPr>
            </a:lvl5pPr>
            <a:lvl6pPr marL="2285516" algn="l" defTabSz="914206" rtl="0" eaLnBrk="1" latinLnBrk="0" hangingPunct="1">
              <a:defRPr kern="1200">
                <a:solidFill>
                  <a:schemeClr val="tx1"/>
                </a:solidFill>
                <a:latin typeface="Arial" charset="0"/>
                <a:ea typeface="+mn-ea"/>
                <a:cs typeface="Arial" charset="0"/>
              </a:defRPr>
            </a:lvl6pPr>
            <a:lvl7pPr marL="2742618" algn="l" defTabSz="914206" rtl="0" eaLnBrk="1" latinLnBrk="0" hangingPunct="1">
              <a:defRPr kern="1200">
                <a:solidFill>
                  <a:schemeClr val="tx1"/>
                </a:solidFill>
                <a:latin typeface="Arial" charset="0"/>
                <a:ea typeface="+mn-ea"/>
                <a:cs typeface="Arial" charset="0"/>
              </a:defRPr>
            </a:lvl7pPr>
            <a:lvl8pPr marL="3199722" algn="l" defTabSz="914206" rtl="0" eaLnBrk="1" latinLnBrk="0" hangingPunct="1">
              <a:defRPr kern="1200">
                <a:solidFill>
                  <a:schemeClr val="tx1"/>
                </a:solidFill>
                <a:latin typeface="Arial" charset="0"/>
                <a:ea typeface="+mn-ea"/>
                <a:cs typeface="Arial" charset="0"/>
              </a:defRPr>
            </a:lvl8pPr>
            <a:lvl9pPr marL="3656825" algn="l" defTabSz="914206" rtl="0" eaLnBrk="1" latinLnBrk="0" hangingPunct="1">
              <a:defRPr kern="1200">
                <a:solidFill>
                  <a:schemeClr val="tx1"/>
                </a:solidFill>
                <a:latin typeface="Arial" charset="0"/>
                <a:ea typeface="+mn-ea"/>
                <a:cs typeface="Arial" charset="0"/>
              </a:defRPr>
            </a:lvl9pPr>
          </a:lstStyle>
          <a:p>
            <a:pPr marL="0" marR="0" lvl="0" indent="0" algn="ctr" defTabSz="457200" rtl="1" eaLnBrk="1" fontAlgn="base" latinLnBrk="0" hangingPunct="1">
              <a:lnSpc>
                <a:spcPct val="100000"/>
              </a:lnSpc>
              <a:spcBef>
                <a:spcPct val="0"/>
              </a:spcBef>
              <a:spcAft>
                <a:spcPct val="0"/>
              </a:spcAft>
              <a:buClrTx/>
              <a:buSzTx/>
              <a:buFontTx/>
              <a:buNone/>
              <a:tabLst/>
              <a:defRPr/>
            </a:pPr>
            <a:r>
              <a:rPr kumimoji="0" lang="ar-TN" sz="1600" b="1" i="0" u="none" strike="noStrike" kern="1200" cap="none" spc="0" normalizeH="0" baseline="0" noProof="0" dirty="0" smtClean="0">
                <a:ln>
                  <a:noFill/>
                </a:ln>
                <a:solidFill>
                  <a:srgbClr val="FFFFFF"/>
                </a:solidFill>
                <a:effectLst/>
                <a:uLnTx/>
                <a:uFillTx/>
                <a:latin typeface="Arial" charset="0"/>
                <a:ea typeface="ＭＳ Ｐゴシック"/>
                <a:cs typeface="Arial" charset="0"/>
              </a:rPr>
              <a:t>ترتيب ممارسة الأعمال</a:t>
            </a:r>
            <a:endParaRPr kumimoji="0" lang="fr-FR" sz="1600" b="1" i="0" u="none" strike="noStrike" kern="1200" cap="none" spc="0" normalizeH="0" baseline="0" noProof="0" dirty="0">
              <a:ln>
                <a:noFill/>
              </a:ln>
              <a:solidFill>
                <a:srgbClr val="FFFFFF"/>
              </a:solidFill>
              <a:effectLst/>
              <a:uLnTx/>
              <a:uFillTx/>
              <a:latin typeface="Arial" charset="0"/>
              <a:ea typeface="ＭＳ Ｐゴシック"/>
              <a:cs typeface="Arial" charset="0"/>
            </a:endParaRPr>
          </a:p>
        </p:txBody>
      </p:sp>
      <p:sp>
        <p:nvSpPr>
          <p:cNvPr id="140" name="ZoneTexte 139"/>
          <p:cNvSpPr txBox="1"/>
          <p:nvPr/>
        </p:nvSpPr>
        <p:spPr>
          <a:xfrm>
            <a:off x="5671031" y="1801274"/>
            <a:ext cx="1514475" cy="461665"/>
          </a:xfrm>
          <a:prstGeom prst="rect">
            <a:avLst/>
          </a:prstGeom>
          <a:noFill/>
        </p:spPr>
        <p:txBody>
          <a:bodyPr wrap="square" rtlCol="0">
            <a:spAutoFit/>
          </a:bodyPr>
          <a:lstStyle/>
          <a:p>
            <a:pPr marL="0" marR="0" lvl="0" indent="0" algn="ctr" defTabSz="914206" rtl="1"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B</a:t>
            </a:r>
            <a:r>
              <a:rPr kumimoji="0" lang="fr-FR"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rPr>
              <a:t>+</a:t>
            </a:r>
            <a:r>
              <a:rPr kumimoji="0" lang="fr-FR"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  </a:t>
            </a:r>
            <a:r>
              <a:rPr kumimoji="0" lang="ar-SA"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 </a:t>
            </a:r>
            <a:r>
              <a:rPr kumimoji="0" lang="ar-TN"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مع آفاق</a:t>
            </a:r>
            <a:r>
              <a:rPr kumimoji="0" lang="ar-SA"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rPr>
              <a:t> </a:t>
            </a:r>
            <a:r>
              <a:rPr kumimoji="0" lang="ar-SA"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سلبية</a:t>
            </a:r>
            <a:r>
              <a:rPr kumimoji="0" lang="ar-TN"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 </a:t>
            </a:r>
            <a:br>
              <a:rPr kumimoji="0" lang="ar-TN"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br>
            <a:r>
              <a:rPr kumimoji="0" lang="ar-TN" sz="11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a:t>
            </a:r>
            <a:r>
              <a:rPr kumimoji="0" lang="ar-SA" sz="11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27 ماي 2018</a:t>
            </a:r>
            <a:r>
              <a:rPr kumimoji="0" lang="ar-TN" sz="11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a:t>
            </a:r>
            <a:endParaRPr kumimoji="0" lang="fr-FR" sz="1100" b="0" i="0" u="none" strike="noStrike" kern="1200" cap="none" spc="0" normalizeH="0" baseline="0" noProof="0" dirty="0">
              <a:ln>
                <a:noFill/>
              </a:ln>
              <a:solidFill>
                <a:srgbClr val="000000"/>
              </a:solidFill>
              <a:effectLst/>
              <a:uLnTx/>
              <a:uFillTx/>
              <a:latin typeface="Times New Roman" pitchFamily="18" charset="0"/>
              <a:ea typeface="ＭＳ Ｐゴシック" pitchFamily="34" charset="-128"/>
              <a:cs typeface="+mn-cs"/>
            </a:endParaRPr>
          </a:p>
        </p:txBody>
      </p:sp>
      <p:sp>
        <p:nvSpPr>
          <p:cNvPr id="141" name="ZoneTexte 140"/>
          <p:cNvSpPr txBox="1"/>
          <p:nvPr/>
        </p:nvSpPr>
        <p:spPr>
          <a:xfrm>
            <a:off x="4254563" y="1288075"/>
            <a:ext cx="1317997" cy="461665"/>
          </a:xfrm>
          <a:prstGeom prst="rect">
            <a:avLst/>
          </a:prstGeom>
          <a:noFill/>
        </p:spPr>
        <p:txBody>
          <a:bodyPr wrap="square" rtlCol="0">
            <a:spAutoFit/>
          </a:bodyPr>
          <a:lstStyle/>
          <a:p>
            <a:pPr marL="0" marR="0" lvl="0" indent="0" algn="ctr" defTabSz="914206" rtl="1"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B</a:t>
            </a:r>
            <a:r>
              <a:rPr kumimoji="0" lang="fr-FR"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rPr>
              <a:t>+</a:t>
            </a:r>
            <a:r>
              <a:rPr kumimoji="0" lang="fr-FR"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  </a:t>
            </a:r>
            <a:r>
              <a:rPr kumimoji="0" lang="ar-SA"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 </a:t>
            </a:r>
            <a:r>
              <a:rPr kumimoji="0" lang="ar-TN"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مع آفاق</a:t>
            </a:r>
            <a:r>
              <a:rPr kumimoji="0" lang="ar-SA"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rPr>
              <a:t> </a:t>
            </a:r>
            <a:r>
              <a:rPr kumimoji="0" lang="ar-SA"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سلبية</a:t>
            </a:r>
            <a:r>
              <a:rPr kumimoji="0" lang="ar-TN"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 </a:t>
            </a:r>
            <a:br>
              <a:rPr kumimoji="0" lang="ar-TN"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br>
            <a:r>
              <a:rPr kumimoji="0" lang="ar-SA"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   </a:t>
            </a:r>
            <a:r>
              <a:rPr kumimoji="0" lang="ar-TN" sz="105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a:t>
            </a:r>
            <a:r>
              <a:rPr kumimoji="0" lang="ar-SA" sz="105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27 جوان 2019</a:t>
            </a:r>
            <a:r>
              <a:rPr kumimoji="0" lang="ar-TN" sz="105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a:t>
            </a:r>
            <a:endParaRPr kumimoji="0" lang="fr-FR" sz="1050" b="0" i="0" u="none" strike="noStrike" kern="1200" cap="none" spc="0" normalizeH="0" baseline="0" noProof="0" dirty="0">
              <a:ln>
                <a:noFill/>
              </a:ln>
              <a:solidFill>
                <a:srgbClr val="000000"/>
              </a:solidFill>
              <a:effectLst/>
              <a:uLnTx/>
              <a:uFillTx/>
              <a:latin typeface="Times New Roman" pitchFamily="18" charset="0"/>
              <a:ea typeface="ＭＳ Ｐゴシック" pitchFamily="34" charset="-128"/>
              <a:cs typeface="+mn-cs"/>
            </a:endParaRPr>
          </a:p>
        </p:txBody>
      </p:sp>
      <p:sp>
        <p:nvSpPr>
          <p:cNvPr id="142" name="ZoneTexte 141"/>
          <p:cNvSpPr txBox="1"/>
          <p:nvPr/>
        </p:nvSpPr>
        <p:spPr>
          <a:xfrm>
            <a:off x="4243235" y="2450652"/>
            <a:ext cx="1317100" cy="446276"/>
          </a:xfrm>
          <a:prstGeom prst="rect">
            <a:avLst/>
          </a:prstGeom>
          <a:noFill/>
        </p:spPr>
        <p:txBody>
          <a:bodyPr wrap="square" rtlCol="0">
            <a:spAutoFit/>
          </a:bodyPr>
          <a:lstStyle/>
          <a:p>
            <a:pPr marL="0" marR="0" lvl="0" indent="0" algn="ctr" defTabSz="914206"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BB</a:t>
            </a:r>
            <a:r>
              <a:rPr kumimoji="0" lang="ar-TN"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 مع </a:t>
            </a:r>
            <a:r>
              <a:rPr kumimoji="0" lang="ar-TN" sz="1200" b="0" i="0" u="none" strike="noStrike" kern="1200" cap="none" spc="0" normalizeH="0" baseline="0" noProof="0" dirty="0" err="1" smtClean="0">
                <a:ln>
                  <a:noFill/>
                </a:ln>
                <a:solidFill>
                  <a:srgbClr val="000000"/>
                </a:solidFill>
                <a:effectLst/>
                <a:uLnTx/>
                <a:uFillTx/>
                <a:latin typeface="Arial" pitchFamily="34" charset="0"/>
                <a:ea typeface="ＭＳ Ｐゴシック" pitchFamily="34" charset="-128"/>
                <a:cs typeface="+mn-cs"/>
              </a:rPr>
              <a:t>آفا</a:t>
            </a:r>
            <a:r>
              <a:rPr kumimoji="0" lang="ar-SA" sz="12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ق سلبية</a:t>
            </a:r>
          </a:p>
          <a:p>
            <a:pPr marL="0" marR="0" lvl="0" indent="0" algn="ctr" defTabSz="914206" rtl="1" eaLnBrk="1" fontAlgn="auto" latinLnBrk="0" hangingPunct="1">
              <a:lnSpc>
                <a:spcPct val="100000"/>
              </a:lnSpc>
              <a:spcBef>
                <a:spcPts val="0"/>
              </a:spcBef>
              <a:spcAft>
                <a:spcPts val="0"/>
              </a:spcAft>
              <a:buClrTx/>
              <a:buSzTx/>
              <a:buFontTx/>
              <a:buNone/>
              <a:tabLst/>
              <a:defRPr/>
            </a:pPr>
            <a:r>
              <a:rPr kumimoji="0" lang="ar-TN" sz="11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a:t>
            </a:r>
            <a:r>
              <a:rPr kumimoji="0" lang="ar-SA" sz="11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04  سبتمبر  2019</a:t>
            </a:r>
            <a:r>
              <a:rPr kumimoji="0" lang="ar-TN" sz="1100" b="0" i="0" u="none" strike="noStrike" kern="1200" cap="none" spc="0" normalizeH="0" baseline="0" noProof="0" dirty="0" smtClean="0">
                <a:ln>
                  <a:noFill/>
                </a:ln>
                <a:solidFill>
                  <a:srgbClr val="000000"/>
                </a:solidFill>
                <a:effectLst/>
                <a:uLnTx/>
                <a:uFillTx/>
                <a:latin typeface="Arial" pitchFamily="34" charset="0"/>
                <a:ea typeface="ＭＳ Ｐゴシック" pitchFamily="34" charset="-128"/>
                <a:cs typeface="+mn-cs"/>
              </a:rPr>
              <a:t>)</a:t>
            </a:r>
            <a:endParaRPr kumimoji="0" lang="ar-TN" sz="1200" b="0" i="0" u="none" strike="noStrike" kern="1200" cap="none" spc="0" normalizeH="0" baseline="0" noProof="0" dirty="0" smtClean="0">
              <a:ln>
                <a:noFill/>
              </a:ln>
              <a:solidFill>
                <a:srgbClr val="972021"/>
              </a:solidFill>
              <a:effectLst/>
              <a:uLnTx/>
              <a:uFillTx/>
              <a:latin typeface="Arial" pitchFamily="34" charset="0"/>
              <a:ea typeface="ＭＳ Ｐゴシック" pitchFamily="34" charset="-128"/>
              <a:cs typeface="+mn-cs"/>
            </a:endParaRPr>
          </a:p>
        </p:txBody>
      </p:sp>
      <p:sp>
        <p:nvSpPr>
          <p:cNvPr id="75" name="ZoneTexte 74"/>
          <p:cNvSpPr txBox="1"/>
          <p:nvPr/>
        </p:nvSpPr>
        <p:spPr>
          <a:xfrm>
            <a:off x="211020" y="1171218"/>
            <a:ext cx="2970666" cy="797534"/>
          </a:xfrm>
          <a:prstGeom prst="rect">
            <a:avLst/>
          </a:prstGeom>
          <a:solidFill>
            <a:schemeClr val="bg1"/>
          </a:solidFill>
          <a:ln w="9525">
            <a:solidFill>
              <a:schemeClr val="bg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6200" tIns="76200" rIns="76200" bIns="76200" numCol="1" rtlCol="0" anchor="t" anchorCtr="0" compatLnSpc="1">
            <a:prstTxWarp prst="textNoShape">
              <a:avLst/>
            </a:prstTxWarp>
            <a:noAutofit/>
          </a:bodyPr>
          <a:lstStyle/>
          <a:p>
            <a:pPr marL="265113" marR="0" lvl="1" indent="-176213" algn="just" defTabSz="457200" rtl="1" eaLnBrk="1" fontAlgn="base" latinLnBrk="0" hangingPunct="1">
              <a:lnSpc>
                <a:spcPct val="100000"/>
              </a:lnSpc>
              <a:spcBef>
                <a:spcPct val="0"/>
              </a:spcBef>
              <a:spcAft>
                <a:spcPct val="0"/>
              </a:spcAft>
              <a:buClr>
                <a:srgbClr val="FF0000"/>
              </a:buClr>
              <a:buSzPct val="80000"/>
              <a:buFont typeface="Arial" pitchFamily="34" charset="0"/>
              <a:buChar char="•"/>
              <a:tabLst>
                <a:tab pos="263525" algn="l"/>
              </a:tabLst>
              <a:defRPr/>
            </a:pPr>
            <a:r>
              <a:rPr kumimoji="0" lang="ar-SA" sz="1200" b="1" i="0" u="none" strike="noStrike" kern="1200" cap="none" spc="0" normalizeH="0" baseline="0" noProof="0" dirty="0" smtClean="0">
                <a:ln>
                  <a:noFill/>
                </a:ln>
                <a:solidFill>
                  <a:srgbClr val="000000"/>
                </a:solidFill>
                <a:effectLst/>
                <a:uLnTx/>
                <a:uFillTx/>
                <a:latin typeface="Simplified Arabic" pitchFamily="18" charset="-78"/>
                <a:ea typeface="ＭＳ Ｐゴシック" pitchFamily="34" charset="-128"/>
                <a:cs typeface="Simplified Arabic" pitchFamily="18" charset="-78"/>
              </a:rPr>
              <a:t>تنوع النسيج الاقتصادي</a:t>
            </a:r>
            <a:endParaRPr kumimoji="0" lang="ar-TN" sz="1200" b="1" i="0" u="none" strike="noStrike" kern="1200" cap="none" spc="-40" normalizeH="0" baseline="0" noProof="0" dirty="0">
              <a:ln>
                <a:noFill/>
              </a:ln>
              <a:solidFill>
                <a:srgbClr val="000000"/>
              </a:solidFill>
              <a:effectLst/>
              <a:uLnTx/>
              <a:uFillTx/>
              <a:latin typeface="Arial" pitchFamily="34" charset="0"/>
              <a:ea typeface="ＭＳ Ｐゴシック"/>
              <a:cs typeface="Arial" pitchFamily="34" charset="0"/>
            </a:endParaRPr>
          </a:p>
          <a:p>
            <a:pPr marL="265113" marR="0" lvl="1" indent="-176213" algn="just" defTabSz="457200" rtl="1" eaLnBrk="1" fontAlgn="base" latinLnBrk="0" hangingPunct="1">
              <a:lnSpc>
                <a:spcPct val="100000"/>
              </a:lnSpc>
              <a:spcBef>
                <a:spcPct val="0"/>
              </a:spcBef>
              <a:spcAft>
                <a:spcPct val="0"/>
              </a:spcAft>
              <a:buClr>
                <a:srgbClr val="FF0000"/>
              </a:buClr>
              <a:buSzPct val="80000"/>
              <a:buFont typeface="Arial" pitchFamily="34" charset="0"/>
              <a:buChar char="•"/>
              <a:tabLst>
                <a:tab pos="263525" algn="l"/>
              </a:tabLst>
              <a:defRPr/>
            </a:pPr>
            <a:r>
              <a:rPr kumimoji="0" lang="ar-SA" sz="1200" b="1" i="0" u="none" strike="noStrike" kern="1200" cap="none" spc="-40" normalizeH="0" baseline="0" noProof="0" dirty="0">
                <a:ln>
                  <a:noFill/>
                </a:ln>
                <a:solidFill>
                  <a:srgbClr val="000000"/>
                </a:solidFill>
                <a:effectLst/>
                <a:uLnTx/>
                <a:uFillTx/>
                <a:latin typeface="Arial" pitchFamily="34" charset="0"/>
                <a:ea typeface="ＭＳ Ｐゴシック"/>
                <a:cs typeface="Arial" pitchFamily="34" charset="0"/>
              </a:rPr>
              <a:t>تحسن مؤشرات </a:t>
            </a:r>
            <a:r>
              <a:rPr kumimoji="0" lang="ar-SA" sz="1200" b="1" i="0" u="none" strike="noStrike" kern="1200" cap="none" spc="-40" normalizeH="0" baseline="0" noProof="0" dirty="0" err="1">
                <a:ln>
                  <a:noFill/>
                </a:ln>
                <a:solidFill>
                  <a:srgbClr val="000000"/>
                </a:solidFill>
                <a:effectLst/>
                <a:uLnTx/>
                <a:uFillTx/>
                <a:latin typeface="Arial" pitchFamily="34" charset="0"/>
                <a:ea typeface="ＭＳ Ｐゴシック"/>
                <a:cs typeface="Arial" pitchFamily="34" charset="0"/>
              </a:rPr>
              <a:t>الحوكم</a:t>
            </a:r>
            <a:r>
              <a:rPr kumimoji="0" lang="ar-SA" sz="1200" b="1" i="0" u="none" strike="noStrike" kern="1200" cap="none" spc="-40" normalizeH="0" baseline="0" noProof="0" dirty="0" err="1" smtClean="0">
                <a:ln>
                  <a:noFill/>
                </a:ln>
                <a:solidFill>
                  <a:srgbClr val="000000"/>
                </a:solidFill>
                <a:effectLst/>
                <a:uLnTx/>
                <a:uFillTx/>
                <a:latin typeface="Arial" pitchFamily="34" charset="0"/>
                <a:ea typeface="ＭＳ Ｐゴシック"/>
                <a:cs typeface="Arial" pitchFamily="34" charset="0"/>
              </a:rPr>
              <a:t>ة</a:t>
            </a:r>
            <a:endParaRPr kumimoji="0" lang="ar-SA" sz="1200" b="1" i="0" u="none" strike="noStrike" kern="1200" cap="none" spc="-40" normalizeH="0" baseline="0" noProof="0" dirty="0" smtClean="0">
              <a:ln>
                <a:noFill/>
              </a:ln>
              <a:solidFill>
                <a:srgbClr val="000000"/>
              </a:solidFill>
              <a:effectLst/>
              <a:uLnTx/>
              <a:uFillTx/>
              <a:latin typeface="Arial" pitchFamily="34" charset="0"/>
              <a:ea typeface="ＭＳ Ｐゴシック"/>
              <a:cs typeface="Arial" pitchFamily="34" charset="0"/>
            </a:endParaRPr>
          </a:p>
          <a:p>
            <a:pPr marL="266700" marR="0" lvl="1" indent="-176213" algn="just" defTabSz="457200" rtl="1" eaLnBrk="1" fontAlgn="base" latinLnBrk="0" hangingPunct="1">
              <a:lnSpc>
                <a:spcPct val="100000"/>
              </a:lnSpc>
              <a:spcBef>
                <a:spcPts val="600"/>
              </a:spcBef>
              <a:spcAft>
                <a:spcPts val="1200"/>
              </a:spcAft>
              <a:buClr>
                <a:srgbClr val="C00000"/>
              </a:buClr>
              <a:buSzPct val="100000"/>
              <a:buFont typeface="Arial" panose="020B0604020202020204" pitchFamily="34" charset="0"/>
              <a:buChar char="•"/>
              <a:tabLst>
                <a:tab pos="263525" algn="l"/>
              </a:tabLst>
              <a:defRPr/>
            </a:pPr>
            <a:r>
              <a:rPr kumimoji="0" lang="ar-SA" sz="1200" b="1" i="0" u="none" strike="noStrike" kern="1200" cap="none" spc="-40" normalizeH="0" baseline="0" noProof="0" dirty="0" smtClean="0">
                <a:ln>
                  <a:noFill/>
                </a:ln>
                <a:solidFill>
                  <a:srgbClr val="000000"/>
                </a:solidFill>
                <a:effectLst/>
                <a:uLnTx/>
                <a:uFillTx/>
                <a:latin typeface="Arial" pitchFamily="34" charset="0"/>
                <a:ea typeface="ＭＳ Ｐゴシック"/>
                <a:cs typeface="Arial" pitchFamily="34" charset="0"/>
              </a:rPr>
              <a:t>الدعم المستمر من قبل المؤسسات الدولية</a:t>
            </a:r>
            <a:endParaRPr kumimoji="0" lang="ar-SA" sz="1200" b="1" i="0" u="none" strike="noStrike" kern="1200" cap="none" spc="-40" normalizeH="0" baseline="0" noProof="0" dirty="0">
              <a:ln>
                <a:noFill/>
              </a:ln>
              <a:solidFill>
                <a:srgbClr val="000000"/>
              </a:solidFill>
              <a:effectLst/>
              <a:uLnTx/>
              <a:uFillTx/>
              <a:latin typeface="Arial" pitchFamily="34" charset="0"/>
              <a:ea typeface="ＭＳ Ｐゴシック"/>
              <a:cs typeface="Arial" pitchFamily="34" charset="0"/>
            </a:endParaRPr>
          </a:p>
          <a:p>
            <a:pPr marL="0" marR="0" lvl="0" indent="0" algn="just" defTabSz="457200" rtl="1" eaLnBrk="1" fontAlgn="base" latinLnBrk="0" hangingPunct="1">
              <a:lnSpc>
                <a:spcPct val="100000"/>
              </a:lnSpc>
              <a:spcBef>
                <a:spcPct val="0"/>
              </a:spcBef>
              <a:spcAft>
                <a:spcPct val="0"/>
              </a:spcAft>
              <a:buClrTx/>
              <a:buSzTx/>
              <a:buFont typeface="Arial" pitchFamily="34" charset="0"/>
              <a:buChar char="•"/>
              <a:tabLst/>
              <a:defRPr/>
            </a:pPr>
            <a:endParaRPr kumimoji="0" lang="fr-FR" sz="1200" b="1" i="0" u="none" strike="noStrike" kern="1200" cap="none" spc="0" normalizeH="0" baseline="0" noProof="0" dirty="0" smtClean="0">
              <a:ln>
                <a:noFill/>
              </a:ln>
              <a:solidFill>
                <a:srgbClr val="000000"/>
              </a:solidFill>
              <a:effectLst/>
              <a:uLnTx/>
              <a:uFillTx/>
              <a:latin typeface="Simplified Arabic" pitchFamily="18" charset="-78"/>
              <a:ea typeface="ＭＳ Ｐゴシック" pitchFamily="34" charset="-128"/>
              <a:cs typeface="Simplified Arabic" pitchFamily="18" charset="-78"/>
            </a:endParaRPr>
          </a:p>
          <a:p>
            <a:pPr marL="0" marR="0" lvl="0" indent="0" algn="r" defTabSz="457200" rtl="1" eaLnBrk="1" fontAlgn="base" latinLnBrk="0" hangingPunct="1">
              <a:lnSpc>
                <a:spcPct val="100000"/>
              </a:lnSpc>
              <a:spcBef>
                <a:spcPct val="0"/>
              </a:spcBef>
              <a:spcAft>
                <a:spcPct val="0"/>
              </a:spcAft>
              <a:buClrTx/>
              <a:buSzTx/>
              <a:buFontTx/>
              <a:buNone/>
              <a:tabLst/>
              <a:defRPr/>
            </a:pPr>
            <a:r>
              <a:rPr kumimoji="0" lang="ar-TN" sz="1200" b="0" i="0" u="none" strike="noStrike" kern="1200" cap="none" spc="0" normalizeH="0" baseline="0" noProof="0" dirty="0" smtClean="0">
                <a:ln>
                  <a:noFill/>
                </a:ln>
                <a:solidFill>
                  <a:srgbClr val="000000"/>
                </a:solidFill>
                <a:effectLst/>
                <a:uLnTx/>
                <a:uFillTx/>
                <a:latin typeface="Simplified Arabic" pitchFamily="18" charset="-78"/>
                <a:ea typeface="ＭＳ Ｐゴシック" pitchFamily="34" charset="-128"/>
                <a:cs typeface="Simplified Arabic" pitchFamily="18" charset="-78"/>
              </a:rPr>
              <a:t> </a:t>
            </a:r>
            <a:endParaRPr kumimoji="0" lang="fr-FR" sz="1200" b="0" i="0" u="none" strike="noStrike" kern="1200" cap="none" spc="0" normalizeH="0" baseline="0" noProof="0" dirty="0" err="1" smtClean="0">
              <a:ln>
                <a:noFill/>
              </a:ln>
              <a:solidFill>
                <a:srgbClr val="000000"/>
              </a:solidFill>
              <a:effectLst/>
              <a:uLnTx/>
              <a:uFillTx/>
              <a:latin typeface="Simplified Arabic" pitchFamily="18" charset="-78"/>
              <a:ea typeface="ＭＳ Ｐゴシック" pitchFamily="34" charset="-128"/>
              <a:cs typeface="Simplified Arabic" pitchFamily="18" charset="-78"/>
            </a:endParaRPr>
          </a:p>
        </p:txBody>
      </p:sp>
      <p:sp>
        <p:nvSpPr>
          <p:cNvPr id="148" name="ZoneTexte 147"/>
          <p:cNvSpPr txBox="1"/>
          <p:nvPr/>
        </p:nvSpPr>
        <p:spPr>
          <a:xfrm>
            <a:off x="161984" y="2667811"/>
            <a:ext cx="3019702" cy="517564"/>
          </a:xfrm>
          <a:prstGeom prst="rect">
            <a:avLst/>
          </a:prstGeom>
          <a:solidFill>
            <a:schemeClr val="bg1"/>
          </a:solidFill>
          <a:ln w="9525">
            <a:solidFill>
              <a:schemeClr val="bg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6200" tIns="76200" rIns="76200" bIns="76200" numCol="1" rtlCol="0" anchor="t" anchorCtr="0" compatLnSpc="1">
            <a:prstTxWarp prst="textNoShape">
              <a:avLst/>
            </a:prstTxWarp>
            <a:noAutofit/>
          </a:bodyPr>
          <a:lstStyle/>
          <a:p>
            <a:pPr marL="265113" marR="0" lvl="1" indent="-176213" algn="just" defTabSz="457200" rtl="1" eaLnBrk="1" fontAlgn="base" latinLnBrk="0" hangingPunct="1">
              <a:lnSpc>
                <a:spcPct val="100000"/>
              </a:lnSpc>
              <a:spcBef>
                <a:spcPct val="0"/>
              </a:spcBef>
              <a:spcAft>
                <a:spcPct val="0"/>
              </a:spcAft>
              <a:buClr>
                <a:srgbClr val="FF0000"/>
              </a:buClr>
              <a:buSzPct val="80000"/>
              <a:buFont typeface="Arial" pitchFamily="34" charset="0"/>
              <a:buChar char="•"/>
              <a:tabLst/>
              <a:defRPr/>
            </a:pPr>
            <a:r>
              <a:rPr kumimoji="0" lang="ar-SA" sz="1200" b="1" i="0" u="none" strike="noStrike" kern="1200" cap="none" spc="-40" normalizeH="0" baseline="0" noProof="0" dirty="0" smtClean="0">
                <a:ln>
                  <a:noFill/>
                </a:ln>
                <a:solidFill>
                  <a:srgbClr val="000000"/>
                </a:solidFill>
                <a:effectLst/>
                <a:uLnTx/>
                <a:uFillTx/>
                <a:latin typeface="Arial" pitchFamily="34" charset="0"/>
                <a:ea typeface="ＭＳ Ｐゴシック"/>
                <a:cs typeface="Arial" pitchFamily="34" charset="0"/>
              </a:rPr>
              <a:t>استقرار على مستوى المدخرات من العملة</a:t>
            </a:r>
          </a:p>
          <a:p>
            <a:pPr marL="265113" marR="0" lvl="1" indent="-176213" algn="just" defTabSz="457200" rtl="1" eaLnBrk="1" fontAlgn="base" latinLnBrk="0" hangingPunct="1">
              <a:lnSpc>
                <a:spcPct val="100000"/>
              </a:lnSpc>
              <a:spcBef>
                <a:spcPct val="0"/>
              </a:spcBef>
              <a:spcAft>
                <a:spcPct val="0"/>
              </a:spcAft>
              <a:buClr>
                <a:srgbClr val="FF0000"/>
              </a:buClr>
              <a:buSzPct val="80000"/>
              <a:buFont typeface="Arial" pitchFamily="34" charset="0"/>
              <a:buChar char="•"/>
              <a:tabLst/>
              <a:defRPr/>
            </a:pPr>
            <a:r>
              <a:rPr kumimoji="0" lang="ar-SA" sz="1200" b="1" i="0" u="none" strike="noStrike" kern="1200" cap="none" spc="-40" normalizeH="0" baseline="0" noProof="0" dirty="0" smtClean="0">
                <a:ln>
                  <a:noFill/>
                </a:ln>
                <a:solidFill>
                  <a:srgbClr val="000000"/>
                </a:solidFill>
                <a:effectLst/>
                <a:uLnTx/>
                <a:uFillTx/>
                <a:latin typeface="Arial" pitchFamily="34" charset="0"/>
                <a:ea typeface="ＭＳ Ｐゴシック"/>
                <a:cs typeface="Arial" pitchFamily="34" charset="0"/>
              </a:rPr>
              <a:t>اولوية البنك المركزي لاستقرار الأسعار</a:t>
            </a:r>
            <a:endParaRPr kumimoji="0" lang="ar-TN" sz="1200" b="1" i="0" u="none" strike="noStrike" kern="1200" cap="none" spc="0" normalizeH="0" baseline="0" noProof="0" dirty="0" smtClean="0">
              <a:ln>
                <a:noFill/>
              </a:ln>
              <a:solidFill>
                <a:srgbClr val="000000"/>
              </a:solidFill>
              <a:effectLst/>
              <a:uLnTx/>
              <a:uFillTx/>
              <a:latin typeface="Simplified Arabic" pitchFamily="18" charset="-78"/>
              <a:ea typeface="ＭＳ Ｐゴシック" pitchFamily="34" charset="-128"/>
              <a:cs typeface="Simplified Arabic" pitchFamily="18" charset="-78"/>
            </a:endParaRPr>
          </a:p>
          <a:p>
            <a:pPr marL="0" marR="0" lvl="0" indent="0" algn="just" defTabSz="457200" rtl="1" eaLnBrk="1" fontAlgn="base" latinLnBrk="0" hangingPunct="1">
              <a:lnSpc>
                <a:spcPct val="100000"/>
              </a:lnSpc>
              <a:spcBef>
                <a:spcPct val="0"/>
              </a:spcBef>
              <a:spcAft>
                <a:spcPct val="0"/>
              </a:spcAft>
              <a:buClrTx/>
              <a:buSzTx/>
              <a:buFont typeface="Arial" pitchFamily="34" charset="0"/>
              <a:buChar char="•"/>
              <a:tabLst/>
              <a:defRPr/>
            </a:pPr>
            <a:endParaRPr kumimoji="0" lang="fr-FR" sz="1200" b="1" i="0" u="none" strike="noStrike" kern="1200" cap="none" spc="0" normalizeH="0" baseline="0" noProof="0" dirty="0" smtClean="0">
              <a:ln>
                <a:noFill/>
              </a:ln>
              <a:solidFill>
                <a:srgbClr val="000000"/>
              </a:solidFill>
              <a:effectLst/>
              <a:uLnTx/>
              <a:uFillTx/>
              <a:latin typeface="Simplified Arabic" pitchFamily="18" charset="-78"/>
              <a:ea typeface="ＭＳ Ｐゴシック" pitchFamily="34" charset="-128"/>
              <a:cs typeface="Simplified Arabic" pitchFamily="18" charset="-78"/>
            </a:endParaRPr>
          </a:p>
          <a:p>
            <a:pPr marL="0" marR="0" lvl="0" indent="0" algn="r" defTabSz="457200" rtl="1" eaLnBrk="1" fontAlgn="base" latinLnBrk="0" hangingPunct="1">
              <a:lnSpc>
                <a:spcPct val="100000"/>
              </a:lnSpc>
              <a:spcBef>
                <a:spcPct val="0"/>
              </a:spcBef>
              <a:spcAft>
                <a:spcPct val="0"/>
              </a:spcAft>
              <a:buClrTx/>
              <a:buSzTx/>
              <a:buFontTx/>
              <a:buNone/>
              <a:tabLst/>
              <a:defRPr/>
            </a:pPr>
            <a:r>
              <a:rPr kumimoji="0" lang="ar-TN" sz="1200" b="0" i="0" u="none" strike="noStrike" kern="1200" cap="none" spc="0" normalizeH="0" baseline="0" noProof="0" dirty="0" smtClean="0">
                <a:ln>
                  <a:noFill/>
                </a:ln>
                <a:solidFill>
                  <a:srgbClr val="000000"/>
                </a:solidFill>
                <a:effectLst/>
                <a:uLnTx/>
                <a:uFillTx/>
                <a:latin typeface="Simplified Arabic" pitchFamily="18" charset="-78"/>
                <a:ea typeface="ＭＳ Ｐゴシック" pitchFamily="34" charset="-128"/>
                <a:cs typeface="Simplified Arabic" pitchFamily="18" charset="-78"/>
              </a:rPr>
              <a:t> </a:t>
            </a:r>
            <a:endParaRPr kumimoji="0" lang="fr-FR" sz="1200" b="0" i="0" u="none" strike="noStrike" kern="1200" cap="none" spc="0" normalizeH="0" baseline="0" noProof="0" dirty="0" err="1" smtClean="0">
              <a:ln>
                <a:noFill/>
              </a:ln>
              <a:solidFill>
                <a:srgbClr val="000000"/>
              </a:solidFill>
              <a:effectLst/>
              <a:uLnTx/>
              <a:uFillTx/>
              <a:latin typeface="Simplified Arabic" pitchFamily="18" charset="-78"/>
              <a:ea typeface="ＭＳ Ｐゴシック" pitchFamily="34" charset="-128"/>
              <a:cs typeface="Simplified Arabic" pitchFamily="18" charset="-78"/>
            </a:endParaRPr>
          </a:p>
        </p:txBody>
      </p:sp>
      <p:sp>
        <p:nvSpPr>
          <p:cNvPr id="149" name="ZoneTexte 148"/>
          <p:cNvSpPr txBox="1"/>
          <p:nvPr/>
        </p:nvSpPr>
        <p:spPr>
          <a:xfrm>
            <a:off x="246977" y="4577827"/>
            <a:ext cx="2887795" cy="708168"/>
          </a:xfrm>
          <a:prstGeom prst="rect">
            <a:avLst/>
          </a:prstGeom>
          <a:solidFill>
            <a:schemeClr val="bg1"/>
          </a:solidFill>
          <a:ln w="9525">
            <a:solidFill>
              <a:schemeClr val="bg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6200" tIns="76200" rIns="76200" bIns="76200" numCol="1" rtlCol="0" anchor="t" anchorCtr="0" compatLnSpc="1">
            <a:prstTxWarp prst="textNoShape">
              <a:avLst/>
            </a:prstTxWarp>
            <a:noAutofit/>
          </a:bodyPr>
          <a:lstStyle/>
          <a:p>
            <a:pPr marL="265113" marR="0" lvl="1" indent="-176213" algn="just" defTabSz="457200" rtl="1" eaLnBrk="1" fontAlgn="base" latinLnBrk="0" hangingPunct="1">
              <a:lnSpc>
                <a:spcPct val="100000"/>
              </a:lnSpc>
              <a:spcBef>
                <a:spcPct val="0"/>
              </a:spcBef>
              <a:spcAft>
                <a:spcPct val="0"/>
              </a:spcAft>
              <a:buClr>
                <a:srgbClr val="FF0000"/>
              </a:buClr>
              <a:buSzPct val="80000"/>
              <a:buFont typeface="Arial" pitchFamily="34" charset="0"/>
              <a:buChar char="•"/>
              <a:tabLst/>
              <a:defRPr/>
            </a:pPr>
            <a:r>
              <a:rPr kumimoji="0" lang="ar-TN" sz="1200" b="1" i="0" u="none" strike="noStrike" kern="1200" cap="none" spc="0" normalizeH="0" baseline="0" noProof="0" dirty="0" smtClean="0">
                <a:ln>
                  <a:noFill/>
                </a:ln>
                <a:solidFill>
                  <a:srgbClr val="000000"/>
                </a:solidFill>
                <a:effectLst/>
                <a:uLnTx/>
                <a:uFillTx/>
                <a:latin typeface="Simplified Arabic" pitchFamily="18" charset="-78"/>
                <a:ea typeface="ＭＳ Ｐゴシック" pitchFamily="34" charset="-128"/>
                <a:cs typeface="Simplified Arabic" pitchFamily="18" charset="-78"/>
              </a:rPr>
              <a:t> </a:t>
            </a:r>
            <a:r>
              <a:rPr kumimoji="0" lang="ar-TN" sz="1200" b="1" i="0" u="none" strike="noStrike" kern="1200" cap="none" spc="-20" normalizeH="0" baseline="0" noProof="0" dirty="0" smtClean="0">
                <a:ln>
                  <a:noFill/>
                </a:ln>
                <a:solidFill>
                  <a:srgbClr val="000000"/>
                </a:solidFill>
                <a:effectLst/>
                <a:uLnTx/>
                <a:uFillTx/>
                <a:latin typeface="Arial" pitchFamily="34" charset="0"/>
                <a:ea typeface="ＭＳ Ｐゴシック"/>
                <a:cs typeface="Arial" pitchFamily="34" charset="0"/>
              </a:rPr>
              <a:t>تحسن الترتيب في </a:t>
            </a:r>
            <a:r>
              <a:rPr kumimoji="0" lang="ar-SA" sz="1200" b="1" i="0" u="none" strike="noStrike" kern="1200" cap="none" spc="-20" normalizeH="0" baseline="0" noProof="0" dirty="0" smtClean="0">
                <a:ln>
                  <a:noFill/>
                </a:ln>
                <a:solidFill>
                  <a:srgbClr val="000000"/>
                </a:solidFill>
                <a:effectLst/>
                <a:uLnTx/>
                <a:uFillTx/>
                <a:latin typeface="Arial" pitchFamily="34" charset="0"/>
                <a:ea typeface="ＭＳ Ｐゴシック"/>
                <a:cs typeface="Arial" pitchFamily="34" charset="0"/>
              </a:rPr>
              <a:t>مجالات تسهيل انشاء الشركات      و تسجيل العقارات ودفع الضرائب</a:t>
            </a:r>
            <a:endParaRPr kumimoji="0" lang="ar-TN" sz="1200" b="1" i="0" u="none" strike="noStrike" kern="1200" cap="none" spc="-20" normalizeH="0" baseline="0" noProof="0" dirty="0" smtClean="0">
              <a:ln>
                <a:noFill/>
              </a:ln>
              <a:solidFill>
                <a:srgbClr val="000000"/>
              </a:solidFill>
              <a:effectLst/>
              <a:uLnTx/>
              <a:uFillTx/>
              <a:latin typeface="Arial" pitchFamily="34" charset="0"/>
              <a:ea typeface="ＭＳ Ｐゴシック"/>
              <a:cs typeface="Arial" pitchFamily="34" charset="0"/>
            </a:endParaRPr>
          </a:p>
          <a:p>
            <a:pPr marL="88900" marR="0" lvl="1" indent="0" algn="just" defTabSz="457200" rtl="1" eaLnBrk="1" fontAlgn="base" latinLnBrk="0" hangingPunct="1">
              <a:lnSpc>
                <a:spcPct val="100000"/>
              </a:lnSpc>
              <a:spcBef>
                <a:spcPct val="0"/>
              </a:spcBef>
              <a:spcAft>
                <a:spcPct val="0"/>
              </a:spcAft>
              <a:buClr>
                <a:srgbClr val="FF0000"/>
              </a:buClr>
              <a:buSzPct val="80000"/>
              <a:buFontTx/>
              <a:buNone/>
              <a:tabLst/>
              <a:defRPr/>
            </a:pPr>
            <a:endParaRPr kumimoji="0" lang="fr-FR" sz="1200" b="1" i="0" u="none" strike="noStrike" kern="1200" cap="none" spc="0" normalizeH="0" baseline="0" noProof="0" dirty="0" smtClean="0">
              <a:ln>
                <a:noFill/>
              </a:ln>
              <a:solidFill>
                <a:srgbClr val="000000"/>
              </a:solidFill>
              <a:effectLst/>
              <a:uLnTx/>
              <a:uFillTx/>
              <a:latin typeface="Arial" pitchFamily="34" charset="0"/>
              <a:ea typeface="ＭＳ Ｐゴシック"/>
              <a:cs typeface="+mn-cs"/>
            </a:endParaRPr>
          </a:p>
          <a:p>
            <a:pPr marL="266700" marR="0" lvl="1" indent="-176213" algn="just" defTabSz="457200" rtl="1" eaLnBrk="1" fontAlgn="base" latinLnBrk="0" hangingPunct="1">
              <a:lnSpc>
                <a:spcPct val="150000"/>
              </a:lnSpc>
              <a:spcBef>
                <a:spcPts val="600"/>
              </a:spcBef>
              <a:spcAft>
                <a:spcPts val="1200"/>
              </a:spcAft>
              <a:buClr>
                <a:srgbClr val="C00000"/>
              </a:buClr>
              <a:buSzPct val="100000"/>
              <a:buFontTx/>
              <a:buNone/>
              <a:tabLst>
                <a:tab pos="263525" algn="l"/>
              </a:tabLst>
              <a:defRPr/>
            </a:pPr>
            <a:endParaRPr kumimoji="0" lang="ar-TN" sz="1200" b="1" i="0" u="none" strike="noStrike" kern="1200" cap="none" spc="0" normalizeH="0" baseline="0" noProof="0" dirty="0" smtClean="0">
              <a:ln>
                <a:noFill/>
              </a:ln>
              <a:solidFill>
                <a:srgbClr val="000000"/>
              </a:solidFill>
              <a:effectLst/>
              <a:uLnTx/>
              <a:uFillTx/>
              <a:latin typeface="Simplified Arabic" pitchFamily="18" charset="-78"/>
              <a:ea typeface="ＭＳ Ｐゴシック" pitchFamily="34" charset="-128"/>
              <a:cs typeface="Simplified Arabic" pitchFamily="18" charset="-78"/>
            </a:endParaRPr>
          </a:p>
          <a:p>
            <a:pPr marL="0" marR="0" lvl="0" indent="0" algn="just" defTabSz="457200" rtl="1" eaLnBrk="1" fontAlgn="base" latinLnBrk="0" hangingPunct="1">
              <a:lnSpc>
                <a:spcPct val="100000"/>
              </a:lnSpc>
              <a:spcBef>
                <a:spcPct val="0"/>
              </a:spcBef>
              <a:spcAft>
                <a:spcPct val="0"/>
              </a:spcAft>
              <a:buClrTx/>
              <a:buSzTx/>
              <a:buFont typeface="Arial" pitchFamily="34" charset="0"/>
              <a:buChar char="•"/>
              <a:tabLst/>
              <a:defRPr/>
            </a:pPr>
            <a:endParaRPr kumimoji="0" lang="fr-FR" sz="1200" b="1" i="0" u="none" strike="noStrike" kern="1200" cap="none" spc="0" normalizeH="0" baseline="0" noProof="0" dirty="0" smtClean="0">
              <a:ln>
                <a:noFill/>
              </a:ln>
              <a:solidFill>
                <a:srgbClr val="000000"/>
              </a:solidFill>
              <a:effectLst/>
              <a:uLnTx/>
              <a:uFillTx/>
              <a:latin typeface="Simplified Arabic" pitchFamily="18" charset="-78"/>
              <a:ea typeface="ＭＳ Ｐゴシック" pitchFamily="34" charset="-128"/>
              <a:cs typeface="Simplified Arabic" pitchFamily="18" charset="-78"/>
            </a:endParaRPr>
          </a:p>
          <a:p>
            <a:pPr marL="0" marR="0" lvl="0" indent="0" algn="r" defTabSz="457200" rtl="1" eaLnBrk="1" fontAlgn="base" latinLnBrk="0" hangingPunct="1">
              <a:lnSpc>
                <a:spcPct val="100000"/>
              </a:lnSpc>
              <a:spcBef>
                <a:spcPct val="0"/>
              </a:spcBef>
              <a:spcAft>
                <a:spcPct val="0"/>
              </a:spcAft>
              <a:buClrTx/>
              <a:buSzTx/>
              <a:buFontTx/>
              <a:buNone/>
              <a:tabLst/>
              <a:defRPr/>
            </a:pPr>
            <a:r>
              <a:rPr kumimoji="0" lang="ar-TN" sz="1200" b="0" i="0" u="none" strike="noStrike" kern="1200" cap="none" spc="0" normalizeH="0" baseline="0" noProof="0" dirty="0" smtClean="0">
                <a:ln>
                  <a:noFill/>
                </a:ln>
                <a:solidFill>
                  <a:srgbClr val="000000"/>
                </a:solidFill>
                <a:effectLst/>
                <a:uLnTx/>
                <a:uFillTx/>
                <a:latin typeface="Simplified Arabic" pitchFamily="18" charset="-78"/>
                <a:ea typeface="ＭＳ Ｐゴシック" pitchFamily="34" charset="-128"/>
                <a:cs typeface="Simplified Arabic" pitchFamily="18" charset="-78"/>
              </a:rPr>
              <a:t> </a:t>
            </a:r>
            <a:endParaRPr kumimoji="0" lang="fr-FR" sz="1200" b="0" i="0" u="none" strike="noStrike" kern="1200" cap="none" spc="0" normalizeH="0" baseline="0" noProof="0" dirty="0" err="1" smtClean="0">
              <a:ln>
                <a:noFill/>
              </a:ln>
              <a:solidFill>
                <a:srgbClr val="000000"/>
              </a:solidFill>
              <a:effectLst/>
              <a:uLnTx/>
              <a:uFillTx/>
              <a:latin typeface="Simplified Arabic" pitchFamily="18" charset="-78"/>
              <a:ea typeface="ＭＳ Ｐゴシック" pitchFamily="34" charset="-128"/>
              <a:cs typeface="Simplified Arabic" pitchFamily="18" charset="-78"/>
            </a:endParaRPr>
          </a:p>
        </p:txBody>
      </p:sp>
      <p:sp>
        <p:nvSpPr>
          <p:cNvPr id="151" name="ZoneTexte 150"/>
          <p:cNvSpPr txBox="1"/>
          <p:nvPr/>
        </p:nvSpPr>
        <p:spPr>
          <a:xfrm>
            <a:off x="115070" y="3627392"/>
            <a:ext cx="3019702" cy="542489"/>
          </a:xfrm>
          <a:prstGeom prst="rect">
            <a:avLst/>
          </a:prstGeom>
          <a:solidFill>
            <a:schemeClr val="bg1"/>
          </a:solidFill>
          <a:ln w="9525">
            <a:solidFill>
              <a:schemeClr val="bg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6200" tIns="76200" rIns="76200" bIns="76200" numCol="1" rtlCol="0" anchor="t" anchorCtr="0" compatLnSpc="1">
            <a:prstTxWarp prst="textNoShape">
              <a:avLst/>
            </a:prstTxWarp>
            <a:noAutofit/>
          </a:bodyPr>
          <a:lstStyle/>
          <a:p>
            <a:pPr marL="265113" marR="0" lvl="1" indent="-176213" algn="just" defTabSz="457200" rtl="1" eaLnBrk="1" fontAlgn="base" latinLnBrk="0" hangingPunct="1">
              <a:lnSpc>
                <a:spcPct val="100000"/>
              </a:lnSpc>
              <a:spcBef>
                <a:spcPct val="0"/>
              </a:spcBef>
              <a:spcAft>
                <a:spcPct val="0"/>
              </a:spcAft>
              <a:buClr>
                <a:srgbClr val="FF0000"/>
              </a:buClr>
              <a:buSzPct val="80000"/>
              <a:buFont typeface="Arial" pitchFamily="34" charset="0"/>
              <a:buChar char="•"/>
              <a:tabLst/>
              <a:defRPr/>
            </a:pPr>
            <a:r>
              <a:rPr kumimoji="0" lang="ar-SA" sz="1200" b="1" i="0" u="none" strike="noStrike" kern="1200" cap="none" spc="-40" normalizeH="0" baseline="0" noProof="0" dirty="0" smtClean="0">
                <a:ln>
                  <a:noFill/>
                </a:ln>
                <a:solidFill>
                  <a:srgbClr val="000000"/>
                </a:solidFill>
                <a:effectLst/>
                <a:uLnTx/>
                <a:uFillTx/>
                <a:latin typeface="Arial" pitchFamily="34" charset="0"/>
                <a:ea typeface="ＭＳ Ｐゴシック"/>
                <a:cs typeface="Arial" pitchFamily="34" charset="0"/>
              </a:rPr>
              <a:t>تحسن في مجال ديناميكية المشاريع</a:t>
            </a:r>
          </a:p>
          <a:p>
            <a:pPr marL="265113" marR="0" lvl="1" indent="-176213" algn="just" defTabSz="457200" rtl="1" eaLnBrk="1" fontAlgn="base" latinLnBrk="0" hangingPunct="1">
              <a:lnSpc>
                <a:spcPct val="100000"/>
              </a:lnSpc>
              <a:spcBef>
                <a:spcPct val="0"/>
              </a:spcBef>
              <a:spcAft>
                <a:spcPct val="0"/>
              </a:spcAft>
              <a:buClr>
                <a:srgbClr val="FF0000"/>
              </a:buClr>
              <a:buSzPct val="80000"/>
              <a:buFont typeface="Arial" pitchFamily="34" charset="0"/>
              <a:buChar char="•"/>
              <a:tabLst/>
              <a:defRPr/>
            </a:pPr>
            <a:r>
              <a:rPr kumimoji="0" lang="ar-SA" sz="1200" b="1" i="0" u="none" strike="noStrike" kern="1200" cap="none" spc="-40" normalizeH="0" baseline="0" noProof="0" dirty="0" smtClean="0">
                <a:ln>
                  <a:noFill/>
                </a:ln>
                <a:solidFill>
                  <a:srgbClr val="000000"/>
                </a:solidFill>
                <a:effectLst/>
                <a:uLnTx/>
                <a:uFillTx/>
                <a:latin typeface="Arial" pitchFamily="34" charset="0"/>
                <a:ea typeface="ＭＳ Ｐゴシック"/>
                <a:cs typeface="Arial" pitchFamily="34" charset="0"/>
              </a:rPr>
              <a:t>تحسن في مجال القدرة على الابتكار</a:t>
            </a:r>
            <a:endParaRPr kumimoji="0" lang="ar-TN" sz="1200" b="1" i="0" u="none" strike="noStrike" kern="1200" cap="none" spc="0" normalizeH="0" baseline="0" noProof="0" dirty="0" smtClean="0">
              <a:ln>
                <a:noFill/>
              </a:ln>
              <a:solidFill>
                <a:srgbClr val="000000"/>
              </a:solidFill>
              <a:effectLst/>
              <a:uLnTx/>
              <a:uFillTx/>
              <a:latin typeface="Simplified Arabic" pitchFamily="18" charset="-78"/>
              <a:ea typeface="ＭＳ Ｐゴシック" pitchFamily="34" charset="-128"/>
              <a:cs typeface="Simplified Arabic" pitchFamily="18" charset="-78"/>
            </a:endParaRPr>
          </a:p>
          <a:p>
            <a:pPr marL="0" marR="0" lvl="0" indent="0" algn="just" defTabSz="457200" rtl="1" eaLnBrk="1" fontAlgn="base" latinLnBrk="0" hangingPunct="1">
              <a:lnSpc>
                <a:spcPct val="100000"/>
              </a:lnSpc>
              <a:spcBef>
                <a:spcPct val="0"/>
              </a:spcBef>
              <a:spcAft>
                <a:spcPct val="0"/>
              </a:spcAft>
              <a:buClrTx/>
              <a:buSzTx/>
              <a:buFont typeface="Arial" pitchFamily="34" charset="0"/>
              <a:buChar char="•"/>
              <a:tabLst/>
              <a:defRPr/>
            </a:pPr>
            <a:endParaRPr kumimoji="0" lang="fr-FR" sz="1200" b="1" i="0" u="none" strike="noStrike" kern="1200" cap="none" spc="0" normalizeH="0" baseline="0" noProof="0" dirty="0" smtClean="0">
              <a:ln>
                <a:noFill/>
              </a:ln>
              <a:solidFill>
                <a:srgbClr val="000000"/>
              </a:solidFill>
              <a:effectLst/>
              <a:uLnTx/>
              <a:uFillTx/>
              <a:latin typeface="Simplified Arabic" pitchFamily="18" charset="-78"/>
              <a:ea typeface="ＭＳ Ｐゴシック" pitchFamily="34" charset="-128"/>
              <a:cs typeface="Simplified Arabic" pitchFamily="18" charset="-78"/>
            </a:endParaRPr>
          </a:p>
          <a:p>
            <a:pPr marL="0" marR="0" lvl="0" indent="0" algn="r" defTabSz="457200" rtl="1" eaLnBrk="1" fontAlgn="base" latinLnBrk="0" hangingPunct="1">
              <a:lnSpc>
                <a:spcPct val="100000"/>
              </a:lnSpc>
              <a:spcBef>
                <a:spcPct val="0"/>
              </a:spcBef>
              <a:spcAft>
                <a:spcPct val="0"/>
              </a:spcAft>
              <a:buClrTx/>
              <a:buSzTx/>
              <a:buFontTx/>
              <a:buNone/>
              <a:tabLst/>
              <a:defRPr/>
            </a:pPr>
            <a:r>
              <a:rPr kumimoji="0" lang="ar-TN" sz="1200" b="0" i="0" u="none" strike="noStrike" kern="1200" cap="none" spc="0" normalizeH="0" baseline="0" noProof="0" dirty="0" smtClean="0">
                <a:ln>
                  <a:noFill/>
                </a:ln>
                <a:solidFill>
                  <a:srgbClr val="000000"/>
                </a:solidFill>
                <a:effectLst/>
                <a:uLnTx/>
                <a:uFillTx/>
                <a:latin typeface="Simplified Arabic" pitchFamily="18" charset="-78"/>
                <a:ea typeface="ＭＳ Ｐゴシック" pitchFamily="34" charset="-128"/>
                <a:cs typeface="Simplified Arabic" pitchFamily="18" charset="-78"/>
              </a:rPr>
              <a:t> </a:t>
            </a:r>
            <a:endParaRPr kumimoji="0" lang="fr-FR" sz="1200" b="0" i="0" u="none" strike="noStrike" kern="1200" cap="none" spc="0" normalizeH="0" baseline="0" noProof="0" dirty="0" err="1" smtClean="0">
              <a:ln>
                <a:noFill/>
              </a:ln>
              <a:solidFill>
                <a:srgbClr val="000000"/>
              </a:solidFill>
              <a:effectLst/>
              <a:uLnTx/>
              <a:uFillTx/>
              <a:latin typeface="Simplified Arabic" pitchFamily="18" charset="-78"/>
              <a:ea typeface="ＭＳ Ｐゴシック" pitchFamily="34" charset="-128"/>
              <a:cs typeface="Simplified Arabic" pitchFamily="18" charset="-78"/>
            </a:endParaRPr>
          </a:p>
        </p:txBody>
      </p:sp>
    </p:spTree>
    <p:extLst>
      <p:ext uri="{BB962C8B-B14F-4D97-AF65-F5344CB8AC3E}">
        <p14:creationId xmlns:p14="http://schemas.microsoft.com/office/powerpoint/2010/main" xmlns="" val="196408113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a:spLocks noGrp="1"/>
          </p:cNvSpPr>
          <p:nvPr>
            <p:ph type="ctrTitle" idx="4294967295"/>
          </p:nvPr>
        </p:nvSpPr>
        <p:spPr>
          <a:xfrm>
            <a:off x="0" y="1770063"/>
            <a:ext cx="9144000" cy="3284537"/>
          </a:xfrm>
        </p:spPr>
        <p:txBody>
          <a:bodyPr anchor="ctr">
            <a:normAutofit/>
          </a:bodyPr>
          <a:lstStyle/>
          <a:p>
            <a:pPr algn="ctr" defTabSz="457200" eaLnBrk="0" hangingPunct="0">
              <a:defRPr/>
            </a:pPr>
            <a:r>
              <a:rPr lang="ar-TN" sz="3200" dirty="0">
                <a:solidFill>
                  <a:srgbClr val="FF0000"/>
                </a:solidFill>
                <a:latin typeface="Simplified Arabic" pitchFamily="18" charset="-78"/>
                <a:ea typeface="+mn-ea"/>
                <a:cs typeface="Simplified Arabic" pitchFamily="18" charset="-78"/>
              </a:rPr>
              <a:t>أهم المشاريع </a:t>
            </a:r>
            <a:r>
              <a:rPr lang="ar-TN" sz="3200" dirty="0" smtClean="0">
                <a:solidFill>
                  <a:srgbClr val="FF0000"/>
                </a:solidFill>
                <a:latin typeface="Simplified Arabic" pitchFamily="18" charset="-78"/>
                <a:ea typeface="+mn-ea"/>
                <a:cs typeface="Simplified Arabic" pitchFamily="18" charset="-78"/>
              </a:rPr>
              <a:t>المبرمجة</a:t>
            </a:r>
            <a:br>
              <a:rPr lang="ar-TN" sz="3200" dirty="0" smtClean="0">
                <a:solidFill>
                  <a:srgbClr val="FF0000"/>
                </a:solidFill>
                <a:latin typeface="Simplified Arabic" pitchFamily="18" charset="-78"/>
                <a:ea typeface="+mn-ea"/>
                <a:cs typeface="Simplified Arabic" pitchFamily="18" charset="-78"/>
              </a:rPr>
            </a:br>
            <a:r>
              <a:rPr lang="ar-TN" sz="3200" dirty="0" smtClean="0">
                <a:solidFill>
                  <a:srgbClr val="FF0000"/>
                </a:solidFill>
                <a:latin typeface="Simplified Arabic" pitchFamily="18" charset="-78"/>
                <a:ea typeface="+mn-ea"/>
                <a:cs typeface="Simplified Arabic" pitchFamily="18" charset="-78"/>
              </a:rPr>
              <a:t>لسنة </a:t>
            </a:r>
            <a:r>
              <a:rPr lang="ar-TN" sz="2400" dirty="0" smtClean="0">
                <a:solidFill>
                  <a:srgbClr val="FF0000"/>
                </a:solidFill>
                <a:latin typeface="Simplified Arabic" pitchFamily="18" charset="-78"/>
                <a:ea typeface="+mn-ea"/>
                <a:cs typeface="Simplified Arabic" pitchFamily="18" charset="-78"/>
              </a:rPr>
              <a:t>2020</a:t>
            </a:r>
            <a:endParaRPr lang="ar-TN" sz="3600" dirty="0">
              <a:solidFill>
                <a:srgbClr val="FF0000"/>
              </a:solidFill>
              <a:latin typeface="Simplified Arabic" pitchFamily="18" charset="-78"/>
              <a:ea typeface="+mn-ea"/>
              <a:cs typeface="Simplified Arabic" pitchFamily="18" charset="-78"/>
            </a:endParaRPr>
          </a:p>
        </p:txBody>
      </p:sp>
    </p:spTree>
    <p:extLst>
      <p:ext uri="{BB962C8B-B14F-4D97-AF65-F5344CB8AC3E}">
        <p14:creationId xmlns:p14="http://schemas.microsoft.com/office/powerpoint/2010/main" xmlns="" val="296742230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p:oleObj spid="_x0000_s156760" name="think-cell Slide" r:id="rId4" imgW="360" imgH="360" progId="">
              <p:embed/>
            </p:oleObj>
          </a:graphicData>
        </a:graphic>
      </p:graphicFrame>
      <p:sp>
        <p:nvSpPr>
          <p:cNvPr id="34820" name="Text Placeholder 4"/>
          <p:cNvSpPr>
            <a:spLocks noGrp="1"/>
          </p:cNvSpPr>
          <p:nvPr>
            <p:ph type="body" sz="quarter" idx="23"/>
          </p:nvPr>
        </p:nvSpPr>
        <p:spPr>
          <a:xfrm>
            <a:off x="163515" y="176213"/>
            <a:ext cx="8791575" cy="711200"/>
          </a:xfrm>
        </p:spPr>
        <p:txBody>
          <a:bodyPr/>
          <a:lstStyle/>
          <a:p>
            <a:pPr marL="0" lvl="4" indent="0" algn="ctr" rtl="1" fontAlgn="auto">
              <a:spcAft>
                <a:spcPts val="600"/>
              </a:spcAft>
              <a:buNone/>
              <a:defRPr/>
            </a:pPr>
            <a:r>
              <a:rPr lang="ar-TN" sz="2200" b="1" dirty="0" smtClean="0">
                <a:solidFill>
                  <a:srgbClr val="FF0000"/>
                </a:solidFill>
                <a:latin typeface="Simplified Arabic" panose="02020603050405020304" pitchFamily="18" charset="-78"/>
                <a:cs typeface="Simplified Arabic" panose="02020603050405020304" pitchFamily="18" charset="-78"/>
              </a:rPr>
              <a:t>أهم </a:t>
            </a:r>
            <a:r>
              <a:rPr lang="ar-TN" sz="2200" b="1" dirty="0">
                <a:solidFill>
                  <a:srgbClr val="FF0000"/>
                </a:solidFill>
                <a:latin typeface="Simplified Arabic" panose="02020603050405020304" pitchFamily="18" charset="-78"/>
                <a:cs typeface="Simplified Arabic" panose="02020603050405020304" pitchFamily="18" charset="-78"/>
              </a:rPr>
              <a:t>المشاريع والبرامج والإصلاحات لسنة </a:t>
            </a:r>
            <a:r>
              <a:rPr lang="ar-TN" sz="2000" b="1" dirty="0">
                <a:solidFill>
                  <a:srgbClr val="FF0000"/>
                </a:solidFill>
                <a:latin typeface="Times New Roman" panose="02020603050405020304" pitchFamily="18" charset="0"/>
                <a:cs typeface="Times New Roman" panose="02020603050405020304" pitchFamily="18" charset="0"/>
              </a:rPr>
              <a:t>2020</a:t>
            </a:r>
            <a:endParaRPr lang="ar-TN" sz="2400" b="1" dirty="0">
              <a:solidFill>
                <a:srgbClr val="FF0000"/>
              </a:solidFill>
              <a:latin typeface="Times New Roman" panose="02020603050405020304" pitchFamily="18" charset="0"/>
              <a:cs typeface="Times New Roman" panose="02020603050405020304" pitchFamily="18" charset="0"/>
            </a:endParaRPr>
          </a:p>
        </p:txBody>
      </p:sp>
      <p:sp>
        <p:nvSpPr>
          <p:cNvPr id="2" name="Rectangle 1"/>
          <p:cNvSpPr/>
          <p:nvPr/>
        </p:nvSpPr>
        <p:spPr>
          <a:xfrm>
            <a:off x="634659" y="1049917"/>
            <a:ext cx="6807201" cy="2062103"/>
          </a:xfrm>
          <a:prstGeom prst="rect">
            <a:avLst/>
          </a:prstGeom>
          <a:ln>
            <a:solidFill>
              <a:srgbClr val="E51B2E"/>
            </a:solidFill>
          </a:ln>
        </p:spPr>
        <p:txBody>
          <a:bodyPr wrap="square">
            <a:spAutoFit/>
          </a:bodyPr>
          <a:lstStyle/>
          <a:p>
            <a:pPr marL="163513" lvl="0" indent="-163513" algn="just" rtl="1">
              <a:spcAft>
                <a:spcPts val="800"/>
              </a:spcAft>
              <a:buFont typeface="Wingdings" panose="05000000000000000000" pitchFamily="2" charset="2"/>
              <a:buChar char=""/>
            </a:pPr>
            <a:r>
              <a:rPr lang="ar-TN" b="1" dirty="0" smtClean="0">
                <a:latin typeface="+mj-lt"/>
                <a:cs typeface="+mn-cs"/>
              </a:rPr>
              <a:t>دعم التمكن من اللغات من خلال تدريس </a:t>
            </a:r>
            <a:r>
              <a:rPr lang="ar-TN" b="1" dirty="0">
                <a:latin typeface="+mj-lt"/>
                <a:cs typeface="+mn-cs"/>
              </a:rPr>
              <a:t>اللغة الفرنسية بداية من السنة الثانية </a:t>
            </a:r>
            <a:r>
              <a:rPr lang="ar-TN" b="1" dirty="0" smtClean="0">
                <a:latin typeface="+mj-lt"/>
                <a:cs typeface="+mn-cs"/>
              </a:rPr>
              <a:t>واللغة </a:t>
            </a:r>
            <a:r>
              <a:rPr lang="ar-TN" b="1" dirty="0" err="1">
                <a:latin typeface="+mj-lt"/>
                <a:cs typeface="+mn-cs"/>
              </a:rPr>
              <a:t>الأنقليزية</a:t>
            </a:r>
            <a:r>
              <a:rPr lang="ar-TN" b="1" dirty="0">
                <a:latin typeface="+mj-lt"/>
                <a:cs typeface="+mn-cs"/>
              </a:rPr>
              <a:t> بداية من السنة </a:t>
            </a:r>
            <a:r>
              <a:rPr lang="ar-TN" b="1" dirty="0" smtClean="0">
                <a:latin typeface="+mj-lt"/>
                <a:cs typeface="+mn-cs"/>
              </a:rPr>
              <a:t>الرابعة.</a:t>
            </a:r>
            <a:endParaRPr lang="ar-TN" b="1" dirty="0" smtClean="0">
              <a:latin typeface="+mj-lt"/>
              <a:ea typeface="Calibri" panose="020F0502020204030204" pitchFamily="34" charset="0"/>
              <a:cs typeface="+mn-cs"/>
            </a:endParaRPr>
          </a:p>
          <a:p>
            <a:pPr marL="163513" lvl="0" indent="-163513" algn="just" rtl="1">
              <a:spcAft>
                <a:spcPts val="800"/>
              </a:spcAft>
              <a:buFont typeface="Wingdings" panose="05000000000000000000" pitchFamily="2" charset="2"/>
              <a:buChar char=""/>
            </a:pPr>
            <a:r>
              <a:rPr lang="ar-TN" b="1" dirty="0" smtClean="0">
                <a:latin typeface="+mj-lt"/>
                <a:cs typeface="+mn-cs"/>
              </a:rPr>
              <a:t>مراجعة الزمن المدرسي وإعطاء </a:t>
            </a:r>
            <a:r>
              <a:rPr lang="ar-TN" b="1" dirty="0">
                <a:latin typeface="+mj-lt"/>
                <a:cs typeface="+mn-cs"/>
              </a:rPr>
              <a:t>مساحة أكبر للأنشطة الثقافية </a:t>
            </a:r>
            <a:r>
              <a:rPr lang="ar-TN" b="1" dirty="0" smtClean="0">
                <a:latin typeface="+mj-lt"/>
                <a:cs typeface="+mn-cs"/>
              </a:rPr>
              <a:t>والرياضية.</a:t>
            </a:r>
          </a:p>
          <a:p>
            <a:pPr marL="163513" indent="-163513" algn="just" rtl="1">
              <a:spcAft>
                <a:spcPts val="800"/>
              </a:spcAft>
              <a:buFont typeface="Wingdings" panose="05000000000000000000" pitchFamily="2" charset="2"/>
              <a:buChar char=""/>
            </a:pPr>
            <a:r>
              <a:rPr lang="ar-TN" b="1" dirty="0" smtClean="0">
                <a:latin typeface="+mj-lt"/>
                <a:cs typeface="+mn-cs"/>
              </a:rPr>
              <a:t>مواصلة </a:t>
            </a:r>
            <a:r>
              <a:rPr lang="ar-TN" b="1" dirty="0">
                <a:latin typeface="+mj-lt"/>
                <a:cs typeface="+mn-cs"/>
              </a:rPr>
              <a:t>ارساء البرنامج النموذجي ثلاثي الأبعاد للتصدي للانقطاع والتسرّب المدرسي (</a:t>
            </a:r>
            <a:r>
              <a:rPr lang="fr-FR" sz="1600" b="1" dirty="0">
                <a:latin typeface="+mj-lt"/>
                <a:cs typeface="+mn-cs"/>
              </a:rPr>
              <a:t>M3D</a:t>
            </a:r>
            <a:r>
              <a:rPr lang="ar-TN" b="1" dirty="0" smtClean="0">
                <a:latin typeface="+mj-lt"/>
                <a:cs typeface="+mn-cs"/>
              </a:rPr>
              <a:t>).</a:t>
            </a:r>
            <a:endParaRPr lang="fr-FR" b="1" dirty="0">
              <a:latin typeface="+mj-lt"/>
              <a:cs typeface="+mn-cs"/>
            </a:endParaRPr>
          </a:p>
          <a:p>
            <a:pPr marL="163513" lvl="0" indent="-163513" algn="just" rtl="1">
              <a:spcAft>
                <a:spcPts val="800"/>
              </a:spcAft>
              <a:buFont typeface="Wingdings" panose="05000000000000000000" pitchFamily="2" charset="2"/>
              <a:buChar char=""/>
            </a:pPr>
            <a:r>
              <a:rPr lang="ar-TN" b="1" dirty="0" smtClean="0">
                <a:latin typeface="+mj-lt"/>
                <a:cs typeface="+mn-cs"/>
              </a:rPr>
              <a:t>مواصلة </a:t>
            </a:r>
            <a:r>
              <a:rPr lang="ar-TN" b="1" dirty="0">
                <a:latin typeface="+mj-lt"/>
                <a:cs typeface="+mn-cs"/>
              </a:rPr>
              <a:t>تركيز مشروع المدرسة </a:t>
            </a:r>
            <a:r>
              <a:rPr lang="ar-TN" b="1" dirty="0" smtClean="0">
                <a:latin typeface="+mj-lt"/>
                <a:cs typeface="+mn-cs"/>
              </a:rPr>
              <a:t>الرقمية.</a:t>
            </a:r>
            <a:endParaRPr lang="fr-FR" b="1" dirty="0">
              <a:latin typeface="+mj-lt"/>
              <a:cs typeface="+mn-cs"/>
            </a:endParaRPr>
          </a:p>
        </p:txBody>
      </p:sp>
      <p:sp>
        <p:nvSpPr>
          <p:cNvPr id="4" name="Rectangle 3"/>
          <p:cNvSpPr/>
          <p:nvPr/>
        </p:nvSpPr>
        <p:spPr>
          <a:xfrm>
            <a:off x="7759063" y="1577529"/>
            <a:ext cx="824220" cy="338554"/>
          </a:xfrm>
          <a:prstGeom prst="rect">
            <a:avLst/>
          </a:prstGeom>
          <a:ln>
            <a:solidFill>
              <a:srgbClr val="E51B2E"/>
            </a:solidFill>
          </a:ln>
        </p:spPr>
        <p:txBody>
          <a:bodyPr wrap="square">
            <a:spAutoFit/>
          </a:bodyPr>
          <a:lstStyle/>
          <a:p>
            <a:pPr algn="ctr"/>
            <a:r>
              <a:rPr lang="ar-TN" sz="1600" b="1" dirty="0" smtClean="0">
                <a:solidFill>
                  <a:srgbClr val="000000"/>
                </a:solidFill>
                <a:latin typeface="Arial" panose="020B0604020202020204" pitchFamily="34" charset="0"/>
                <a:ea typeface="Calibri" panose="020F0502020204030204" pitchFamily="34" charset="0"/>
                <a:cs typeface="Arial" panose="020B0604020202020204" pitchFamily="34" charset="0"/>
              </a:rPr>
              <a:t>التربية</a:t>
            </a:r>
            <a:endParaRPr lang="fr-FR" sz="1600" dirty="0">
              <a:solidFill>
                <a:srgbClr val="000000"/>
              </a:solidFill>
              <a:latin typeface="Arial" panose="020B0604020202020204" pitchFamily="34" charset="0"/>
              <a:cs typeface="Arial" panose="020B0604020202020204" pitchFamily="34" charset="0"/>
            </a:endParaRPr>
          </a:p>
        </p:txBody>
      </p:sp>
      <p:sp>
        <p:nvSpPr>
          <p:cNvPr id="9" name="Isosceles Triangle 65"/>
          <p:cNvSpPr/>
          <p:nvPr/>
        </p:nvSpPr>
        <p:spPr>
          <a:xfrm rot="16200000">
            <a:off x="7365660" y="1609331"/>
            <a:ext cx="387790" cy="235390"/>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solidFill>
                <a:srgbClr val="FFFFFF"/>
              </a:solidFill>
              <a:latin typeface="Arial" pitchFamily="34" charset="0"/>
              <a:cs typeface="Arial" pitchFamily="34" charset="0"/>
            </a:endParaRPr>
          </a:p>
        </p:txBody>
      </p:sp>
      <p:sp>
        <p:nvSpPr>
          <p:cNvPr id="7" name="Rectangle 6"/>
          <p:cNvSpPr/>
          <p:nvPr/>
        </p:nvSpPr>
        <p:spPr>
          <a:xfrm>
            <a:off x="618578" y="3560761"/>
            <a:ext cx="6807201" cy="2236510"/>
          </a:xfrm>
          <a:prstGeom prst="rect">
            <a:avLst/>
          </a:prstGeom>
          <a:ln>
            <a:solidFill>
              <a:srgbClr val="E51B2E"/>
            </a:solidFill>
          </a:ln>
        </p:spPr>
        <p:txBody>
          <a:bodyPr wrap="square">
            <a:spAutoFit/>
          </a:bodyPr>
          <a:lstStyle/>
          <a:p>
            <a:pPr marL="163513" indent="-163513" algn="just" rtl="1">
              <a:spcAft>
                <a:spcPts val="800"/>
              </a:spcAft>
              <a:buSzPts val="1600"/>
              <a:buFont typeface="Wingdings" panose="05000000000000000000" pitchFamily="2" charset="2"/>
              <a:buChar char=""/>
            </a:pPr>
            <a:r>
              <a:rPr lang="ar-TN" b="1" dirty="0">
                <a:latin typeface="+mj-lt"/>
                <a:cs typeface="+mn-cs"/>
              </a:rPr>
              <a:t>الرفع من طاقة التكوين (حوالي </a:t>
            </a:r>
            <a:r>
              <a:rPr lang="ar-TN" sz="1600" b="1" dirty="0">
                <a:latin typeface="+mj-lt"/>
                <a:cs typeface="+mn-cs"/>
              </a:rPr>
              <a:t>101</a:t>
            </a:r>
            <a:r>
              <a:rPr lang="ar-TN" b="1" dirty="0">
                <a:latin typeface="+mj-lt"/>
                <a:cs typeface="+mn-cs"/>
              </a:rPr>
              <a:t> مشروع مرسمّا) ومن طاقة الإيواء لتبلغ حوالي </a:t>
            </a:r>
            <a:r>
              <a:rPr lang="ar-TN" sz="1600" b="1" dirty="0">
                <a:latin typeface="+mj-lt"/>
                <a:cs typeface="+mn-cs"/>
              </a:rPr>
              <a:t>20</a:t>
            </a:r>
            <a:r>
              <a:rPr lang="ar-TN" b="1" dirty="0">
                <a:latin typeface="+mj-lt"/>
                <a:cs typeface="+mn-cs"/>
              </a:rPr>
              <a:t> ألف سرير.</a:t>
            </a:r>
          </a:p>
          <a:p>
            <a:pPr marL="163513" indent="-163513" algn="just" rtl="1">
              <a:spcAft>
                <a:spcPts val="800"/>
              </a:spcAft>
              <a:buSzPts val="1600"/>
              <a:buFont typeface="Wingdings" panose="05000000000000000000" pitchFamily="2" charset="2"/>
              <a:buChar char=""/>
            </a:pPr>
            <a:r>
              <a:rPr lang="ar-TN" b="1" dirty="0">
                <a:latin typeface="+mj-lt"/>
                <a:cs typeface="+mn-cs"/>
              </a:rPr>
              <a:t>بلوغ حوالي </a:t>
            </a:r>
            <a:r>
              <a:rPr lang="ar-TN" sz="1600" b="1" dirty="0">
                <a:latin typeface="+mj-lt"/>
                <a:cs typeface="+mn-cs"/>
              </a:rPr>
              <a:t>80</a:t>
            </a:r>
            <a:r>
              <a:rPr lang="ar-TN" b="1" dirty="0">
                <a:latin typeface="+mj-lt"/>
                <a:cs typeface="+mn-cs"/>
              </a:rPr>
              <a:t> ألف متكون منهم </a:t>
            </a:r>
            <a:r>
              <a:rPr lang="ar-TN" sz="1600" b="1" dirty="0">
                <a:latin typeface="+mj-lt"/>
                <a:cs typeface="+mn-cs"/>
              </a:rPr>
              <a:t>65</a:t>
            </a:r>
            <a:r>
              <a:rPr lang="ar-TN" b="1" dirty="0">
                <a:latin typeface="+mj-lt"/>
                <a:cs typeface="+mn-cs"/>
              </a:rPr>
              <a:t> ألف بمنظومة التكوين العمومية </a:t>
            </a:r>
            <a:r>
              <a:rPr lang="ar-TN" sz="1600" b="1" dirty="0">
                <a:latin typeface="+mj-lt"/>
                <a:cs typeface="+mn-cs"/>
              </a:rPr>
              <a:t>و15</a:t>
            </a:r>
            <a:r>
              <a:rPr lang="ar-TN" b="1" dirty="0">
                <a:latin typeface="+mj-lt"/>
                <a:cs typeface="+mn-cs"/>
              </a:rPr>
              <a:t> ألف بمنظومة التكون الخاصة مع بلوغ حوالي </a:t>
            </a:r>
            <a:r>
              <a:rPr lang="ar-TN" sz="1600" b="1" dirty="0">
                <a:latin typeface="+mj-lt"/>
                <a:cs typeface="+mn-cs"/>
              </a:rPr>
              <a:t>32</a:t>
            </a:r>
            <a:r>
              <a:rPr lang="ar-TN" b="1" dirty="0">
                <a:latin typeface="+mj-lt"/>
                <a:cs typeface="+mn-cs"/>
              </a:rPr>
              <a:t> ألف متخرج </a:t>
            </a:r>
          </a:p>
          <a:p>
            <a:pPr marL="163513" indent="-163513" algn="just" rtl="1">
              <a:spcAft>
                <a:spcPts val="800"/>
              </a:spcAft>
              <a:buSzPts val="1600"/>
              <a:buFont typeface="Wingdings" panose="05000000000000000000" pitchFamily="2" charset="2"/>
              <a:buChar char=""/>
            </a:pPr>
            <a:r>
              <a:rPr lang="ar-TN" b="1" dirty="0">
                <a:latin typeface="+mj-lt"/>
                <a:cs typeface="+mn-cs"/>
              </a:rPr>
              <a:t>بلوغ عدد المؤسسات المنتفعة بآليات التكوين المستمر </a:t>
            </a:r>
            <a:r>
              <a:rPr lang="ar-TN" sz="1600" b="1" dirty="0">
                <a:latin typeface="+mj-lt"/>
                <a:cs typeface="+mn-cs"/>
              </a:rPr>
              <a:t>4532</a:t>
            </a:r>
            <a:r>
              <a:rPr lang="ar-TN" b="1" dirty="0">
                <a:latin typeface="+mj-lt"/>
                <a:cs typeface="+mn-cs"/>
              </a:rPr>
              <a:t> مؤسسة وعدد المشاركات في عمليات التكوين المستمر </a:t>
            </a:r>
            <a:r>
              <a:rPr lang="ar-TN" sz="1600" b="1" dirty="0">
                <a:latin typeface="+mj-lt"/>
                <a:cs typeface="+mn-cs"/>
              </a:rPr>
              <a:t>217.5</a:t>
            </a:r>
            <a:r>
              <a:rPr lang="ar-TN" b="1" dirty="0">
                <a:latin typeface="+mj-lt"/>
                <a:cs typeface="+mn-cs"/>
              </a:rPr>
              <a:t> ألف مشاركة </a:t>
            </a:r>
            <a:r>
              <a:rPr lang="ar-TN" sz="1600" b="1" dirty="0">
                <a:latin typeface="+mj-lt"/>
                <a:cs typeface="+mn-cs"/>
              </a:rPr>
              <a:t>وحوالي15</a:t>
            </a:r>
            <a:r>
              <a:rPr lang="ar-TN" b="1" dirty="0">
                <a:latin typeface="+mj-lt"/>
                <a:cs typeface="+mn-cs"/>
              </a:rPr>
              <a:t> ألف منتفعا بالتكوين المستمر الموجه نحو الأفراد.</a:t>
            </a:r>
            <a:endParaRPr lang="fr-FR" b="1" dirty="0">
              <a:latin typeface="+mj-lt"/>
              <a:cs typeface="+mn-cs"/>
            </a:endParaRPr>
          </a:p>
        </p:txBody>
      </p:sp>
      <p:sp>
        <p:nvSpPr>
          <p:cNvPr id="8" name="Rectangle 7"/>
          <p:cNvSpPr/>
          <p:nvPr/>
        </p:nvSpPr>
        <p:spPr>
          <a:xfrm>
            <a:off x="7759063" y="4380983"/>
            <a:ext cx="1170513" cy="338554"/>
          </a:xfrm>
          <a:prstGeom prst="rect">
            <a:avLst/>
          </a:prstGeom>
          <a:ln>
            <a:solidFill>
              <a:srgbClr val="E51B2E"/>
            </a:solidFill>
          </a:ln>
        </p:spPr>
        <p:txBody>
          <a:bodyPr wrap="none">
            <a:spAutoFit/>
          </a:bodyPr>
          <a:lstStyle/>
          <a:p>
            <a:r>
              <a:rPr lang="ar-TN" sz="1600" b="1" dirty="0" smtClean="0">
                <a:solidFill>
                  <a:srgbClr val="000000"/>
                </a:solidFill>
                <a:latin typeface="Arial" panose="020B0604020202020204" pitchFamily="34" charset="0"/>
                <a:ea typeface="Calibri" panose="020F0502020204030204" pitchFamily="34" charset="0"/>
                <a:cs typeface="Arial" panose="020B0604020202020204" pitchFamily="34" charset="0"/>
              </a:rPr>
              <a:t>التكوين المهني</a:t>
            </a:r>
            <a:endParaRPr lang="fr-FR" sz="2000" dirty="0">
              <a:solidFill>
                <a:srgbClr val="000000"/>
              </a:solidFill>
              <a:latin typeface="Arial" panose="020B0604020202020204" pitchFamily="34" charset="0"/>
              <a:cs typeface="Arial" panose="020B0604020202020204" pitchFamily="34" charset="0"/>
            </a:endParaRPr>
          </a:p>
        </p:txBody>
      </p:sp>
      <p:sp>
        <p:nvSpPr>
          <p:cNvPr id="10" name="Isosceles Triangle 65"/>
          <p:cNvSpPr/>
          <p:nvPr/>
        </p:nvSpPr>
        <p:spPr>
          <a:xfrm rot="16200000">
            <a:off x="7382653" y="4382730"/>
            <a:ext cx="387790" cy="235390"/>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xmlns="" val="331571952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p:oleObj spid="_x0000_s175169" name="think-cell Slide" r:id="rId4" imgW="360" imgH="360" progId="">
              <p:embed/>
            </p:oleObj>
          </a:graphicData>
        </a:graphic>
      </p:graphicFrame>
      <p:sp>
        <p:nvSpPr>
          <p:cNvPr id="34820" name="Text Placeholder 4"/>
          <p:cNvSpPr>
            <a:spLocks noGrp="1"/>
          </p:cNvSpPr>
          <p:nvPr>
            <p:ph type="body" sz="quarter" idx="23"/>
          </p:nvPr>
        </p:nvSpPr>
        <p:spPr>
          <a:xfrm>
            <a:off x="163515" y="176213"/>
            <a:ext cx="8791575" cy="711200"/>
          </a:xfrm>
        </p:spPr>
        <p:txBody>
          <a:bodyPr/>
          <a:lstStyle/>
          <a:p>
            <a:pPr marL="0" lvl="4" indent="0" algn="ctr" rtl="1" fontAlgn="auto">
              <a:spcAft>
                <a:spcPts val="600"/>
              </a:spcAft>
              <a:buNone/>
              <a:defRPr/>
            </a:pPr>
            <a:r>
              <a:rPr lang="ar-TN" sz="2200" b="1" dirty="0" smtClean="0">
                <a:solidFill>
                  <a:srgbClr val="FF0000"/>
                </a:solidFill>
                <a:latin typeface="Simplified Arabic" panose="02020603050405020304" pitchFamily="18" charset="-78"/>
                <a:cs typeface="Simplified Arabic" panose="02020603050405020304" pitchFamily="18" charset="-78"/>
              </a:rPr>
              <a:t>أهم </a:t>
            </a:r>
            <a:r>
              <a:rPr lang="ar-TN" sz="2200" b="1" dirty="0">
                <a:solidFill>
                  <a:srgbClr val="FF0000"/>
                </a:solidFill>
                <a:latin typeface="Simplified Arabic" panose="02020603050405020304" pitchFamily="18" charset="-78"/>
                <a:cs typeface="Simplified Arabic" panose="02020603050405020304" pitchFamily="18" charset="-78"/>
              </a:rPr>
              <a:t>المشاريع والبرامج والإصلاحات لسنة </a:t>
            </a:r>
            <a:r>
              <a:rPr lang="ar-TN" sz="2000" b="1" dirty="0">
                <a:solidFill>
                  <a:srgbClr val="FF0000"/>
                </a:solidFill>
                <a:latin typeface="Times New Roman" panose="02020603050405020304" pitchFamily="18" charset="0"/>
                <a:cs typeface="Times New Roman" panose="02020603050405020304" pitchFamily="18" charset="0"/>
              </a:rPr>
              <a:t>2020</a:t>
            </a:r>
            <a:endParaRPr lang="ar-TN" sz="2400" b="1" dirty="0">
              <a:solidFill>
                <a:srgbClr val="FF0000"/>
              </a:solidFill>
              <a:latin typeface="Times New Roman" panose="02020603050405020304" pitchFamily="18" charset="0"/>
              <a:cs typeface="Times New Roman" panose="02020603050405020304" pitchFamily="18" charset="0"/>
            </a:endParaRPr>
          </a:p>
        </p:txBody>
      </p:sp>
      <p:sp>
        <p:nvSpPr>
          <p:cNvPr id="4" name="Rectangle 3"/>
          <p:cNvSpPr/>
          <p:nvPr/>
        </p:nvSpPr>
        <p:spPr>
          <a:xfrm>
            <a:off x="7759063" y="1577529"/>
            <a:ext cx="1039880" cy="338554"/>
          </a:xfrm>
          <a:prstGeom prst="rect">
            <a:avLst/>
          </a:prstGeom>
          <a:ln>
            <a:solidFill>
              <a:srgbClr val="E51B2E"/>
            </a:solidFill>
          </a:ln>
        </p:spPr>
        <p:txBody>
          <a:bodyPr wrap="square">
            <a:spAutoFit/>
          </a:bodyPr>
          <a:lstStyle/>
          <a:p>
            <a:pPr algn="ctr"/>
            <a:r>
              <a:rPr lang="ar-TN" sz="1600" b="1" dirty="0">
                <a:ea typeface="Calibri" panose="020F0502020204030204" pitchFamily="34" charset="0"/>
                <a:cs typeface="Arial" panose="020B0604020202020204" pitchFamily="34" charset="0"/>
              </a:rPr>
              <a:t>التعليم </a:t>
            </a:r>
            <a:r>
              <a:rPr lang="ar-TN" sz="1600" b="1" dirty="0" smtClean="0">
                <a:ea typeface="Calibri" panose="020F0502020204030204" pitchFamily="34" charset="0"/>
                <a:cs typeface="Arial" panose="020B0604020202020204" pitchFamily="34" charset="0"/>
              </a:rPr>
              <a:t>العالي</a:t>
            </a:r>
            <a:endParaRPr lang="fr-FR" sz="2000" dirty="0">
              <a:cs typeface="Arial" panose="020B0604020202020204" pitchFamily="34" charset="0"/>
            </a:endParaRPr>
          </a:p>
        </p:txBody>
      </p:sp>
      <p:sp>
        <p:nvSpPr>
          <p:cNvPr id="9" name="Isosceles Triangle 65"/>
          <p:cNvSpPr/>
          <p:nvPr/>
        </p:nvSpPr>
        <p:spPr>
          <a:xfrm rot="16200000">
            <a:off x="7365660" y="1609331"/>
            <a:ext cx="387790" cy="235390"/>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solidFill>
                <a:srgbClr val="FFFFFF"/>
              </a:solidFill>
              <a:latin typeface="Arial" pitchFamily="34" charset="0"/>
              <a:cs typeface="Arial" pitchFamily="34" charset="0"/>
            </a:endParaRPr>
          </a:p>
        </p:txBody>
      </p:sp>
      <p:sp>
        <p:nvSpPr>
          <p:cNvPr id="8" name="Rectangle 7"/>
          <p:cNvSpPr/>
          <p:nvPr/>
        </p:nvSpPr>
        <p:spPr>
          <a:xfrm>
            <a:off x="7818702" y="4073541"/>
            <a:ext cx="880640" cy="276999"/>
          </a:xfrm>
          <a:prstGeom prst="rect">
            <a:avLst/>
          </a:prstGeom>
          <a:ln>
            <a:solidFill>
              <a:srgbClr val="E51B2E"/>
            </a:solidFill>
          </a:ln>
        </p:spPr>
        <p:txBody>
          <a:bodyPr wrap="square">
            <a:spAutoFit/>
          </a:bodyPr>
          <a:lstStyle/>
          <a:p>
            <a:r>
              <a:rPr lang="ar-TN" sz="1200" b="1" dirty="0" smtClean="0">
                <a:solidFill>
                  <a:srgbClr val="000000"/>
                </a:solidFill>
                <a:latin typeface="Arial" panose="020B0604020202020204" pitchFamily="34" charset="0"/>
                <a:ea typeface="Calibri" panose="020F0502020204030204" pitchFamily="34" charset="0"/>
                <a:cs typeface="Arial" panose="020B0604020202020204" pitchFamily="34" charset="0"/>
              </a:rPr>
              <a:t>الصحة</a:t>
            </a:r>
            <a:endParaRPr lang="fr-FR" sz="1600" dirty="0">
              <a:solidFill>
                <a:srgbClr val="000000"/>
              </a:solidFill>
              <a:latin typeface="Arial" panose="020B0604020202020204" pitchFamily="34" charset="0"/>
              <a:cs typeface="Arial" panose="020B0604020202020204" pitchFamily="34" charset="0"/>
            </a:endParaRPr>
          </a:p>
        </p:txBody>
      </p:sp>
      <p:sp>
        <p:nvSpPr>
          <p:cNvPr id="10" name="Isosceles Triangle 65"/>
          <p:cNvSpPr/>
          <p:nvPr/>
        </p:nvSpPr>
        <p:spPr>
          <a:xfrm rot="16200000">
            <a:off x="7365660" y="4094346"/>
            <a:ext cx="387790" cy="235390"/>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solidFill>
                <a:srgbClr val="FFFFFF"/>
              </a:solidFill>
              <a:latin typeface="Arial" pitchFamily="34" charset="0"/>
              <a:cs typeface="Arial" pitchFamily="34" charset="0"/>
            </a:endParaRPr>
          </a:p>
        </p:txBody>
      </p:sp>
      <p:sp>
        <p:nvSpPr>
          <p:cNvPr id="11" name="Rectangle 10"/>
          <p:cNvSpPr/>
          <p:nvPr/>
        </p:nvSpPr>
        <p:spPr>
          <a:xfrm>
            <a:off x="552846" y="1003012"/>
            <a:ext cx="6807201" cy="1579920"/>
          </a:xfrm>
          <a:prstGeom prst="rect">
            <a:avLst/>
          </a:prstGeom>
          <a:ln>
            <a:solidFill>
              <a:srgbClr val="E51B2E"/>
            </a:solidFill>
          </a:ln>
        </p:spPr>
        <p:txBody>
          <a:bodyPr wrap="square">
            <a:spAutoFit/>
          </a:bodyPr>
          <a:lstStyle/>
          <a:p>
            <a:pPr marL="163513" lvl="0" indent="-163513" algn="just" rtl="1">
              <a:spcAft>
                <a:spcPts val="800"/>
              </a:spcAft>
              <a:buSzPts val="1600"/>
              <a:buFont typeface="Wingdings" panose="05000000000000000000" pitchFamily="2" charset="2"/>
              <a:buChar char=""/>
            </a:pPr>
            <a:r>
              <a:rPr lang="ar-TN" b="1" dirty="0">
                <a:latin typeface="+mj-lt"/>
                <a:cs typeface="+mn-cs"/>
              </a:rPr>
              <a:t>افتتاح الجامعة التونسية الفرنسية لإفريقيا التي تبلغ كلفتها حوالي </a:t>
            </a:r>
            <a:r>
              <a:rPr lang="ar-TN" sz="1600" b="1" dirty="0">
                <a:latin typeface="+mj-lt"/>
                <a:cs typeface="+mn-cs"/>
              </a:rPr>
              <a:t>30</a:t>
            </a:r>
            <a:r>
              <a:rPr lang="ar-TN" b="1" dirty="0">
                <a:latin typeface="+mj-lt"/>
                <a:cs typeface="+mn-cs"/>
              </a:rPr>
              <a:t> مليون أورو وتهدف إلى استقطاب الطلبة من افريقيا والمتوسط بطاقة استيعاب أولية بحوالي </a:t>
            </a:r>
            <a:r>
              <a:rPr lang="ar-TN" sz="1600" b="1" dirty="0">
                <a:latin typeface="+mj-lt"/>
                <a:cs typeface="+mn-cs"/>
              </a:rPr>
              <a:t>200</a:t>
            </a:r>
            <a:r>
              <a:rPr lang="ar-TN" b="1" dirty="0">
                <a:latin typeface="+mj-lt"/>
                <a:cs typeface="+mn-cs"/>
              </a:rPr>
              <a:t> طالب في اختصاصات المعلوماتية والعلوم الإنسانية والاجتماعية</a:t>
            </a:r>
          </a:p>
          <a:p>
            <a:pPr marL="163513" lvl="0" indent="-163513" algn="just" rtl="1">
              <a:spcAft>
                <a:spcPts val="800"/>
              </a:spcAft>
              <a:buSzPts val="1600"/>
              <a:buFont typeface="Wingdings" panose="05000000000000000000" pitchFamily="2" charset="2"/>
              <a:buChar char=""/>
            </a:pPr>
            <a:r>
              <a:rPr lang="ar-TN" b="1" dirty="0">
                <a:latin typeface="+mj-lt"/>
                <a:cs typeface="+mn-cs"/>
              </a:rPr>
              <a:t>الشروع في التوحيد التدريجي للإجازات في اغلب الاختصاصات والشروع في فتح اجازات جديدة لمواكبة حاجيات سوق الشغل على غرار اختصاصات الإعلامية.</a:t>
            </a:r>
          </a:p>
        </p:txBody>
      </p:sp>
      <p:sp>
        <p:nvSpPr>
          <p:cNvPr id="15" name="Rectangle 14"/>
          <p:cNvSpPr/>
          <p:nvPr/>
        </p:nvSpPr>
        <p:spPr>
          <a:xfrm>
            <a:off x="502047" y="2691132"/>
            <a:ext cx="6858000" cy="3662541"/>
          </a:xfrm>
          <a:prstGeom prst="rect">
            <a:avLst/>
          </a:prstGeom>
          <a:ln>
            <a:solidFill>
              <a:srgbClr val="E51B2E"/>
            </a:solidFill>
          </a:ln>
        </p:spPr>
        <p:txBody>
          <a:bodyPr wrap="square">
            <a:spAutoFit/>
          </a:bodyPr>
          <a:lstStyle/>
          <a:p>
            <a:pPr lvl="0" algn="r" rtl="1">
              <a:buFont typeface="Wingdings" pitchFamily="2" charset="2"/>
              <a:buChar char="§"/>
            </a:pPr>
            <a:r>
              <a:rPr lang="ar-TN" b="1" dirty="0" smtClean="0"/>
              <a:t>الانطلاق في إعداد دليل مؤشرات النظام الصحي بتونس طبقا لما ضبطته المنظمة العالمية للصحة .</a:t>
            </a:r>
            <a:endParaRPr lang="fr-FR" b="1" dirty="0" smtClean="0"/>
          </a:p>
          <a:p>
            <a:pPr lvl="0" algn="r" rtl="1">
              <a:buFont typeface="Wingdings" pitchFamily="2" charset="2"/>
              <a:buChar char="§"/>
            </a:pPr>
            <a:r>
              <a:rPr lang="ar-TN" b="1" dirty="0" smtClean="0"/>
              <a:t>دعم البنية الصحية عبر</a:t>
            </a:r>
            <a:r>
              <a:rPr lang="fr-FR" b="1" dirty="0" smtClean="0"/>
              <a:t> </a:t>
            </a:r>
            <a:r>
              <a:rPr lang="ar-TN" b="1" dirty="0" smtClean="0"/>
              <a:t>الشروع في إنجاز المستشفيات التي تم إدراجها في إطار التعاون الدولي .ودعم التجهيزات الطبية الثقيلة</a:t>
            </a:r>
            <a:endParaRPr lang="fr-FR" b="1" dirty="0" smtClean="0"/>
          </a:p>
          <a:p>
            <a:pPr lvl="0" algn="r" rtl="1">
              <a:buFont typeface="Wingdings" pitchFamily="2" charset="2"/>
              <a:buChar char="§"/>
            </a:pPr>
            <a:r>
              <a:rPr lang="ar-TN" b="1" dirty="0" smtClean="0"/>
              <a:t>دعم </a:t>
            </a:r>
            <a:r>
              <a:rPr lang="ar-TN" b="1" dirty="0" err="1" smtClean="0"/>
              <a:t>حوكمة</a:t>
            </a:r>
            <a:r>
              <a:rPr lang="ar-TN" b="1" dirty="0" smtClean="0"/>
              <a:t> الهياكل الصحية بإرساء نظام العيادات الخارجية بعد الظهر بالمستشفيات ومراكز الصحة الأساسية. </a:t>
            </a:r>
            <a:endParaRPr lang="fr-FR" b="1" dirty="0" smtClean="0"/>
          </a:p>
          <a:p>
            <a:pPr algn="r" rtl="1">
              <a:buFont typeface="Wingdings" pitchFamily="2" charset="2"/>
              <a:buChar char="§"/>
            </a:pPr>
            <a:r>
              <a:rPr lang="ar-TN" b="1" dirty="0" smtClean="0"/>
              <a:t>لعمل على ضمان التغطية الصحية الشاملة لكل الأفراد وتجسيم  الهدف الثالث لبرنامج التنمية المستدامة لما بعد</a:t>
            </a:r>
            <a:r>
              <a:rPr lang="fr-FR" b="1" dirty="0" smtClean="0"/>
              <a:t> 2015 </a:t>
            </a:r>
            <a:r>
              <a:rPr lang="ar-TN" b="1" dirty="0" smtClean="0"/>
              <a:t>" ضمان تمتع الجميع بأنماط عيش صحية والرفاهية في جميع الأعمار</a:t>
            </a:r>
            <a:r>
              <a:rPr lang="fr-FR" b="1" dirty="0" smtClean="0"/>
              <a:t>" </a:t>
            </a:r>
            <a:r>
              <a:rPr lang="ar-TN" b="1" dirty="0" smtClean="0"/>
              <a:t>والمساهمة خاصة في</a:t>
            </a:r>
            <a:r>
              <a:rPr lang="fr-FR" b="1" dirty="0" smtClean="0"/>
              <a:t> </a:t>
            </a:r>
            <a:r>
              <a:rPr lang="ar-TN" b="1" dirty="0" smtClean="0"/>
              <a:t>خفض نسبة وفيات الأمهات والولدان ووضع نهاية لوفيات الأطفال دون الخامسة التي يمكن تفاديها وتخفيض الوفيات المبكرة الناجمة عن الأمراض غير المعدية وتقديم خدمات تنظيم الأسرة </a:t>
            </a:r>
            <a:endParaRPr lang="ar-TN" b="1" dirty="0" smtClean="0">
              <a:latin typeface="Calibri"/>
            </a:endParaRPr>
          </a:p>
          <a:p>
            <a:pPr algn="r" rtl="1">
              <a:buFont typeface="Wingdings" pitchFamily="2" charset="2"/>
              <a:buChar char="§"/>
            </a:pPr>
            <a:r>
              <a:rPr lang="ar-TN" b="1" dirty="0" smtClean="0">
                <a:latin typeface="Calibri"/>
              </a:rPr>
              <a:t>مراجعة الخارطة الصحية بكل أبعادها و</a:t>
            </a:r>
            <a:r>
              <a:rPr lang="ar-TN" sz="1600" b="1" dirty="0" smtClean="0"/>
              <a:t>تعصير النظام المعلوماتي الصحي من خلال الشروع في إنجاز برنامج الصحة الرقمية .</a:t>
            </a:r>
            <a:endParaRPr lang="fr-FR" sz="1600" b="1" dirty="0"/>
          </a:p>
        </p:txBody>
      </p:sp>
    </p:spTree>
    <p:extLst>
      <p:ext uri="{BB962C8B-B14F-4D97-AF65-F5344CB8AC3E}">
        <p14:creationId xmlns:p14="http://schemas.microsoft.com/office/powerpoint/2010/main" xmlns="" val="34389020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p:oleObj spid="_x0000_s158808" name="think-cell Slide" r:id="rId4" imgW="360" imgH="360" progId="">
              <p:embed/>
            </p:oleObj>
          </a:graphicData>
        </a:graphic>
      </p:graphicFrame>
      <p:sp>
        <p:nvSpPr>
          <p:cNvPr id="7" name="Rectangle 6"/>
          <p:cNvSpPr/>
          <p:nvPr/>
        </p:nvSpPr>
        <p:spPr>
          <a:xfrm>
            <a:off x="281111" y="1007865"/>
            <a:ext cx="7122344" cy="2267287"/>
          </a:xfrm>
          <a:prstGeom prst="rect">
            <a:avLst/>
          </a:prstGeom>
          <a:ln>
            <a:solidFill>
              <a:srgbClr val="E51B2E"/>
            </a:solidFill>
          </a:ln>
        </p:spPr>
        <p:txBody>
          <a:bodyPr wrap="square">
            <a:spAutoFit/>
          </a:bodyPr>
          <a:lstStyle/>
          <a:p>
            <a:pPr marL="163513" lvl="0" indent="-163513" algn="just" rtl="1">
              <a:spcAft>
                <a:spcPts val="1000"/>
              </a:spcAft>
              <a:buSzPts val="1600"/>
              <a:buFont typeface="Wingdings" panose="05000000000000000000" pitchFamily="2" charset="2"/>
              <a:buChar char="§"/>
            </a:pPr>
            <a:r>
              <a:rPr lang="ar-TN" sz="2000" b="1" dirty="0" smtClean="0">
                <a:solidFill>
                  <a:srgbClr val="000000"/>
                </a:solidFill>
                <a:ea typeface="Calibri" panose="020F0502020204030204" pitchFamily="34" charset="0"/>
                <a:cs typeface="+mj-cs"/>
              </a:rPr>
              <a:t>بلوغ نسبة التغطية بالطفولة </a:t>
            </a:r>
            <a:r>
              <a:rPr lang="ar-TN" sz="2000" b="1" dirty="0">
                <a:solidFill>
                  <a:srgbClr val="000000"/>
                </a:solidFill>
                <a:ea typeface="Calibri" panose="020F0502020204030204" pitchFamily="34" charset="0"/>
                <a:cs typeface="+mj-cs"/>
              </a:rPr>
              <a:t>المبكرة حوالي </a:t>
            </a:r>
            <a:r>
              <a:rPr lang="ar-TN" b="1" dirty="0">
                <a:solidFill>
                  <a:srgbClr val="000000"/>
                </a:solidFill>
                <a:latin typeface="+mn-lt"/>
                <a:ea typeface="Calibri" panose="020F0502020204030204" pitchFamily="34" charset="0"/>
                <a:cs typeface="+mj-cs"/>
              </a:rPr>
              <a:t>40</a:t>
            </a:r>
            <a:r>
              <a:rPr lang="ar-TN" sz="2000" b="1" dirty="0">
                <a:solidFill>
                  <a:srgbClr val="000000"/>
                </a:solidFill>
                <a:latin typeface="+mn-lt"/>
                <a:ea typeface="Calibri" panose="020F0502020204030204" pitchFamily="34" charset="0"/>
                <a:cs typeface="+mj-cs"/>
              </a:rPr>
              <a:t> </a:t>
            </a:r>
            <a:r>
              <a:rPr lang="fr-FR" sz="2000" b="1" dirty="0">
                <a:solidFill>
                  <a:srgbClr val="000000"/>
                </a:solidFill>
                <a:latin typeface="+mn-lt"/>
                <a:ea typeface="Calibri" panose="020F0502020204030204" pitchFamily="34" charset="0"/>
                <a:cs typeface="+mj-cs"/>
              </a:rPr>
              <a:t>%</a:t>
            </a:r>
            <a:r>
              <a:rPr lang="ar-TN" sz="2000" b="1" dirty="0">
                <a:solidFill>
                  <a:srgbClr val="000000"/>
                </a:solidFill>
                <a:latin typeface="+mn-lt"/>
                <a:ea typeface="Calibri" panose="020F0502020204030204" pitchFamily="34" charset="0"/>
                <a:cs typeface="+mj-cs"/>
              </a:rPr>
              <a:t> سنة </a:t>
            </a:r>
            <a:r>
              <a:rPr lang="ar-TN" b="1" dirty="0" smtClean="0">
                <a:solidFill>
                  <a:srgbClr val="000000"/>
                </a:solidFill>
                <a:latin typeface="+mn-lt"/>
                <a:ea typeface="Calibri" panose="020F0502020204030204" pitchFamily="34" charset="0"/>
                <a:cs typeface="+mj-cs"/>
              </a:rPr>
              <a:t>2020</a:t>
            </a:r>
            <a:endParaRPr lang="ar-TN" sz="2000" b="1" dirty="0" smtClean="0">
              <a:solidFill>
                <a:srgbClr val="000000"/>
              </a:solidFill>
              <a:latin typeface="+mn-lt"/>
              <a:ea typeface="Calibri" panose="020F0502020204030204" pitchFamily="34" charset="0"/>
              <a:cs typeface="+mj-cs"/>
            </a:endParaRPr>
          </a:p>
          <a:p>
            <a:pPr marL="163513" lvl="0" indent="-163513" algn="just" rtl="1">
              <a:spcAft>
                <a:spcPts val="1000"/>
              </a:spcAft>
              <a:buSzPts val="1600"/>
              <a:buFont typeface="Wingdings" panose="05000000000000000000" pitchFamily="2" charset="2"/>
              <a:buChar char="§"/>
            </a:pPr>
            <a:r>
              <a:rPr lang="ar-TN" sz="2000" b="1" dirty="0" smtClean="0">
                <a:solidFill>
                  <a:srgbClr val="000000"/>
                </a:solidFill>
                <a:ea typeface="Calibri" panose="020F0502020204030204" pitchFamily="34" charset="0"/>
                <a:cs typeface="+mj-cs"/>
              </a:rPr>
              <a:t>استغلال نتائج </a:t>
            </a:r>
            <a:r>
              <a:rPr lang="ar-TN" sz="2000" b="1" dirty="0">
                <a:solidFill>
                  <a:srgbClr val="000000"/>
                </a:solidFill>
                <a:ea typeface="Calibri" panose="020F0502020204030204" pitchFamily="34" charset="0"/>
                <a:cs typeface="+mj-cs"/>
              </a:rPr>
              <a:t>المسح العنقودي متعدد المؤشرات </a:t>
            </a:r>
            <a:r>
              <a:rPr lang="ar-TN" sz="2000" b="1" dirty="0" smtClean="0">
                <a:solidFill>
                  <a:srgbClr val="000000"/>
                </a:solidFill>
                <a:ea typeface="Calibri" panose="020F0502020204030204" pitchFamily="34" charset="0"/>
                <a:cs typeface="+mj-cs"/>
              </a:rPr>
              <a:t>وإنجاز </a:t>
            </a:r>
            <a:r>
              <a:rPr lang="ar-TN" sz="2000" b="1" dirty="0">
                <a:solidFill>
                  <a:srgbClr val="000000"/>
                </a:solidFill>
                <a:ea typeface="Calibri" panose="020F0502020204030204" pitchFamily="34" charset="0"/>
                <a:cs typeface="+mj-cs"/>
              </a:rPr>
              <a:t>نظام معلوماتي موحد </a:t>
            </a:r>
            <a:r>
              <a:rPr lang="ar-TN" b="1"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600" b="1" dirty="0" smtClean="0">
                <a:solidFill>
                  <a:srgbClr val="000000"/>
                </a:solidFill>
                <a:latin typeface="Times New Roman" panose="02020603050405020304" pitchFamily="18" charset="0"/>
                <a:ea typeface="Calibri" panose="020F0502020204030204" pitchFamily="34" charset="0"/>
                <a:cs typeface="Times New Roman" panose="02020603050405020304" pitchFamily="18" charset="0"/>
              </a:rPr>
              <a:t>CHILDINFO</a:t>
            </a:r>
            <a:endParaRPr lang="fr-FR" b="1" dirty="0">
              <a:solidFill>
                <a:srgbClr val="000000"/>
              </a:solidFill>
              <a:latin typeface="Times New Roman" panose="02020603050405020304" pitchFamily="18" charset="0"/>
              <a:ea typeface="Calibri" panose="020F0502020204030204" pitchFamily="34" charset="0"/>
              <a:cs typeface="Times New Roman" panose="02020603050405020304" pitchFamily="18" charset="0"/>
            </a:endParaRPr>
          </a:p>
          <a:p>
            <a:pPr marL="163513" lvl="0" indent="-163513" algn="just" rtl="1">
              <a:spcAft>
                <a:spcPts val="800"/>
              </a:spcAft>
              <a:buFont typeface="Wingdings" panose="05000000000000000000" pitchFamily="2" charset="2"/>
              <a:buChar char=""/>
            </a:pPr>
            <a:r>
              <a:rPr lang="ar-TN" sz="2000" b="1" dirty="0" smtClean="0">
                <a:solidFill>
                  <a:srgbClr val="000000"/>
                </a:solidFill>
                <a:cs typeface="+mj-cs"/>
              </a:rPr>
              <a:t>تنفيذ الاستراتيجية </a:t>
            </a:r>
            <a:r>
              <a:rPr lang="ar-TN" sz="2000" b="1" dirty="0">
                <a:solidFill>
                  <a:srgbClr val="000000"/>
                </a:solidFill>
                <a:cs typeface="+mj-cs"/>
              </a:rPr>
              <a:t>متعددة القطاعات لتنمية الطفولة المبكرة وفق المحاور ذات الأولوية </a:t>
            </a:r>
            <a:endParaRPr lang="ar-TN" sz="2000" b="1" dirty="0" smtClean="0">
              <a:solidFill>
                <a:srgbClr val="000000"/>
              </a:solidFill>
              <a:cs typeface="+mj-cs"/>
            </a:endParaRPr>
          </a:p>
          <a:p>
            <a:pPr marL="163513" lvl="0" indent="-163513" algn="just" rtl="1">
              <a:spcAft>
                <a:spcPts val="800"/>
              </a:spcAft>
              <a:buFont typeface="Wingdings" panose="05000000000000000000" pitchFamily="2" charset="2"/>
              <a:buChar char=""/>
            </a:pPr>
            <a:r>
              <a:rPr lang="ar-TN" sz="2000" b="1" dirty="0" smtClean="0">
                <a:solidFill>
                  <a:srgbClr val="000000"/>
                </a:solidFill>
                <a:cs typeface="+mj-cs"/>
              </a:rPr>
              <a:t>الشروع </a:t>
            </a:r>
            <a:r>
              <a:rPr lang="ar-TN" sz="2000" b="1" dirty="0">
                <a:solidFill>
                  <a:srgbClr val="000000"/>
                </a:solidFill>
                <a:cs typeface="+mj-cs"/>
              </a:rPr>
              <a:t>في انجاز الخطة الوطنية لإعادة هيكلة المراكز المندمجة في أفق </a:t>
            </a:r>
            <a:r>
              <a:rPr lang="ar-TN" b="1" dirty="0" smtClean="0">
                <a:solidFill>
                  <a:srgbClr val="000000"/>
                </a:solidFill>
                <a:cs typeface="+mj-cs"/>
              </a:rPr>
              <a:t>2025</a:t>
            </a:r>
            <a:endParaRPr lang="ar-TN" sz="2000" b="1" dirty="0">
              <a:solidFill>
                <a:srgbClr val="000000"/>
              </a:solidFill>
              <a:cs typeface="+mj-cs"/>
            </a:endParaRPr>
          </a:p>
        </p:txBody>
      </p:sp>
      <p:sp>
        <p:nvSpPr>
          <p:cNvPr id="8" name="Rectangle 7"/>
          <p:cNvSpPr/>
          <p:nvPr/>
        </p:nvSpPr>
        <p:spPr>
          <a:xfrm>
            <a:off x="7869576" y="1836811"/>
            <a:ext cx="676171" cy="276999"/>
          </a:xfrm>
          <a:prstGeom prst="rect">
            <a:avLst/>
          </a:prstGeom>
          <a:ln>
            <a:solidFill>
              <a:srgbClr val="E51B2E"/>
            </a:solidFill>
          </a:ln>
        </p:spPr>
        <p:txBody>
          <a:bodyPr wrap="square">
            <a:spAutoFit/>
          </a:bodyPr>
          <a:lstStyle/>
          <a:p>
            <a:r>
              <a:rPr lang="ar-TN" sz="1200" b="1" dirty="0" smtClean="0">
                <a:solidFill>
                  <a:srgbClr val="000000"/>
                </a:solidFill>
                <a:latin typeface="Arial" panose="020B0604020202020204" pitchFamily="34" charset="0"/>
                <a:ea typeface="Calibri" panose="020F0502020204030204" pitchFamily="34" charset="0"/>
                <a:cs typeface="Arial" panose="020B0604020202020204" pitchFamily="34" charset="0"/>
              </a:rPr>
              <a:t>الطفولة</a:t>
            </a:r>
            <a:endParaRPr lang="fr-FR" sz="1600" dirty="0">
              <a:solidFill>
                <a:srgbClr val="000000"/>
              </a:solidFill>
              <a:latin typeface="Arial" panose="020B0604020202020204" pitchFamily="34" charset="0"/>
              <a:cs typeface="Arial" panose="020B0604020202020204" pitchFamily="34" charset="0"/>
            </a:endParaRPr>
          </a:p>
        </p:txBody>
      </p:sp>
      <p:sp>
        <p:nvSpPr>
          <p:cNvPr id="9" name="Isosceles Triangle 65"/>
          <p:cNvSpPr/>
          <p:nvPr/>
        </p:nvSpPr>
        <p:spPr>
          <a:xfrm rot="16200000">
            <a:off x="7441536" y="1857615"/>
            <a:ext cx="387790" cy="235390"/>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solidFill>
                <a:srgbClr val="FFFFFF"/>
              </a:solidFill>
              <a:latin typeface="Arial" pitchFamily="34" charset="0"/>
              <a:cs typeface="Arial" pitchFamily="34" charset="0"/>
            </a:endParaRPr>
          </a:p>
        </p:txBody>
      </p:sp>
      <p:sp>
        <p:nvSpPr>
          <p:cNvPr id="10" name="Rectangle 9"/>
          <p:cNvSpPr/>
          <p:nvPr/>
        </p:nvSpPr>
        <p:spPr>
          <a:xfrm>
            <a:off x="229020" y="3665740"/>
            <a:ext cx="7122345" cy="1785104"/>
          </a:xfrm>
          <a:prstGeom prst="rect">
            <a:avLst/>
          </a:prstGeom>
          <a:ln>
            <a:solidFill>
              <a:srgbClr val="E51B2E"/>
            </a:solidFill>
          </a:ln>
        </p:spPr>
        <p:txBody>
          <a:bodyPr wrap="square">
            <a:spAutoFit/>
          </a:bodyPr>
          <a:lstStyle/>
          <a:p>
            <a:pPr marL="171450" lvl="0" indent="-171450" algn="r" rtl="1">
              <a:spcAft>
                <a:spcPts val="1200"/>
              </a:spcAft>
              <a:buFont typeface="Wingdings" panose="05000000000000000000" pitchFamily="2" charset="2"/>
              <a:buChar char="§"/>
            </a:pPr>
            <a:r>
              <a:rPr lang="ar-TN" b="1" dirty="0" smtClean="0">
                <a:solidFill>
                  <a:srgbClr val="000000"/>
                </a:solidFill>
                <a:ea typeface="Calibri" panose="020F0502020204030204" pitchFamily="34" charset="0"/>
                <a:cs typeface="+mn-cs"/>
              </a:rPr>
              <a:t>إحداث </a:t>
            </a:r>
            <a:r>
              <a:rPr lang="ar-TN" sz="1600" b="1" dirty="0" smtClean="0">
                <a:solidFill>
                  <a:srgbClr val="000000"/>
                </a:solidFill>
                <a:ea typeface="Calibri" panose="020F0502020204030204" pitchFamily="34" charset="0"/>
                <a:cs typeface="+mn-cs"/>
              </a:rPr>
              <a:t>8000</a:t>
            </a:r>
            <a:r>
              <a:rPr lang="ar-TN" b="1" dirty="0" smtClean="0">
                <a:solidFill>
                  <a:srgbClr val="000000"/>
                </a:solidFill>
                <a:ea typeface="Calibri" panose="020F0502020204030204" pitchFamily="34" charset="0"/>
                <a:cs typeface="+mn-cs"/>
              </a:rPr>
              <a:t> مشروع نسائي متناهي الصغر أو صغير أو متوسط إلى موفي سنة </a:t>
            </a:r>
            <a:r>
              <a:rPr lang="ar-TN" sz="1600" b="1" dirty="0" smtClean="0">
                <a:solidFill>
                  <a:srgbClr val="000000"/>
                </a:solidFill>
                <a:ea typeface="Calibri" panose="020F0502020204030204" pitchFamily="34" charset="0"/>
                <a:cs typeface="+mn-cs"/>
              </a:rPr>
              <a:t>2022</a:t>
            </a:r>
            <a:r>
              <a:rPr lang="ar-TN" b="1" dirty="0" smtClean="0">
                <a:solidFill>
                  <a:srgbClr val="000000"/>
                </a:solidFill>
                <a:ea typeface="Calibri" panose="020F0502020204030204" pitchFamily="34" charset="0"/>
                <a:cs typeface="+mn-cs"/>
              </a:rPr>
              <a:t> في اطار برنامج دفع المبادرة الاقتصادية النسائية </a:t>
            </a:r>
            <a:endParaRPr lang="fr-FR" b="1" dirty="0" smtClean="0">
              <a:solidFill>
                <a:srgbClr val="000000"/>
              </a:solidFill>
              <a:ea typeface="Calibri" panose="020F0502020204030204" pitchFamily="34" charset="0"/>
              <a:cs typeface="+mn-cs"/>
            </a:endParaRPr>
          </a:p>
          <a:p>
            <a:pPr marL="171450" lvl="0" indent="-171450" algn="r" rtl="1">
              <a:spcAft>
                <a:spcPts val="1200"/>
              </a:spcAft>
              <a:buFont typeface="Wingdings" panose="05000000000000000000" pitchFamily="2" charset="2"/>
              <a:buChar char="§"/>
            </a:pPr>
            <a:r>
              <a:rPr lang="ar-TN" b="1" dirty="0" smtClean="0">
                <a:solidFill>
                  <a:srgbClr val="000000"/>
                </a:solidFill>
                <a:ea typeface="Calibri" panose="020F0502020204030204" pitchFamily="34" charset="0"/>
                <a:cs typeface="+mn-cs"/>
              </a:rPr>
              <a:t>إطلاق </a:t>
            </a:r>
            <a:r>
              <a:rPr lang="ar-TN" b="1" dirty="0">
                <a:solidFill>
                  <a:srgbClr val="000000"/>
                </a:solidFill>
                <a:ea typeface="Calibri" panose="020F0502020204030204" pitchFamily="34" charset="0"/>
                <a:cs typeface="+mn-cs"/>
              </a:rPr>
              <a:t>برنامج "مشروع لكل منطقة" في إطار الخطة الوطنية لتنفيذ قرار مجلس الأمن</a:t>
            </a:r>
            <a:r>
              <a:rPr lang="fr-FR" b="1" dirty="0">
                <a:solidFill>
                  <a:srgbClr val="000000"/>
                </a:solidFill>
                <a:ea typeface="Calibri" panose="020F0502020204030204" pitchFamily="34" charset="0"/>
                <a:cs typeface="+mn-cs"/>
              </a:rPr>
              <a:t> </a:t>
            </a:r>
            <a:r>
              <a:rPr lang="fr-FR" sz="1600" b="1" dirty="0">
                <a:solidFill>
                  <a:srgbClr val="000000"/>
                </a:solidFill>
                <a:ea typeface="Calibri" panose="020F0502020204030204" pitchFamily="34" charset="0"/>
                <a:cs typeface="+mn-cs"/>
              </a:rPr>
              <a:t>1325</a:t>
            </a:r>
            <a:r>
              <a:rPr lang="fr-FR" b="1" dirty="0">
                <a:solidFill>
                  <a:srgbClr val="000000"/>
                </a:solidFill>
                <a:ea typeface="Calibri" panose="020F0502020204030204" pitchFamily="34" charset="0"/>
                <a:cs typeface="+mn-cs"/>
              </a:rPr>
              <a:t> </a:t>
            </a:r>
            <a:r>
              <a:rPr lang="ar-TN" b="1" dirty="0">
                <a:solidFill>
                  <a:srgbClr val="000000"/>
                </a:solidFill>
                <a:ea typeface="Calibri" panose="020F0502020204030204" pitchFamily="34" charset="0"/>
                <a:cs typeface="+mn-cs"/>
              </a:rPr>
              <a:t>حول المرأة والسلم والأمن </a:t>
            </a:r>
            <a:endParaRPr lang="fr-FR" b="1" dirty="0">
              <a:solidFill>
                <a:srgbClr val="000000"/>
              </a:solidFill>
              <a:ea typeface="Calibri" panose="020F0502020204030204" pitchFamily="34" charset="0"/>
              <a:cs typeface="+mn-cs"/>
            </a:endParaRPr>
          </a:p>
          <a:p>
            <a:pPr marL="171450" lvl="0" indent="-171450" algn="r" rtl="1">
              <a:spcAft>
                <a:spcPts val="1200"/>
              </a:spcAft>
              <a:buFont typeface="Wingdings" panose="05000000000000000000" pitchFamily="2" charset="2"/>
              <a:buChar char="§"/>
            </a:pPr>
            <a:r>
              <a:rPr lang="ar-TN" b="1" dirty="0" smtClean="0">
                <a:solidFill>
                  <a:srgbClr val="000000"/>
                </a:solidFill>
                <a:ea typeface="Calibri" panose="020F0502020204030204" pitchFamily="34" charset="0"/>
                <a:cs typeface="+mn-cs"/>
              </a:rPr>
              <a:t>الانطلاق </a:t>
            </a:r>
            <a:r>
              <a:rPr lang="ar-TN" b="1" dirty="0">
                <a:solidFill>
                  <a:srgbClr val="000000"/>
                </a:solidFill>
                <a:ea typeface="Calibri" panose="020F0502020204030204" pitchFamily="34" charset="0"/>
                <a:cs typeface="+mn-cs"/>
              </a:rPr>
              <a:t>في تنفيذ الخطة الوطنية لفائدة </a:t>
            </a:r>
            <a:r>
              <a:rPr lang="ar-TN" b="1" dirty="0" smtClean="0">
                <a:solidFill>
                  <a:srgbClr val="000000"/>
                </a:solidFill>
                <a:ea typeface="Calibri" panose="020F0502020204030204" pitchFamily="34" charset="0"/>
                <a:cs typeface="+mn-cs"/>
              </a:rPr>
              <a:t>الأسرة ودخول </a:t>
            </a:r>
            <a:r>
              <a:rPr lang="ar-TN" b="1" dirty="0">
                <a:solidFill>
                  <a:srgbClr val="000000"/>
                </a:solidFill>
                <a:ea typeface="Calibri" panose="020F0502020204030204" pitchFamily="34" charset="0"/>
                <a:cs typeface="+mn-cs"/>
              </a:rPr>
              <a:t>مجلة كبار السن حيز التنفيذ </a:t>
            </a:r>
            <a:endParaRPr lang="ar-TN" b="1" dirty="0">
              <a:cs typeface="+mn-cs"/>
            </a:endParaRPr>
          </a:p>
        </p:txBody>
      </p:sp>
      <p:sp>
        <p:nvSpPr>
          <p:cNvPr id="14" name="Rectangle 13"/>
          <p:cNvSpPr/>
          <p:nvPr/>
        </p:nvSpPr>
        <p:spPr>
          <a:xfrm>
            <a:off x="7786125" y="4314821"/>
            <a:ext cx="898933" cy="261610"/>
          </a:xfrm>
          <a:prstGeom prst="rect">
            <a:avLst/>
          </a:prstGeom>
          <a:ln>
            <a:solidFill>
              <a:srgbClr val="E51B2E"/>
            </a:solidFill>
          </a:ln>
        </p:spPr>
        <p:txBody>
          <a:bodyPr wrap="square">
            <a:spAutoFit/>
          </a:bodyPr>
          <a:lstStyle/>
          <a:p>
            <a:pPr algn="r" rtl="1"/>
            <a:r>
              <a:rPr lang="ar-TN" sz="1100" b="1" dirty="0" smtClean="0">
                <a:latin typeface="Arial" panose="020B0604020202020204" pitchFamily="34" charset="0"/>
                <a:cs typeface="Arial" panose="020B0604020202020204" pitchFamily="34" charset="0"/>
              </a:rPr>
              <a:t>المرأة والأسرة</a:t>
            </a:r>
            <a:endParaRPr lang="fr-FR" sz="1100" dirty="0">
              <a:latin typeface="Arial" panose="020B0604020202020204" pitchFamily="34" charset="0"/>
              <a:cs typeface="Arial" panose="020B0604020202020204" pitchFamily="34" charset="0"/>
            </a:endParaRPr>
          </a:p>
        </p:txBody>
      </p:sp>
      <p:sp>
        <p:nvSpPr>
          <p:cNvPr id="15" name="Isosceles Triangle 65"/>
          <p:cNvSpPr/>
          <p:nvPr/>
        </p:nvSpPr>
        <p:spPr>
          <a:xfrm rot="16200000">
            <a:off x="7419630" y="4327932"/>
            <a:ext cx="387790" cy="235390"/>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solidFill>
                <a:srgbClr val="FFFFFF"/>
              </a:solidFill>
              <a:latin typeface="Arial" pitchFamily="34" charset="0"/>
              <a:cs typeface="Arial" pitchFamily="34" charset="0"/>
            </a:endParaRPr>
          </a:p>
        </p:txBody>
      </p:sp>
      <p:sp>
        <p:nvSpPr>
          <p:cNvPr id="16" name="Text Placeholder 4"/>
          <p:cNvSpPr>
            <a:spLocks noGrp="1"/>
          </p:cNvSpPr>
          <p:nvPr>
            <p:ph type="body" sz="quarter" idx="23"/>
          </p:nvPr>
        </p:nvSpPr>
        <p:spPr>
          <a:xfrm>
            <a:off x="163515" y="176213"/>
            <a:ext cx="8791575" cy="711200"/>
          </a:xfrm>
        </p:spPr>
        <p:txBody>
          <a:bodyPr/>
          <a:lstStyle/>
          <a:p>
            <a:pPr marL="0" lvl="4" indent="0" algn="ctr" rtl="1" fontAlgn="auto">
              <a:spcAft>
                <a:spcPts val="600"/>
              </a:spcAft>
              <a:buNone/>
              <a:defRPr/>
            </a:pPr>
            <a:r>
              <a:rPr lang="ar-TN" sz="2200" b="1" dirty="0" smtClean="0">
                <a:solidFill>
                  <a:srgbClr val="FF0000"/>
                </a:solidFill>
                <a:latin typeface="Simplified Arabic" panose="02020603050405020304" pitchFamily="18" charset="-78"/>
                <a:cs typeface="Simplified Arabic" panose="02020603050405020304" pitchFamily="18" charset="-78"/>
              </a:rPr>
              <a:t>أهم </a:t>
            </a:r>
            <a:r>
              <a:rPr lang="ar-TN" sz="2200" b="1" dirty="0">
                <a:solidFill>
                  <a:srgbClr val="FF0000"/>
                </a:solidFill>
                <a:latin typeface="Simplified Arabic" panose="02020603050405020304" pitchFamily="18" charset="-78"/>
                <a:cs typeface="Simplified Arabic" panose="02020603050405020304" pitchFamily="18" charset="-78"/>
              </a:rPr>
              <a:t>المشاريع والبرامج والإصلاحات لسنة </a:t>
            </a:r>
            <a:r>
              <a:rPr lang="ar-TN" sz="2000" b="1" dirty="0">
                <a:solidFill>
                  <a:srgbClr val="FF0000"/>
                </a:solidFill>
                <a:latin typeface="Times New Roman" panose="02020603050405020304" pitchFamily="18" charset="0"/>
                <a:cs typeface="Times New Roman" panose="02020603050405020304" pitchFamily="18" charset="0"/>
              </a:rPr>
              <a:t>2020</a:t>
            </a:r>
            <a:endParaRPr lang="ar-TN" sz="2400" b="1"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94216703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p:oleObj spid="_x0000_s157784" name="think-cell Slide" r:id="rId4" imgW="360" imgH="360" progId="">
              <p:embed/>
            </p:oleObj>
          </a:graphicData>
        </a:graphic>
      </p:graphicFrame>
      <p:sp>
        <p:nvSpPr>
          <p:cNvPr id="4" name="Rectangle 3"/>
          <p:cNvSpPr/>
          <p:nvPr/>
        </p:nvSpPr>
        <p:spPr>
          <a:xfrm>
            <a:off x="7859245" y="4022177"/>
            <a:ext cx="713657" cy="338554"/>
          </a:xfrm>
          <a:prstGeom prst="rect">
            <a:avLst/>
          </a:prstGeom>
          <a:ln>
            <a:solidFill>
              <a:srgbClr val="E51B2E"/>
            </a:solidFill>
          </a:ln>
        </p:spPr>
        <p:txBody>
          <a:bodyPr wrap="none">
            <a:spAutoFit/>
          </a:bodyPr>
          <a:lstStyle/>
          <a:p>
            <a:r>
              <a:rPr lang="ar-TN" sz="1600" b="1" dirty="0" smtClean="0">
                <a:solidFill>
                  <a:srgbClr val="000000"/>
                </a:solidFill>
                <a:latin typeface="Arial" panose="020B0604020202020204" pitchFamily="34" charset="0"/>
                <a:ea typeface="Calibri" panose="020F0502020204030204" pitchFamily="34" charset="0"/>
                <a:cs typeface="Arial" panose="020B0604020202020204" pitchFamily="34" charset="0"/>
              </a:rPr>
              <a:t>الرياضة</a:t>
            </a:r>
            <a:endParaRPr lang="fr-FR" sz="1600" dirty="0">
              <a:solidFill>
                <a:srgbClr val="000000"/>
              </a:solidFill>
              <a:latin typeface="Arial" panose="020B0604020202020204" pitchFamily="34" charset="0"/>
              <a:cs typeface="Arial" panose="020B0604020202020204" pitchFamily="34" charset="0"/>
            </a:endParaRPr>
          </a:p>
        </p:txBody>
      </p:sp>
      <p:sp>
        <p:nvSpPr>
          <p:cNvPr id="8" name="Isosceles Triangle 65"/>
          <p:cNvSpPr/>
          <p:nvPr/>
        </p:nvSpPr>
        <p:spPr>
          <a:xfrm rot="16200000">
            <a:off x="7301105" y="1746856"/>
            <a:ext cx="387790" cy="235390"/>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solidFill>
                <a:srgbClr val="FFFFFF"/>
              </a:solidFill>
              <a:latin typeface="Arial" pitchFamily="34" charset="0"/>
              <a:cs typeface="Arial" pitchFamily="34" charset="0"/>
            </a:endParaRPr>
          </a:p>
        </p:txBody>
      </p:sp>
      <p:sp>
        <p:nvSpPr>
          <p:cNvPr id="7" name="Rectangle 6"/>
          <p:cNvSpPr/>
          <p:nvPr/>
        </p:nvSpPr>
        <p:spPr>
          <a:xfrm>
            <a:off x="163515" y="1042823"/>
            <a:ext cx="7128843" cy="1785104"/>
          </a:xfrm>
          <a:prstGeom prst="rect">
            <a:avLst/>
          </a:prstGeom>
          <a:ln>
            <a:solidFill>
              <a:srgbClr val="E51B2E"/>
            </a:solidFill>
          </a:ln>
        </p:spPr>
        <p:txBody>
          <a:bodyPr wrap="square">
            <a:spAutoFit/>
          </a:bodyPr>
          <a:lstStyle/>
          <a:p>
            <a:pPr marL="163513" indent="-163513" algn="just" rtl="1">
              <a:spcAft>
                <a:spcPts val="800"/>
              </a:spcAft>
              <a:buSzPts val="1600"/>
              <a:buFont typeface="Wingdings" panose="05000000000000000000" pitchFamily="2" charset="2"/>
              <a:buChar char=""/>
            </a:pPr>
            <a:r>
              <a:rPr lang="ar-TN" b="1" dirty="0">
                <a:latin typeface="+mn-lt"/>
                <a:ea typeface="Calibri" panose="020F0502020204030204" pitchFamily="34" charset="0"/>
                <a:cs typeface="+mj-cs"/>
              </a:rPr>
              <a:t>إرساء إطار وطني استراتيجي مندمج وإحداث المجلس الوطني للشباب واحداث الوكالة الوطنية للعمل التطوعي </a:t>
            </a:r>
          </a:p>
          <a:p>
            <a:pPr marL="163513" indent="-163513" algn="just" rtl="1">
              <a:spcAft>
                <a:spcPts val="800"/>
              </a:spcAft>
              <a:buSzPts val="1600"/>
              <a:buFont typeface="Wingdings" panose="05000000000000000000" pitchFamily="2" charset="2"/>
              <a:buChar char=""/>
            </a:pPr>
            <a:r>
              <a:rPr lang="ar-TN" b="1" dirty="0">
                <a:latin typeface="+mn-lt"/>
                <a:ea typeface="Calibri" panose="020F0502020204030204" pitchFamily="34" charset="0"/>
                <a:cs typeface="+mj-cs"/>
              </a:rPr>
              <a:t>مواصلة رصد أوضاع الشباب باستثمار نتائج المسح الشبابي المنجز سنة </a:t>
            </a:r>
            <a:r>
              <a:rPr lang="ar-TN" sz="1600" b="1" dirty="0">
                <a:latin typeface="+mn-lt"/>
                <a:ea typeface="Calibri" panose="020F0502020204030204" pitchFamily="34" charset="0"/>
                <a:cs typeface="+mj-cs"/>
              </a:rPr>
              <a:t>2019</a:t>
            </a:r>
            <a:endParaRPr lang="ar-TN" b="1" dirty="0">
              <a:latin typeface="+mn-lt"/>
              <a:ea typeface="Calibri" panose="020F0502020204030204" pitchFamily="34" charset="0"/>
              <a:cs typeface="+mj-cs"/>
            </a:endParaRPr>
          </a:p>
          <a:p>
            <a:pPr marL="163513" indent="-163513" algn="just" rtl="1">
              <a:spcAft>
                <a:spcPts val="800"/>
              </a:spcAft>
              <a:buSzPts val="1600"/>
              <a:buFont typeface="Wingdings" panose="05000000000000000000" pitchFamily="2" charset="2"/>
              <a:buChar char=""/>
            </a:pPr>
            <a:r>
              <a:rPr lang="ar-TN" b="1" dirty="0">
                <a:latin typeface="+mn-lt"/>
                <a:ea typeface="Calibri" panose="020F0502020204030204" pitchFamily="34" charset="0"/>
                <a:cs typeface="+mj-cs"/>
              </a:rPr>
              <a:t>تنفيذ البرنامج الوطني لتأهيل دور الشباب باستهداف </a:t>
            </a:r>
            <a:r>
              <a:rPr lang="ar-TN" sz="1600" b="1" dirty="0">
                <a:latin typeface="+mn-lt"/>
                <a:ea typeface="Calibri" panose="020F0502020204030204" pitchFamily="34" charset="0"/>
                <a:cs typeface="+mj-cs"/>
              </a:rPr>
              <a:t>76</a:t>
            </a:r>
            <a:r>
              <a:rPr lang="ar-TN" b="1" dirty="0">
                <a:latin typeface="+mn-lt"/>
                <a:ea typeface="Calibri" panose="020F0502020204030204" pitchFamily="34" charset="0"/>
                <a:cs typeface="+mj-cs"/>
              </a:rPr>
              <a:t> مؤسسة  </a:t>
            </a:r>
          </a:p>
          <a:p>
            <a:pPr marL="163513" indent="-163513" algn="just" rtl="1">
              <a:spcAft>
                <a:spcPts val="800"/>
              </a:spcAft>
              <a:buSzPts val="1600"/>
              <a:buFont typeface="Wingdings" panose="05000000000000000000" pitchFamily="2" charset="2"/>
              <a:buChar char=""/>
            </a:pPr>
            <a:r>
              <a:rPr lang="ar-TN" b="1" dirty="0" smtClean="0">
                <a:latin typeface="+mn-lt"/>
                <a:ea typeface="Calibri" panose="020F0502020204030204" pitchFamily="34" charset="0"/>
                <a:cs typeface="+mj-cs"/>
              </a:rPr>
              <a:t>تطوير </a:t>
            </a:r>
            <a:r>
              <a:rPr lang="ar-TN" b="1" dirty="0">
                <a:latin typeface="+mn-lt"/>
                <a:ea typeface="Calibri" panose="020F0502020204030204" pitchFamily="34" charset="0"/>
                <a:cs typeface="+mj-cs"/>
              </a:rPr>
              <a:t>خدمات مراكز الإقامة ومراكز </a:t>
            </a:r>
            <a:r>
              <a:rPr lang="ar-TN" b="1" dirty="0" err="1">
                <a:latin typeface="+mn-lt"/>
                <a:ea typeface="Calibri" panose="020F0502020204030204" pitchFamily="34" charset="0"/>
                <a:cs typeface="+mj-cs"/>
              </a:rPr>
              <a:t>الإصطياف</a:t>
            </a:r>
            <a:r>
              <a:rPr lang="ar-TN" b="1" dirty="0">
                <a:latin typeface="+mn-lt"/>
                <a:ea typeface="Calibri" panose="020F0502020204030204" pitchFamily="34" charset="0"/>
                <a:cs typeface="+mj-cs"/>
              </a:rPr>
              <a:t> وتهيئة </a:t>
            </a:r>
            <a:r>
              <a:rPr lang="ar-TN" sz="1600" b="1" dirty="0">
                <a:latin typeface="+mn-lt"/>
                <a:ea typeface="Calibri" panose="020F0502020204030204" pitchFamily="34" charset="0"/>
                <a:cs typeface="+mj-cs"/>
              </a:rPr>
              <a:t>12</a:t>
            </a:r>
            <a:r>
              <a:rPr lang="ar-TN" b="1" dirty="0">
                <a:latin typeface="+mn-lt"/>
                <a:ea typeface="Calibri" panose="020F0502020204030204" pitchFamily="34" charset="0"/>
                <a:cs typeface="+mj-cs"/>
              </a:rPr>
              <a:t> مؤسسة </a:t>
            </a:r>
          </a:p>
        </p:txBody>
      </p:sp>
      <p:sp>
        <p:nvSpPr>
          <p:cNvPr id="9" name="Rectangle 8"/>
          <p:cNvSpPr/>
          <p:nvPr/>
        </p:nvSpPr>
        <p:spPr>
          <a:xfrm>
            <a:off x="7859245" y="1740471"/>
            <a:ext cx="639919" cy="338554"/>
          </a:xfrm>
          <a:prstGeom prst="rect">
            <a:avLst/>
          </a:prstGeom>
          <a:ln>
            <a:solidFill>
              <a:srgbClr val="E51B2E"/>
            </a:solidFill>
          </a:ln>
        </p:spPr>
        <p:txBody>
          <a:bodyPr wrap="none">
            <a:spAutoFit/>
          </a:bodyPr>
          <a:lstStyle/>
          <a:p>
            <a:r>
              <a:rPr lang="ar-TN" sz="1600" b="1" dirty="0" smtClean="0">
                <a:solidFill>
                  <a:srgbClr val="000000"/>
                </a:solidFill>
                <a:latin typeface="Arial" panose="020B0604020202020204" pitchFamily="34" charset="0"/>
                <a:ea typeface="Calibri" panose="020F0502020204030204" pitchFamily="34" charset="0"/>
                <a:cs typeface="Arial" panose="020B0604020202020204" pitchFamily="34" charset="0"/>
              </a:rPr>
              <a:t>الشباب</a:t>
            </a:r>
            <a:endParaRPr lang="fr-FR" sz="1600" dirty="0">
              <a:solidFill>
                <a:srgbClr val="000000"/>
              </a:solidFill>
              <a:latin typeface="Arial" panose="020B0604020202020204" pitchFamily="34" charset="0"/>
              <a:cs typeface="Arial" panose="020B0604020202020204" pitchFamily="34" charset="0"/>
            </a:endParaRPr>
          </a:p>
        </p:txBody>
      </p:sp>
      <p:sp>
        <p:nvSpPr>
          <p:cNvPr id="10" name="Isosceles Triangle 65"/>
          <p:cNvSpPr/>
          <p:nvPr/>
        </p:nvSpPr>
        <p:spPr>
          <a:xfrm rot="16200000">
            <a:off x="7301105" y="4019987"/>
            <a:ext cx="387790" cy="235390"/>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solidFill>
                <a:srgbClr val="FFFFFF"/>
              </a:solidFill>
              <a:latin typeface="Arial" pitchFamily="34" charset="0"/>
              <a:cs typeface="Arial" pitchFamily="34" charset="0"/>
            </a:endParaRPr>
          </a:p>
        </p:txBody>
      </p:sp>
      <p:sp>
        <p:nvSpPr>
          <p:cNvPr id="12" name="Text Placeholder 4"/>
          <p:cNvSpPr>
            <a:spLocks noGrp="1"/>
          </p:cNvSpPr>
          <p:nvPr>
            <p:ph type="body" sz="quarter" idx="23"/>
          </p:nvPr>
        </p:nvSpPr>
        <p:spPr>
          <a:xfrm>
            <a:off x="163515" y="176213"/>
            <a:ext cx="8791575" cy="711200"/>
          </a:xfrm>
        </p:spPr>
        <p:txBody>
          <a:bodyPr/>
          <a:lstStyle/>
          <a:p>
            <a:pPr marL="0" lvl="4" indent="0" algn="ctr" rtl="1" fontAlgn="auto">
              <a:spcAft>
                <a:spcPts val="600"/>
              </a:spcAft>
              <a:buNone/>
              <a:defRPr/>
            </a:pPr>
            <a:r>
              <a:rPr lang="ar-TN" sz="2200" b="1" dirty="0">
                <a:solidFill>
                  <a:srgbClr val="FF0000"/>
                </a:solidFill>
                <a:latin typeface="Simplified Arabic" panose="02020603050405020304" pitchFamily="18" charset="-78"/>
                <a:cs typeface="Simplified Arabic" panose="02020603050405020304" pitchFamily="18" charset="-78"/>
              </a:rPr>
              <a:t>أ</a:t>
            </a:r>
            <a:r>
              <a:rPr lang="ar-TN" sz="2200" b="1" dirty="0" smtClean="0">
                <a:solidFill>
                  <a:srgbClr val="FF0000"/>
                </a:solidFill>
                <a:latin typeface="Simplified Arabic" panose="02020603050405020304" pitchFamily="18" charset="-78"/>
                <a:cs typeface="Simplified Arabic" panose="02020603050405020304" pitchFamily="18" charset="-78"/>
              </a:rPr>
              <a:t>هم </a:t>
            </a:r>
            <a:r>
              <a:rPr lang="ar-TN" sz="2200" b="1" dirty="0">
                <a:solidFill>
                  <a:srgbClr val="FF0000"/>
                </a:solidFill>
                <a:latin typeface="Simplified Arabic" panose="02020603050405020304" pitchFamily="18" charset="-78"/>
                <a:cs typeface="Simplified Arabic" panose="02020603050405020304" pitchFamily="18" charset="-78"/>
              </a:rPr>
              <a:t>المشاريع والبرامج والإصلاحات لسنة </a:t>
            </a:r>
            <a:r>
              <a:rPr lang="ar-TN" sz="2000" b="1" dirty="0">
                <a:solidFill>
                  <a:srgbClr val="FF0000"/>
                </a:solidFill>
                <a:latin typeface="Times New Roman" panose="02020603050405020304" pitchFamily="18" charset="0"/>
                <a:cs typeface="Times New Roman" panose="02020603050405020304" pitchFamily="18" charset="0"/>
              </a:rPr>
              <a:t>2020</a:t>
            </a:r>
            <a:endParaRPr lang="ar-TN" sz="2400" b="1" dirty="0">
              <a:solidFill>
                <a:srgbClr val="FF0000"/>
              </a:solidFill>
              <a:latin typeface="Times New Roman" panose="02020603050405020304" pitchFamily="18" charset="0"/>
              <a:cs typeface="Times New Roman" panose="02020603050405020304" pitchFamily="18" charset="0"/>
            </a:endParaRPr>
          </a:p>
        </p:txBody>
      </p:sp>
      <p:sp>
        <p:nvSpPr>
          <p:cNvPr id="11" name="Rectangle 10"/>
          <p:cNvSpPr/>
          <p:nvPr/>
        </p:nvSpPr>
        <p:spPr>
          <a:xfrm>
            <a:off x="163515" y="3110730"/>
            <a:ext cx="7122344" cy="2441694"/>
          </a:xfrm>
          <a:prstGeom prst="rect">
            <a:avLst/>
          </a:prstGeom>
          <a:ln>
            <a:solidFill>
              <a:srgbClr val="E51B2E"/>
            </a:solidFill>
          </a:ln>
        </p:spPr>
        <p:txBody>
          <a:bodyPr wrap="square">
            <a:spAutoFit/>
          </a:bodyPr>
          <a:lstStyle/>
          <a:p>
            <a:pPr marL="179388" indent="-163513" algn="just" rtl="1">
              <a:spcAft>
                <a:spcPts val="1000"/>
              </a:spcAft>
              <a:buSzPts val="1600"/>
              <a:buFont typeface="Wingdings" panose="05000000000000000000" pitchFamily="2" charset="2"/>
              <a:buChar char="§"/>
            </a:pPr>
            <a:r>
              <a:rPr lang="ar-TN" sz="1600" dirty="0">
                <a:solidFill>
                  <a:srgbClr val="000000"/>
                </a:solidFill>
                <a:latin typeface="+mn-lt"/>
                <a:cs typeface="+mj-cs"/>
              </a:rPr>
              <a:t> </a:t>
            </a:r>
            <a:r>
              <a:rPr lang="ar-TN" b="1" dirty="0" smtClean="0">
                <a:solidFill>
                  <a:srgbClr val="000000"/>
                </a:solidFill>
                <a:latin typeface="+mn-lt"/>
                <a:ea typeface="Calibri" panose="020F0502020204030204" pitchFamily="34" charset="0"/>
                <a:cs typeface="+mj-cs"/>
              </a:rPr>
              <a:t>دعم الرياضة النسائية ب</a:t>
            </a:r>
            <a:r>
              <a:rPr lang="ar-SA" b="1" dirty="0" smtClean="0">
                <a:solidFill>
                  <a:srgbClr val="000000"/>
                </a:solidFill>
                <a:latin typeface="+mn-lt"/>
                <a:cs typeface="+mj-cs"/>
              </a:rPr>
              <a:t>الترفيع </a:t>
            </a:r>
            <a:r>
              <a:rPr lang="ar-SA" b="1" dirty="0">
                <a:solidFill>
                  <a:srgbClr val="000000"/>
                </a:solidFill>
                <a:latin typeface="+mn-lt"/>
                <a:cs typeface="+mj-cs"/>
              </a:rPr>
              <a:t>في عدد الفروع والجمعيات النسائية</a:t>
            </a:r>
            <a:r>
              <a:rPr lang="fr-FR" b="1" dirty="0">
                <a:solidFill>
                  <a:srgbClr val="000000"/>
                </a:solidFill>
                <a:latin typeface="+mn-lt"/>
                <a:cs typeface="+mj-cs"/>
              </a:rPr>
              <a:t> </a:t>
            </a:r>
            <a:r>
              <a:rPr lang="ar-SA" b="1" dirty="0">
                <a:solidFill>
                  <a:srgbClr val="000000"/>
                </a:solidFill>
                <a:latin typeface="+mn-lt"/>
                <a:cs typeface="+mj-cs"/>
              </a:rPr>
              <a:t>والعمل على تحقيق نسبة تطوّر تقدّر بــ </a:t>
            </a:r>
            <a:r>
              <a:rPr lang="ar-SA" sz="1600" b="1" dirty="0">
                <a:solidFill>
                  <a:srgbClr val="000000"/>
                </a:solidFill>
                <a:latin typeface="+mn-lt"/>
                <a:cs typeface="+mj-cs"/>
              </a:rPr>
              <a:t>27,7 </a:t>
            </a:r>
            <a:r>
              <a:rPr lang="fr-FR" sz="1600" b="1" dirty="0" smtClean="0">
                <a:solidFill>
                  <a:srgbClr val="000000"/>
                </a:solidFill>
                <a:latin typeface="+mn-lt"/>
                <a:cs typeface="+mj-cs"/>
              </a:rPr>
              <a:t>%</a:t>
            </a:r>
          </a:p>
          <a:p>
            <a:pPr marL="179388" indent="-163513" algn="just" rtl="1">
              <a:spcAft>
                <a:spcPts val="1000"/>
              </a:spcAft>
              <a:buSzPts val="1600"/>
              <a:buFont typeface="Wingdings" panose="05000000000000000000" pitchFamily="2" charset="2"/>
              <a:buChar char="§"/>
            </a:pPr>
            <a:r>
              <a:rPr lang="ar-TN" b="1" dirty="0">
                <a:solidFill>
                  <a:srgbClr val="000000"/>
                </a:solidFill>
                <a:latin typeface="+mn-lt"/>
                <a:cs typeface="+mj-cs"/>
              </a:rPr>
              <a:t>مواصلة النهوض برياضة المعوقين </a:t>
            </a:r>
            <a:r>
              <a:rPr lang="ar-TN" b="1" dirty="0" smtClean="0">
                <a:solidFill>
                  <a:srgbClr val="000000"/>
                </a:solidFill>
                <a:latin typeface="+mn-lt"/>
                <a:cs typeface="+mj-cs"/>
              </a:rPr>
              <a:t>لبلوغ </a:t>
            </a:r>
            <a:r>
              <a:rPr lang="ar-TN" sz="1600" b="1" dirty="0" smtClean="0">
                <a:solidFill>
                  <a:srgbClr val="000000"/>
                </a:solidFill>
                <a:latin typeface="+mn-lt"/>
                <a:cs typeface="+mj-cs"/>
              </a:rPr>
              <a:t>230</a:t>
            </a:r>
            <a:r>
              <a:rPr lang="ar-TN" b="1" dirty="0" smtClean="0">
                <a:solidFill>
                  <a:srgbClr val="000000"/>
                </a:solidFill>
                <a:latin typeface="+mn-lt"/>
                <a:cs typeface="+mj-cs"/>
              </a:rPr>
              <a:t> جمعية سنة </a:t>
            </a:r>
            <a:r>
              <a:rPr lang="ar-TN" sz="1600" b="1" dirty="0" smtClean="0">
                <a:solidFill>
                  <a:srgbClr val="000000"/>
                </a:solidFill>
                <a:latin typeface="+mn-lt"/>
                <a:cs typeface="+mj-cs"/>
              </a:rPr>
              <a:t>2020</a:t>
            </a:r>
            <a:endParaRPr lang="ar-TN" b="1" dirty="0">
              <a:solidFill>
                <a:srgbClr val="000000"/>
              </a:solidFill>
              <a:latin typeface="+mn-lt"/>
              <a:cs typeface="+mj-cs"/>
            </a:endParaRPr>
          </a:p>
          <a:p>
            <a:pPr marL="179388" indent="-163513" algn="just" rtl="1">
              <a:spcBef>
                <a:spcPts val="600"/>
              </a:spcBef>
              <a:spcAft>
                <a:spcPts val="0"/>
              </a:spcAft>
              <a:buSzPts val="1600"/>
              <a:buFont typeface="Wingdings" panose="05000000000000000000" pitchFamily="2" charset="2"/>
              <a:buChar char="§"/>
            </a:pPr>
            <a:r>
              <a:rPr lang="ar-TN" b="1" dirty="0">
                <a:solidFill>
                  <a:srgbClr val="000000"/>
                </a:solidFill>
                <a:latin typeface="+mn-lt"/>
                <a:cs typeface="+mj-cs"/>
              </a:rPr>
              <a:t>مواصلة تنفيذ برامج الإحاطة بالنخبة الرياضية الوطنية </a:t>
            </a:r>
            <a:r>
              <a:rPr lang="ar-TN" b="1" dirty="0" smtClean="0">
                <a:solidFill>
                  <a:srgbClr val="000000"/>
                </a:solidFill>
                <a:latin typeface="+mn-lt"/>
                <a:cs typeface="+mj-cs"/>
              </a:rPr>
              <a:t>لإعدادهم </a:t>
            </a:r>
            <a:r>
              <a:rPr lang="ar-TN" b="1" dirty="0">
                <a:solidFill>
                  <a:srgbClr val="000000"/>
                </a:solidFill>
                <a:latin typeface="+mn-lt"/>
                <a:cs typeface="+mj-cs"/>
              </a:rPr>
              <a:t>للاستحقاقات الرياضية القادمة </a:t>
            </a:r>
            <a:endParaRPr lang="ar-TN" b="1" dirty="0" smtClean="0">
              <a:solidFill>
                <a:srgbClr val="000000"/>
              </a:solidFill>
              <a:latin typeface="+mn-lt"/>
              <a:cs typeface="+mj-cs"/>
            </a:endParaRPr>
          </a:p>
          <a:p>
            <a:pPr marL="179388" indent="-163513" algn="just" rtl="1">
              <a:spcBef>
                <a:spcPts val="600"/>
              </a:spcBef>
              <a:spcAft>
                <a:spcPts val="0"/>
              </a:spcAft>
              <a:buSzPts val="1600"/>
              <a:buFont typeface="Wingdings" panose="05000000000000000000" pitchFamily="2" charset="2"/>
              <a:buChar char="§"/>
            </a:pPr>
            <a:r>
              <a:rPr lang="ar-SA" b="1" dirty="0" smtClean="0">
                <a:solidFill>
                  <a:srgbClr val="000000"/>
                </a:solidFill>
                <a:latin typeface="+mn-lt"/>
                <a:cs typeface="+mj-cs"/>
              </a:rPr>
              <a:t>مواصلة </a:t>
            </a:r>
            <a:r>
              <a:rPr lang="ar-SA" b="1" dirty="0">
                <a:solidFill>
                  <a:srgbClr val="000000"/>
                </a:solidFill>
                <a:latin typeface="+mn-lt"/>
                <a:cs typeface="+mj-cs"/>
              </a:rPr>
              <a:t>النهوض برياضة المواطنة </a:t>
            </a:r>
            <a:r>
              <a:rPr lang="ar-TN" b="1" dirty="0" smtClean="0">
                <a:solidFill>
                  <a:srgbClr val="000000"/>
                </a:solidFill>
                <a:latin typeface="+mn-lt"/>
                <a:cs typeface="+mj-cs"/>
              </a:rPr>
              <a:t>ل</a:t>
            </a:r>
            <a:r>
              <a:rPr lang="ar-SA" b="1" dirty="0" smtClean="0">
                <a:latin typeface="+mn-lt"/>
                <a:cs typeface="+mj-cs"/>
              </a:rPr>
              <a:t>بلوغ </a:t>
            </a:r>
            <a:r>
              <a:rPr lang="ar-SA" sz="1600" b="1" dirty="0">
                <a:latin typeface="+mn-lt"/>
                <a:cs typeface="+mj-cs"/>
              </a:rPr>
              <a:t>5</a:t>
            </a:r>
            <a:r>
              <a:rPr lang="ar-SA" b="1" dirty="0">
                <a:latin typeface="+mn-lt"/>
                <a:cs typeface="+mj-cs"/>
              </a:rPr>
              <a:t> مليون تونسي يمارسون نشاط رياضي  </a:t>
            </a:r>
            <a:r>
              <a:rPr lang="ar-SA" b="1" dirty="0" smtClean="0">
                <a:latin typeface="+mn-lt"/>
                <a:cs typeface="+mj-cs"/>
              </a:rPr>
              <a:t>وبدني</a:t>
            </a:r>
            <a:r>
              <a:rPr lang="ar-TN" b="1" dirty="0">
                <a:solidFill>
                  <a:srgbClr val="000000"/>
                </a:solidFill>
                <a:cs typeface="+mj-cs"/>
              </a:rPr>
              <a:t> سنة </a:t>
            </a:r>
            <a:r>
              <a:rPr lang="ar-TN" sz="1600" b="1" dirty="0">
                <a:solidFill>
                  <a:srgbClr val="000000"/>
                </a:solidFill>
                <a:latin typeface="+mn-lt"/>
                <a:cs typeface="+mj-cs"/>
              </a:rPr>
              <a:t>2020</a:t>
            </a:r>
            <a:endParaRPr lang="fr-FR" b="1" dirty="0">
              <a:latin typeface="+mn-lt"/>
              <a:ea typeface="Calibri" panose="020F0502020204030204" pitchFamily="34" charset="0"/>
              <a:cs typeface="+mj-cs"/>
            </a:endParaRPr>
          </a:p>
        </p:txBody>
      </p:sp>
    </p:spTree>
    <p:extLst>
      <p:ext uri="{BB962C8B-B14F-4D97-AF65-F5344CB8AC3E}">
        <p14:creationId xmlns:p14="http://schemas.microsoft.com/office/powerpoint/2010/main" xmlns="" val="12318704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0" y="174923"/>
            <a:ext cx="9144000" cy="707886"/>
          </a:xfrm>
          <a:prstGeom prst="rect">
            <a:avLst/>
          </a:prstGeom>
          <a:noFill/>
        </p:spPr>
        <p:txBody>
          <a:bodyPr wrap="square" rtlCol="0">
            <a:spAutoFit/>
          </a:bodyPr>
          <a:lstStyle/>
          <a:p>
            <a:pPr algn="r"/>
            <a:r>
              <a:rPr lang="ar-TN" sz="2200" b="1" dirty="0" smtClean="0">
                <a:solidFill>
                  <a:srgbClr val="E51B2E"/>
                </a:solidFill>
                <a:latin typeface="Simplified Arabic" pitchFamily="18" charset="-78"/>
                <a:cs typeface="Simplified Arabic" pitchFamily="18" charset="-78"/>
              </a:rPr>
              <a:t>الظرف الاقتصادي الوطني</a:t>
            </a:r>
          </a:p>
          <a:p>
            <a:r>
              <a:rPr lang="ar-TN" b="1" dirty="0" smtClean="0">
                <a:latin typeface="Simplified Arabic" pitchFamily="18" charset="-78"/>
                <a:cs typeface="Simplified Arabic" pitchFamily="18" charset="-78"/>
              </a:rPr>
              <a:t>إنتاج قياسي للحبوب ...</a:t>
            </a:r>
            <a:endParaRPr lang="fr-FR" b="1" dirty="0">
              <a:latin typeface="Simplified Arabic" pitchFamily="18" charset="-78"/>
              <a:cs typeface="Simplified Arabic" pitchFamily="18" charset="-78"/>
            </a:endParaRPr>
          </a:p>
        </p:txBody>
      </p:sp>
      <p:sp>
        <p:nvSpPr>
          <p:cNvPr id="15" name="Rectangle à coins arrondis 14"/>
          <p:cNvSpPr/>
          <p:nvPr/>
        </p:nvSpPr>
        <p:spPr>
          <a:xfrm>
            <a:off x="715992" y="4028537"/>
            <a:ext cx="7712016" cy="1863306"/>
          </a:xfrm>
          <a:prstGeom prst="round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77825" lvl="1" indent="-285750" algn="just" rtl="1">
              <a:spcAft>
                <a:spcPts val="600"/>
              </a:spcAft>
              <a:buClr>
                <a:srgbClr val="006E00"/>
              </a:buClr>
              <a:buSzPct val="80000"/>
              <a:buFont typeface="Arial" panose="020B0604020202020204" pitchFamily="34" charset="0"/>
              <a:buChar char="•"/>
            </a:pPr>
            <a:r>
              <a:rPr lang="ar-TN" b="1" spc="-70" dirty="0" smtClean="0">
                <a:solidFill>
                  <a:schemeClr val="tx1"/>
                </a:solidFill>
                <a:latin typeface="Simplified Arabic" panose="02020603050405020304" pitchFamily="18" charset="-78"/>
                <a:cs typeface="Simplified Arabic" panose="02020603050405020304" pitchFamily="18" charset="-78"/>
              </a:rPr>
              <a:t>تطور إيجابي للقطاع الفلاحي بعلاقة مع الإنتاج الهام للحبوب.</a:t>
            </a:r>
          </a:p>
          <a:p>
            <a:pPr marL="377825" lvl="1" indent="-285750" algn="just" rtl="1">
              <a:spcAft>
                <a:spcPts val="600"/>
              </a:spcAft>
              <a:buClr>
                <a:srgbClr val="C00000"/>
              </a:buClr>
              <a:buSzPct val="80000"/>
              <a:buFont typeface="Arial" panose="020B0604020202020204" pitchFamily="34" charset="0"/>
              <a:buChar char="•"/>
            </a:pPr>
            <a:r>
              <a:rPr lang="ar-TN" b="1" spc="-70" dirty="0" smtClean="0">
                <a:solidFill>
                  <a:schemeClr val="tx1"/>
                </a:solidFill>
                <a:latin typeface="Simplified Arabic" panose="02020603050405020304" pitchFamily="18" charset="-78"/>
                <a:cs typeface="Simplified Arabic" panose="02020603050405020304" pitchFamily="18" charset="-78"/>
              </a:rPr>
              <a:t>تواصل عدد من الإشكاليات المرتبطة بـ:</a:t>
            </a:r>
          </a:p>
          <a:p>
            <a:pPr marL="835025" lvl="2" indent="-285750" algn="just" rtl="1">
              <a:spcAft>
                <a:spcPts val="600"/>
              </a:spcAft>
              <a:buClr>
                <a:srgbClr val="C00000"/>
              </a:buClr>
              <a:buSzPct val="80000"/>
              <a:buFont typeface="Symbol" panose="05050102010706020507" pitchFamily="18" charset="2"/>
              <a:buChar char="-"/>
            </a:pPr>
            <a:r>
              <a:rPr lang="ar-TN" b="1" spc="-70" dirty="0" smtClean="0">
                <a:solidFill>
                  <a:schemeClr val="tx1"/>
                </a:solidFill>
                <a:latin typeface="Simplified Arabic" panose="02020603050405020304" pitchFamily="18" charset="-78"/>
                <a:cs typeface="Simplified Arabic" panose="02020603050405020304" pitchFamily="18" charset="-78"/>
              </a:rPr>
              <a:t>ضعف المردودية.</a:t>
            </a:r>
          </a:p>
          <a:p>
            <a:pPr marL="835025" lvl="2" indent="-285750" algn="just" rtl="1">
              <a:spcAft>
                <a:spcPts val="600"/>
              </a:spcAft>
              <a:buClr>
                <a:srgbClr val="C00000"/>
              </a:buClr>
              <a:buSzPct val="80000"/>
              <a:buFont typeface="Symbol" panose="05050102010706020507" pitchFamily="18" charset="2"/>
              <a:buChar char="-"/>
            </a:pPr>
            <a:r>
              <a:rPr lang="ar-TN" b="1" spc="-70" dirty="0" smtClean="0">
                <a:solidFill>
                  <a:schemeClr val="tx1"/>
                </a:solidFill>
                <a:latin typeface="Simplified Arabic" panose="02020603050405020304" pitchFamily="18" charset="-78"/>
                <a:cs typeface="Simplified Arabic" panose="02020603050405020304" pitchFamily="18" charset="-78"/>
              </a:rPr>
              <a:t>دورية الانتاج.</a:t>
            </a:r>
            <a:endParaRPr lang="fr-FR" b="1" spc="-70" dirty="0" smtClean="0">
              <a:solidFill>
                <a:schemeClr val="tx1"/>
              </a:solidFill>
              <a:latin typeface="Simplified Arabic" panose="02020603050405020304" pitchFamily="18" charset="-78"/>
              <a:cs typeface="Simplified Arabic" panose="02020603050405020304" pitchFamily="18" charset="-78"/>
            </a:endParaRPr>
          </a:p>
          <a:p>
            <a:pPr marL="835025" lvl="2" indent="-285750" algn="just" rtl="1">
              <a:spcAft>
                <a:spcPts val="600"/>
              </a:spcAft>
              <a:buClr>
                <a:srgbClr val="C00000"/>
              </a:buClr>
              <a:buSzPct val="80000"/>
              <a:buFont typeface="Symbol" panose="05050102010706020507" pitchFamily="18" charset="2"/>
              <a:buChar char="-"/>
            </a:pPr>
            <a:r>
              <a:rPr lang="ar-TN" b="1" spc="-80" dirty="0" smtClean="0">
                <a:solidFill>
                  <a:schemeClr val="tx1"/>
                </a:solidFill>
                <a:latin typeface="Simplified Arabic" panose="02020603050405020304" pitchFamily="18" charset="-78"/>
                <a:cs typeface="Simplified Arabic" panose="02020603050405020304" pitchFamily="18" charset="-78"/>
              </a:rPr>
              <a:t>ضعف </a:t>
            </a:r>
            <a:r>
              <a:rPr lang="ar-TN" b="1" spc="-80" dirty="0">
                <a:solidFill>
                  <a:schemeClr val="tx1"/>
                </a:solidFill>
                <a:latin typeface="Simplified Arabic" panose="02020603050405020304" pitchFamily="18" charset="-78"/>
                <a:cs typeface="Simplified Arabic" panose="02020603050405020304" pitchFamily="18" charset="-78"/>
              </a:rPr>
              <a:t>أداء </a:t>
            </a:r>
            <a:r>
              <a:rPr lang="ar-TN" b="1" spc="-80" dirty="0" smtClean="0">
                <a:solidFill>
                  <a:schemeClr val="tx1"/>
                </a:solidFill>
                <a:latin typeface="Simplified Arabic" panose="02020603050405020304" pitchFamily="18" charset="-78"/>
                <a:cs typeface="Simplified Arabic" panose="02020603050405020304" pitchFamily="18" charset="-78"/>
              </a:rPr>
              <a:t>بعض المنظومات (</a:t>
            </a:r>
            <a:r>
              <a:rPr lang="ar-TN" b="1" spc="-80" dirty="0">
                <a:solidFill>
                  <a:schemeClr val="tx1"/>
                </a:solidFill>
                <a:latin typeface="Simplified Arabic" panose="02020603050405020304" pitchFamily="18" charset="-78"/>
                <a:cs typeface="Simplified Arabic" panose="02020603050405020304" pitchFamily="18" charset="-78"/>
              </a:rPr>
              <a:t>الحليب واللحوم</a:t>
            </a:r>
            <a:r>
              <a:rPr lang="ar-TN" b="1" spc="-80" dirty="0" smtClean="0">
                <a:solidFill>
                  <a:schemeClr val="tx1"/>
                </a:solidFill>
                <a:latin typeface="Simplified Arabic" panose="02020603050405020304" pitchFamily="18" charset="-78"/>
                <a:cs typeface="Simplified Arabic" panose="02020603050405020304" pitchFamily="18" charset="-78"/>
              </a:rPr>
              <a:t>)</a:t>
            </a:r>
            <a:r>
              <a:rPr lang="ar-TN" sz="2000" b="1" spc="-70" dirty="0" smtClean="0">
                <a:solidFill>
                  <a:schemeClr val="tx1"/>
                </a:solidFill>
                <a:latin typeface="Simplified Arabic" panose="02020603050405020304" pitchFamily="18" charset="-78"/>
                <a:cs typeface="Simplified Arabic" panose="02020603050405020304" pitchFamily="18" charset="-78"/>
              </a:rPr>
              <a:t>.</a:t>
            </a:r>
            <a:endParaRPr lang="ar-TN" sz="2000" b="1" spc="-70" dirty="0">
              <a:solidFill>
                <a:schemeClr val="tx1"/>
              </a:solidFill>
              <a:latin typeface="Simplified Arabic" panose="02020603050405020304" pitchFamily="18" charset="-78"/>
              <a:cs typeface="Simplified Arabic" panose="02020603050405020304" pitchFamily="18" charset="-78"/>
            </a:endParaRPr>
          </a:p>
        </p:txBody>
      </p:sp>
      <p:graphicFrame>
        <p:nvGraphicFramePr>
          <p:cNvPr id="6" name="Graphique 5"/>
          <p:cNvGraphicFramePr>
            <a:graphicFrameLocks/>
          </p:cNvGraphicFramePr>
          <p:nvPr>
            <p:extLst>
              <p:ext uri="{D42A27DB-BD31-4B8C-83A1-F6EECF244321}">
                <p14:modId xmlns:p14="http://schemas.microsoft.com/office/powerpoint/2010/main" xmlns="" val="3086618636"/>
              </p:ext>
            </p:extLst>
          </p:nvPr>
        </p:nvGraphicFramePr>
        <p:xfrm>
          <a:off x="715992" y="1123747"/>
          <a:ext cx="7712015" cy="279612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153694626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p:oleObj spid="_x0000_s159832" name="think-cell Slide" r:id="rId4" imgW="360" imgH="360" progId="">
              <p:embed/>
            </p:oleObj>
          </a:graphicData>
        </a:graphic>
      </p:graphicFrame>
      <p:sp>
        <p:nvSpPr>
          <p:cNvPr id="2" name="Rectangle 1"/>
          <p:cNvSpPr/>
          <p:nvPr/>
        </p:nvSpPr>
        <p:spPr>
          <a:xfrm>
            <a:off x="163515" y="1203585"/>
            <a:ext cx="6435694" cy="1614866"/>
          </a:xfrm>
          <a:prstGeom prst="rect">
            <a:avLst/>
          </a:prstGeom>
          <a:ln>
            <a:solidFill>
              <a:srgbClr val="E51B2E"/>
            </a:solidFill>
          </a:ln>
        </p:spPr>
        <p:txBody>
          <a:bodyPr wrap="square">
            <a:spAutoFit/>
          </a:bodyPr>
          <a:lstStyle/>
          <a:p>
            <a:pPr marL="342900" lvl="0" indent="-342900" algn="just" rtl="1">
              <a:lnSpc>
                <a:spcPct val="107000"/>
              </a:lnSpc>
              <a:spcAft>
                <a:spcPts val="800"/>
              </a:spcAft>
              <a:buFont typeface="Wingdings" panose="05000000000000000000" pitchFamily="2" charset="2"/>
              <a:buChar char=""/>
            </a:pPr>
            <a:r>
              <a:rPr lang="ar-SA" sz="1600" b="1" dirty="0" smtClean="0"/>
              <a:t>مواصلة </a:t>
            </a:r>
            <a:r>
              <a:rPr lang="ar-SA" sz="1600" b="1" dirty="0"/>
              <a:t>العمل على تنفيذ الاستراتيجية الوطنية للمبادرة الخاصة </a:t>
            </a:r>
            <a:r>
              <a:rPr lang="ar-TN" sz="1600" b="1" dirty="0" smtClean="0"/>
              <a:t>وفقا </a:t>
            </a:r>
            <a:r>
              <a:rPr lang="ar-TN" sz="1600" b="1" dirty="0"/>
              <a:t>للمخطط التنفيذي</a:t>
            </a:r>
            <a:r>
              <a:rPr lang="ar-TN" sz="1600" b="1" dirty="0" smtClean="0"/>
              <a:t>.</a:t>
            </a:r>
          </a:p>
          <a:p>
            <a:pPr marL="342900" indent="-342900" algn="just" rtl="1">
              <a:lnSpc>
                <a:spcPct val="107000"/>
              </a:lnSpc>
              <a:spcAft>
                <a:spcPts val="800"/>
              </a:spcAft>
              <a:buFont typeface="Wingdings" panose="05000000000000000000" pitchFamily="2" charset="2"/>
              <a:buChar char=""/>
            </a:pPr>
            <a:r>
              <a:rPr lang="ar-SA" sz="1600" b="1" dirty="0"/>
              <a:t>مواصلة اشغال الاستراتيجية الوطنية للتشغيل عبر وضع مخطط تنفيذي وآليات للمتابعة والتقييم تضمن نجاعة تنفيذ مختلف مكوناتها في الآجال المبرمجة.</a:t>
            </a:r>
            <a:endParaRPr lang="fr-FR" sz="1600" b="1" dirty="0"/>
          </a:p>
          <a:p>
            <a:pPr marL="342900" indent="-342900" algn="just" rtl="1">
              <a:lnSpc>
                <a:spcPct val="107000"/>
              </a:lnSpc>
              <a:spcAft>
                <a:spcPts val="800"/>
              </a:spcAft>
              <a:buFont typeface="Wingdings" panose="05000000000000000000" pitchFamily="2" charset="2"/>
              <a:buChar char=""/>
            </a:pPr>
            <a:r>
              <a:rPr lang="ar-TN" sz="1600" b="1" dirty="0"/>
              <a:t>مواصلة الاشغال المتعلقة بمتابعة وتقييم السياسات النشيطة للتشغيل والاشغال الخاصة بإنجاز دراسة حول العمل </a:t>
            </a:r>
            <a:r>
              <a:rPr lang="ar-TN" sz="1600" b="1" dirty="0" smtClean="0"/>
              <a:t>غير المنظم.</a:t>
            </a:r>
            <a:endParaRPr lang="fr-FR" sz="1600" b="1" dirty="0"/>
          </a:p>
        </p:txBody>
      </p:sp>
      <p:sp>
        <p:nvSpPr>
          <p:cNvPr id="4" name="Rectangle 3"/>
          <p:cNvSpPr/>
          <p:nvPr/>
        </p:nvSpPr>
        <p:spPr>
          <a:xfrm>
            <a:off x="7040060" y="1824426"/>
            <a:ext cx="681597" cy="338554"/>
          </a:xfrm>
          <a:prstGeom prst="rect">
            <a:avLst/>
          </a:prstGeom>
          <a:ln>
            <a:solidFill>
              <a:srgbClr val="E51B2E"/>
            </a:solidFill>
          </a:ln>
        </p:spPr>
        <p:txBody>
          <a:bodyPr wrap="none">
            <a:spAutoFit/>
          </a:bodyPr>
          <a:lstStyle/>
          <a:p>
            <a:r>
              <a:rPr lang="ar-TN" sz="1600" b="1" dirty="0" smtClean="0">
                <a:solidFill>
                  <a:srgbClr val="000000"/>
                </a:solidFill>
                <a:latin typeface="Arial" panose="020B0604020202020204" pitchFamily="34" charset="0"/>
                <a:ea typeface="Calibri" panose="020F0502020204030204" pitchFamily="34" charset="0"/>
                <a:cs typeface="Arial" panose="020B0604020202020204" pitchFamily="34" charset="0"/>
              </a:rPr>
              <a:t>التشغيل</a:t>
            </a:r>
            <a:endParaRPr lang="fr-FR" sz="1600" dirty="0">
              <a:solidFill>
                <a:srgbClr val="000000"/>
              </a:solidFill>
              <a:latin typeface="Arial" panose="020B0604020202020204" pitchFamily="34" charset="0"/>
              <a:cs typeface="Arial" panose="020B0604020202020204" pitchFamily="34" charset="0"/>
            </a:endParaRPr>
          </a:p>
        </p:txBody>
      </p:sp>
      <p:sp>
        <p:nvSpPr>
          <p:cNvPr id="8" name="Rectangle 7"/>
          <p:cNvSpPr/>
          <p:nvPr/>
        </p:nvSpPr>
        <p:spPr>
          <a:xfrm>
            <a:off x="180740" y="2997586"/>
            <a:ext cx="6419662" cy="2544607"/>
          </a:xfrm>
          <a:prstGeom prst="rect">
            <a:avLst/>
          </a:prstGeom>
          <a:ln>
            <a:solidFill>
              <a:srgbClr val="E51B2E"/>
            </a:solidFill>
          </a:ln>
        </p:spPr>
        <p:txBody>
          <a:bodyPr wrap="square">
            <a:spAutoFit/>
          </a:bodyPr>
          <a:lstStyle/>
          <a:p>
            <a:pPr marL="342900" lvl="0" indent="-342900" algn="just" rtl="1">
              <a:lnSpc>
                <a:spcPct val="107000"/>
              </a:lnSpc>
              <a:spcAft>
                <a:spcPts val="800"/>
              </a:spcAft>
              <a:buFont typeface="Wingdings" panose="05000000000000000000" pitchFamily="2" charset="2"/>
              <a:buChar char=""/>
            </a:pPr>
            <a:r>
              <a:rPr lang="ar-TN" sz="1600" b="1" dirty="0"/>
              <a:t>استكمال الدراسات الفنية والأعمال المتعلقة بإرساء صندوق للتأمين على فقدان مواطن الشغل وفقا لبنود العقد </a:t>
            </a:r>
            <a:r>
              <a:rPr lang="ar-TN" sz="1600" b="1" dirty="0" smtClean="0"/>
              <a:t>الاجتماعي</a:t>
            </a:r>
          </a:p>
          <a:p>
            <a:pPr marL="342900" indent="-342900" algn="just" rtl="1">
              <a:lnSpc>
                <a:spcPct val="107000"/>
              </a:lnSpc>
              <a:spcAft>
                <a:spcPts val="800"/>
              </a:spcAft>
              <a:buFont typeface="Wingdings" panose="05000000000000000000" pitchFamily="2" charset="2"/>
              <a:buChar char=""/>
            </a:pPr>
            <a:r>
              <a:rPr lang="ar-TN" sz="1600" b="1" dirty="0"/>
              <a:t>إصدار مشروع الأمر الحكومي المتعلق بإصلاح نظام الجرايات للأجراء في القطاع غير </a:t>
            </a:r>
            <a:r>
              <a:rPr lang="ar-TN" sz="1600" b="1" dirty="0" err="1"/>
              <a:t>الفلاحي</a:t>
            </a:r>
            <a:r>
              <a:rPr lang="ar-TN" sz="1600" b="1" dirty="0"/>
              <a:t> </a:t>
            </a:r>
            <a:r>
              <a:rPr lang="ar-TN" sz="1600" b="1" dirty="0" smtClean="0"/>
              <a:t>ومواصلة </a:t>
            </a:r>
            <a:r>
              <a:rPr lang="ar-TN" sz="1600" b="1" dirty="0"/>
              <a:t>الأعمال المتعلقة بالمراجعة الشاملة لأنظمة الضمان </a:t>
            </a:r>
            <a:r>
              <a:rPr lang="ar-TN" sz="1600" b="1" dirty="0" smtClean="0"/>
              <a:t>الاجتماعي</a:t>
            </a:r>
            <a:endParaRPr lang="fr-FR" sz="1600" b="1" dirty="0"/>
          </a:p>
          <a:p>
            <a:pPr marL="342900" lvl="0" indent="-342900" algn="just" rtl="1">
              <a:lnSpc>
                <a:spcPct val="107000"/>
              </a:lnSpc>
              <a:spcAft>
                <a:spcPts val="800"/>
              </a:spcAft>
              <a:buFont typeface="Wingdings" panose="05000000000000000000" pitchFamily="2" charset="2"/>
              <a:buChar char=""/>
            </a:pPr>
            <a:r>
              <a:rPr lang="ar-TN" sz="1600" b="1" dirty="0" smtClean="0"/>
              <a:t>إحداث </a:t>
            </a:r>
            <a:r>
              <a:rPr lang="ar-TN" sz="1600" b="1" dirty="0"/>
              <a:t>المجلس الأعلى للتنمية الاجتماعية وإحداث وكالة وطنية للإدماج والتنمية </a:t>
            </a:r>
            <a:r>
              <a:rPr lang="ar-TN" sz="1600" b="1" dirty="0" smtClean="0"/>
              <a:t>الاجتماعية. </a:t>
            </a:r>
            <a:endParaRPr lang="fr-FR" sz="1600" b="1" dirty="0"/>
          </a:p>
          <a:p>
            <a:pPr marL="342900" lvl="0" indent="-342900" algn="just" rtl="1">
              <a:lnSpc>
                <a:spcPct val="107000"/>
              </a:lnSpc>
              <a:spcAft>
                <a:spcPts val="800"/>
              </a:spcAft>
              <a:buFont typeface="Wingdings" panose="05000000000000000000" pitchFamily="2" charset="2"/>
              <a:buChar char=""/>
            </a:pPr>
            <a:r>
              <a:rPr lang="ar-TN" sz="1600" b="1" dirty="0"/>
              <a:t>تفعيل الإستراتيجية الوطنية لتعليم </a:t>
            </a:r>
            <a:r>
              <a:rPr lang="ar-TN" sz="1600" b="1" dirty="0" smtClean="0"/>
              <a:t>الكبار</a:t>
            </a:r>
            <a:endParaRPr lang="fr-FR" sz="1600" b="1" dirty="0"/>
          </a:p>
          <a:p>
            <a:pPr marL="342900" indent="-342900" algn="just" rtl="1">
              <a:lnSpc>
                <a:spcPct val="107000"/>
              </a:lnSpc>
              <a:spcAft>
                <a:spcPts val="800"/>
              </a:spcAft>
            </a:pPr>
            <a:endParaRPr lang="fr-FR" sz="1200" dirty="0">
              <a:solidFill>
                <a:srgbClr val="000000"/>
              </a:solidFill>
              <a:latin typeface="Arial" panose="020B0604020202020204" pitchFamily="34" charset="0"/>
              <a:ea typeface="Calibri" panose="020F0502020204030204" pitchFamily="34" charset="0"/>
              <a:cs typeface="Arial" panose="020B0604020202020204" pitchFamily="34" charset="0"/>
            </a:endParaRPr>
          </a:p>
        </p:txBody>
      </p:sp>
      <p:sp>
        <p:nvSpPr>
          <p:cNvPr id="9" name="Rectangle 8"/>
          <p:cNvSpPr/>
          <p:nvPr/>
        </p:nvSpPr>
        <p:spPr>
          <a:xfrm>
            <a:off x="7051310" y="3953453"/>
            <a:ext cx="1449436" cy="338554"/>
          </a:xfrm>
          <a:prstGeom prst="rect">
            <a:avLst/>
          </a:prstGeom>
          <a:ln>
            <a:solidFill>
              <a:srgbClr val="E51B2E"/>
            </a:solidFill>
          </a:ln>
        </p:spPr>
        <p:txBody>
          <a:bodyPr wrap="none">
            <a:spAutoFit/>
          </a:bodyPr>
          <a:lstStyle/>
          <a:p>
            <a:r>
              <a:rPr lang="ar-TN" sz="1600" b="1" dirty="0" smtClean="0">
                <a:solidFill>
                  <a:srgbClr val="000000"/>
                </a:solidFill>
                <a:latin typeface="Arial" panose="020B0604020202020204" pitchFamily="34" charset="0"/>
                <a:cs typeface="Arial" panose="020B0604020202020204" pitchFamily="34" charset="0"/>
              </a:rPr>
              <a:t>الشؤون الاجتماعية</a:t>
            </a:r>
            <a:endParaRPr lang="fr-FR" sz="2000" dirty="0">
              <a:solidFill>
                <a:srgbClr val="000000"/>
              </a:solidFill>
              <a:latin typeface="Arial" panose="020B0604020202020204" pitchFamily="34" charset="0"/>
              <a:cs typeface="Arial" panose="020B0604020202020204" pitchFamily="34" charset="0"/>
            </a:endParaRPr>
          </a:p>
        </p:txBody>
      </p:sp>
      <p:sp>
        <p:nvSpPr>
          <p:cNvPr id="11" name="Text Placeholder 4"/>
          <p:cNvSpPr>
            <a:spLocks noGrp="1"/>
          </p:cNvSpPr>
          <p:nvPr>
            <p:ph type="body" sz="quarter" idx="23"/>
          </p:nvPr>
        </p:nvSpPr>
        <p:spPr>
          <a:xfrm>
            <a:off x="163515" y="176213"/>
            <a:ext cx="8791575" cy="711200"/>
          </a:xfrm>
        </p:spPr>
        <p:txBody>
          <a:bodyPr/>
          <a:lstStyle/>
          <a:p>
            <a:pPr marL="0" lvl="4" indent="0" algn="r" rtl="1" fontAlgn="auto">
              <a:spcAft>
                <a:spcPts val="600"/>
              </a:spcAft>
              <a:buNone/>
              <a:defRPr/>
            </a:pPr>
            <a:r>
              <a:rPr lang="ar-TN" sz="2200" b="1" dirty="0">
                <a:solidFill>
                  <a:srgbClr val="FF0000"/>
                </a:solidFill>
                <a:latin typeface="Simplified Arabic" panose="02020603050405020304" pitchFamily="18" charset="-78"/>
                <a:cs typeface="Simplified Arabic" panose="02020603050405020304" pitchFamily="18" charset="-78"/>
              </a:rPr>
              <a:t>أ</a:t>
            </a:r>
            <a:r>
              <a:rPr lang="ar-TN" sz="2200" b="1" dirty="0" smtClean="0">
                <a:solidFill>
                  <a:srgbClr val="FF0000"/>
                </a:solidFill>
                <a:latin typeface="Simplified Arabic" panose="02020603050405020304" pitchFamily="18" charset="-78"/>
                <a:cs typeface="Simplified Arabic" panose="02020603050405020304" pitchFamily="18" charset="-78"/>
              </a:rPr>
              <a:t>هم </a:t>
            </a:r>
            <a:r>
              <a:rPr lang="ar-TN" sz="2200" b="1" dirty="0">
                <a:solidFill>
                  <a:srgbClr val="FF0000"/>
                </a:solidFill>
                <a:latin typeface="Simplified Arabic" panose="02020603050405020304" pitchFamily="18" charset="-78"/>
                <a:cs typeface="Simplified Arabic" panose="02020603050405020304" pitchFamily="18" charset="-78"/>
              </a:rPr>
              <a:t>المشاريع والبرامج والإصلاحات لسنة </a:t>
            </a:r>
            <a:r>
              <a:rPr lang="ar-TN" sz="2000" b="1" dirty="0">
                <a:solidFill>
                  <a:srgbClr val="FF0000"/>
                </a:solidFill>
                <a:latin typeface="Times New Roman" panose="02020603050405020304" pitchFamily="18" charset="0"/>
                <a:cs typeface="Times New Roman" panose="02020603050405020304" pitchFamily="18" charset="0"/>
              </a:rPr>
              <a:t>2020</a:t>
            </a:r>
            <a:endParaRPr lang="ar-TN" sz="2400" b="1" dirty="0">
              <a:solidFill>
                <a:srgbClr val="FF0000"/>
              </a:solidFill>
              <a:latin typeface="Times New Roman" panose="02020603050405020304" pitchFamily="18" charset="0"/>
              <a:cs typeface="Times New Roman" panose="02020603050405020304" pitchFamily="18" charset="0"/>
            </a:endParaRPr>
          </a:p>
        </p:txBody>
      </p:sp>
      <p:sp>
        <p:nvSpPr>
          <p:cNvPr id="12" name="Isosceles Triangle 65"/>
          <p:cNvSpPr/>
          <p:nvPr/>
        </p:nvSpPr>
        <p:spPr>
          <a:xfrm rot="16200000">
            <a:off x="6652963" y="1876008"/>
            <a:ext cx="387790" cy="235390"/>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solidFill>
                <a:srgbClr val="FFFFFF"/>
              </a:solidFill>
              <a:latin typeface="Arial" pitchFamily="34" charset="0"/>
              <a:cs typeface="Arial" pitchFamily="34" charset="0"/>
            </a:endParaRPr>
          </a:p>
        </p:txBody>
      </p:sp>
      <p:sp>
        <p:nvSpPr>
          <p:cNvPr id="13" name="Isosceles Triangle 65"/>
          <p:cNvSpPr/>
          <p:nvPr/>
        </p:nvSpPr>
        <p:spPr>
          <a:xfrm rot="16200000">
            <a:off x="6646318" y="3974257"/>
            <a:ext cx="387790" cy="235390"/>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xmlns="" val="3304981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p:oleObj spid="_x0000_s179251" name="think-cell Slide" r:id="rId4" imgW="360" imgH="360" progId="">
              <p:embed/>
            </p:oleObj>
          </a:graphicData>
        </a:graphic>
      </p:graphicFrame>
      <p:sp>
        <p:nvSpPr>
          <p:cNvPr id="2" name="Rectangle 1"/>
          <p:cNvSpPr/>
          <p:nvPr/>
        </p:nvSpPr>
        <p:spPr>
          <a:xfrm>
            <a:off x="262465" y="1705424"/>
            <a:ext cx="6664546" cy="3277820"/>
          </a:xfrm>
          <a:prstGeom prst="rect">
            <a:avLst/>
          </a:prstGeom>
          <a:ln>
            <a:solidFill>
              <a:srgbClr val="E51B2E"/>
            </a:solidFill>
          </a:ln>
        </p:spPr>
        <p:txBody>
          <a:bodyPr wrap="square">
            <a:spAutoFit/>
          </a:bodyPr>
          <a:lstStyle/>
          <a:p>
            <a:pPr marL="163513" indent="-163513" algn="just" rtl="1">
              <a:spcBef>
                <a:spcPts val="1800"/>
              </a:spcBef>
              <a:spcAft>
                <a:spcPts val="0"/>
              </a:spcAft>
              <a:buSzPts val="1600"/>
              <a:buFont typeface="Wingdings" panose="05000000000000000000" pitchFamily="2" charset="2"/>
              <a:buChar char=""/>
            </a:pPr>
            <a:r>
              <a:rPr lang="ar-TN" b="1" dirty="0" smtClean="0">
                <a:latin typeface="+mn-lt"/>
                <a:ea typeface="Calibri" panose="020F0502020204030204" pitchFamily="34" charset="0"/>
                <a:cs typeface="+mj-cs"/>
              </a:rPr>
              <a:t>اصدار النصوص المتعلقة </a:t>
            </a:r>
            <a:r>
              <a:rPr lang="ar-TN" b="1" dirty="0">
                <a:latin typeface="+mn-lt"/>
                <a:ea typeface="Calibri" panose="020F0502020204030204" pitchFamily="34" charset="0"/>
                <a:cs typeface="+mj-cs"/>
              </a:rPr>
              <a:t>بالفنان والمهن </a:t>
            </a:r>
            <a:r>
              <a:rPr lang="ar-TN" b="1" dirty="0" smtClean="0">
                <a:latin typeface="+mn-lt"/>
                <a:ea typeface="Calibri" panose="020F0502020204030204" pitchFamily="34" charset="0"/>
                <a:cs typeface="+mj-cs"/>
              </a:rPr>
              <a:t>الفنية وبالمتاحف </a:t>
            </a:r>
            <a:r>
              <a:rPr lang="ar-TN" b="1" dirty="0">
                <a:latin typeface="+mn-lt"/>
                <a:ea typeface="Calibri" panose="020F0502020204030204" pitchFamily="34" charset="0"/>
                <a:cs typeface="+mj-cs"/>
              </a:rPr>
              <a:t>وتنقيح </a:t>
            </a:r>
            <a:r>
              <a:rPr lang="ar-TN" b="1" dirty="0" smtClean="0">
                <a:latin typeface="+mn-lt"/>
                <a:ea typeface="Calibri" panose="020F0502020204030204" pitchFamily="34" charset="0"/>
                <a:cs typeface="+mj-cs"/>
              </a:rPr>
              <a:t>الأمر المتعلق </a:t>
            </a:r>
            <a:r>
              <a:rPr lang="ar-TN" b="1" dirty="0">
                <a:latin typeface="+mn-lt"/>
                <a:ea typeface="Calibri" panose="020F0502020204030204" pitchFamily="34" charset="0"/>
                <a:cs typeface="+mj-cs"/>
              </a:rPr>
              <a:t>بتشجيع الدولة للإنتاج السينمائي.</a:t>
            </a:r>
            <a:endParaRPr lang="fr-FR" b="1" dirty="0">
              <a:latin typeface="+mn-lt"/>
              <a:ea typeface="Calibri" panose="020F0502020204030204" pitchFamily="34" charset="0"/>
              <a:cs typeface="+mj-cs"/>
            </a:endParaRPr>
          </a:p>
          <a:p>
            <a:pPr marL="163513" indent="-163513" algn="just" rtl="1">
              <a:spcBef>
                <a:spcPts val="1800"/>
              </a:spcBef>
              <a:spcAft>
                <a:spcPts val="0"/>
              </a:spcAft>
              <a:buSzPts val="1600"/>
              <a:buFont typeface="Wingdings" panose="05000000000000000000" pitchFamily="2" charset="2"/>
              <a:buChar char=""/>
            </a:pPr>
            <a:r>
              <a:rPr lang="ar-TN" b="1" dirty="0" smtClean="0">
                <a:latin typeface="+mn-lt"/>
                <a:ea typeface="Calibri" panose="020F0502020204030204" pitchFamily="34" charset="0"/>
                <a:cs typeface="+mj-cs"/>
              </a:rPr>
              <a:t>مواصلة </a:t>
            </a:r>
            <a:r>
              <a:rPr lang="ar-TN" b="1" dirty="0">
                <a:latin typeface="+mn-lt"/>
                <a:ea typeface="Calibri" panose="020F0502020204030204" pitchFamily="34" charset="0"/>
                <a:cs typeface="+mj-cs"/>
              </a:rPr>
              <a:t>حفظ وإنقاذ الرصيد الوطني من الاعمال التشكيلية و نقل الرصيد الفني لمخازن الرصيد بدار الكتب الوطنية و بمدينة الثقافة.</a:t>
            </a:r>
            <a:endParaRPr lang="fr-FR" b="1" dirty="0">
              <a:latin typeface="+mn-lt"/>
              <a:ea typeface="Calibri" panose="020F0502020204030204" pitchFamily="34" charset="0"/>
              <a:cs typeface="+mj-cs"/>
            </a:endParaRPr>
          </a:p>
          <a:p>
            <a:pPr marL="163513" indent="-163513" algn="just" rtl="1">
              <a:spcBef>
                <a:spcPts val="1800"/>
              </a:spcBef>
              <a:spcAft>
                <a:spcPts val="0"/>
              </a:spcAft>
              <a:buSzPts val="1600"/>
              <a:buFont typeface="Wingdings" panose="05000000000000000000" pitchFamily="2" charset="2"/>
              <a:buChar char=""/>
            </a:pPr>
            <a:r>
              <a:rPr lang="ar-TN" b="1" dirty="0" smtClean="0">
                <a:latin typeface="+mn-lt"/>
                <a:ea typeface="Calibri" panose="020F0502020204030204" pitchFamily="34" charset="0"/>
                <a:cs typeface="+mj-cs"/>
              </a:rPr>
              <a:t>تركيز </a:t>
            </a:r>
            <a:r>
              <a:rPr lang="ar-TN" b="1" dirty="0">
                <a:latin typeface="+mn-lt"/>
                <a:ea typeface="Calibri" panose="020F0502020204030204" pitchFamily="34" charset="0"/>
                <a:cs typeface="+mj-cs"/>
              </a:rPr>
              <a:t>مشروع المكتبة الافتراضيّة ومواصلة تركيز</a:t>
            </a:r>
            <a:r>
              <a:rPr lang="ar-SA" b="1" dirty="0">
                <a:latin typeface="+mn-lt"/>
                <a:ea typeface="Calibri" panose="020F0502020204030204" pitchFamily="34" charset="0"/>
                <a:cs typeface="+mj-cs"/>
              </a:rPr>
              <a:t> </a:t>
            </a:r>
            <a:r>
              <a:rPr lang="ar-TN" b="1" dirty="0">
                <a:latin typeface="+mn-lt"/>
                <a:ea typeface="Calibri" panose="020F0502020204030204" pitchFamily="34" charset="0"/>
                <a:cs typeface="+mj-cs"/>
              </a:rPr>
              <a:t>مشروع متحف التّراث المكتوب "</a:t>
            </a:r>
            <a:r>
              <a:rPr lang="ar-TN" b="1" dirty="0" err="1">
                <a:latin typeface="+mn-lt"/>
                <a:ea typeface="Calibri" panose="020F0502020204030204" pitchFamily="34" charset="0"/>
                <a:cs typeface="+mj-cs"/>
              </a:rPr>
              <a:t>ميضة</a:t>
            </a:r>
            <a:r>
              <a:rPr lang="ar-TN" b="1" dirty="0">
                <a:latin typeface="+mn-lt"/>
                <a:ea typeface="Calibri" panose="020F0502020204030204" pitchFamily="34" charset="0"/>
                <a:cs typeface="+mj-cs"/>
              </a:rPr>
              <a:t> السّلطان" بدار الكتب الوطنية.</a:t>
            </a:r>
            <a:endParaRPr lang="fr-FR" b="1" dirty="0">
              <a:latin typeface="+mn-lt"/>
              <a:ea typeface="Calibri" panose="020F0502020204030204" pitchFamily="34" charset="0"/>
              <a:cs typeface="+mj-cs"/>
            </a:endParaRPr>
          </a:p>
          <a:p>
            <a:pPr marL="163513" indent="-163513" algn="just" rtl="1">
              <a:spcBef>
                <a:spcPts val="1800"/>
              </a:spcBef>
              <a:spcAft>
                <a:spcPts val="0"/>
              </a:spcAft>
              <a:buSzPts val="1600"/>
              <a:buFont typeface="Wingdings" panose="05000000000000000000" pitchFamily="2" charset="2"/>
              <a:buChar char=""/>
            </a:pPr>
            <a:r>
              <a:rPr lang="ar-TN" b="1" dirty="0" smtClean="0">
                <a:latin typeface="+mn-lt"/>
                <a:ea typeface="Calibri" panose="020F0502020204030204" pitchFamily="34" charset="0"/>
                <a:cs typeface="+mj-cs"/>
              </a:rPr>
              <a:t>مواصلة </a:t>
            </a:r>
            <a:r>
              <a:rPr lang="ar-TN" b="1" dirty="0">
                <a:latin typeface="+mn-lt"/>
                <a:ea typeface="Calibri" panose="020F0502020204030204" pitchFamily="34" charset="0"/>
                <a:cs typeface="+mj-cs"/>
              </a:rPr>
              <a:t>مشروع الخارطة الأثرية المتعلق بإحصاء المواقع والمعالم </a:t>
            </a:r>
            <a:r>
              <a:rPr lang="ar-TN" b="1" dirty="0" smtClean="0">
                <a:latin typeface="+mn-lt"/>
                <a:ea typeface="Calibri" panose="020F0502020204030204" pitchFamily="34" charset="0"/>
                <a:cs typeface="+mj-cs"/>
              </a:rPr>
              <a:t>ومشاريع </a:t>
            </a:r>
            <a:r>
              <a:rPr lang="ar-TN" b="1" dirty="0">
                <a:latin typeface="+mn-lt"/>
                <a:ea typeface="Calibri" panose="020F0502020204030204" pitchFamily="34" charset="0"/>
                <a:cs typeface="+mj-cs"/>
              </a:rPr>
              <a:t>الجرد الورقي والرقمي للمجموعات الأثرية </a:t>
            </a:r>
            <a:r>
              <a:rPr lang="ar-TN" b="1" dirty="0" err="1" smtClean="0">
                <a:latin typeface="+mn-lt"/>
                <a:ea typeface="Calibri" panose="020F0502020204030204" pitchFamily="34" charset="0"/>
                <a:cs typeface="+mj-cs"/>
              </a:rPr>
              <a:t>والإثنوغرافية</a:t>
            </a:r>
            <a:r>
              <a:rPr lang="ar-TN" b="1" dirty="0" smtClean="0">
                <a:latin typeface="+mn-lt"/>
                <a:ea typeface="Calibri" panose="020F0502020204030204" pitchFamily="34" charset="0"/>
                <a:cs typeface="+mj-cs"/>
              </a:rPr>
              <a:t> </a:t>
            </a:r>
            <a:r>
              <a:rPr lang="ar-TN" b="1" dirty="0">
                <a:latin typeface="+mn-lt"/>
                <a:ea typeface="Calibri" panose="020F0502020204030204" pitchFamily="34" charset="0"/>
                <a:cs typeface="+mj-cs"/>
              </a:rPr>
              <a:t>بالمخازن المتواجدة بالمواقع والمتاحف</a:t>
            </a:r>
            <a:r>
              <a:rPr lang="ar-TN" b="1" dirty="0" smtClean="0">
                <a:latin typeface="+mn-lt"/>
                <a:ea typeface="Calibri" panose="020F0502020204030204" pitchFamily="34" charset="0"/>
                <a:cs typeface="+mj-cs"/>
              </a:rPr>
              <a:t>.</a:t>
            </a:r>
            <a:endParaRPr lang="fr-FR" b="1" dirty="0">
              <a:latin typeface="+mn-lt"/>
              <a:ea typeface="Calibri" panose="020F0502020204030204" pitchFamily="34" charset="0"/>
              <a:cs typeface="+mj-cs"/>
            </a:endParaRPr>
          </a:p>
        </p:txBody>
      </p:sp>
      <p:sp>
        <p:nvSpPr>
          <p:cNvPr id="4" name="Rectangle 3"/>
          <p:cNvSpPr/>
          <p:nvPr/>
        </p:nvSpPr>
        <p:spPr>
          <a:xfrm>
            <a:off x="7464822" y="3081732"/>
            <a:ext cx="699230" cy="400110"/>
          </a:xfrm>
          <a:prstGeom prst="rect">
            <a:avLst/>
          </a:prstGeom>
          <a:ln>
            <a:solidFill>
              <a:srgbClr val="E51B2E"/>
            </a:solidFill>
          </a:ln>
        </p:spPr>
        <p:txBody>
          <a:bodyPr wrap="none">
            <a:spAutoFit/>
          </a:bodyPr>
          <a:lstStyle/>
          <a:p>
            <a:r>
              <a:rPr lang="ar-TN" sz="2000" b="1" dirty="0" smtClean="0">
                <a:solidFill>
                  <a:srgbClr val="000000"/>
                </a:solidFill>
                <a:latin typeface="Arial" panose="020B0604020202020204" pitchFamily="34" charset="0"/>
                <a:ea typeface="Calibri" panose="020F0502020204030204" pitchFamily="34" charset="0"/>
                <a:cs typeface="Arial" panose="020B0604020202020204" pitchFamily="34" charset="0"/>
              </a:rPr>
              <a:t>الثقافة</a:t>
            </a:r>
            <a:endParaRPr lang="fr-FR" sz="2800" dirty="0">
              <a:solidFill>
                <a:srgbClr val="000000"/>
              </a:solidFill>
              <a:latin typeface="Arial" panose="020B0604020202020204" pitchFamily="34" charset="0"/>
              <a:cs typeface="Arial" panose="020B0604020202020204" pitchFamily="34" charset="0"/>
            </a:endParaRPr>
          </a:p>
        </p:txBody>
      </p:sp>
      <p:sp>
        <p:nvSpPr>
          <p:cNvPr id="8" name="Isosceles Triangle 65"/>
          <p:cNvSpPr/>
          <p:nvPr/>
        </p:nvSpPr>
        <p:spPr>
          <a:xfrm rot="16200000">
            <a:off x="7074106" y="3159216"/>
            <a:ext cx="387790" cy="235390"/>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solidFill>
                <a:srgbClr val="FFFFFF"/>
              </a:solidFill>
              <a:latin typeface="Arial" pitchFamily="34" charset="0"/>
              <a:cs typeface="Arial" pitchFamily="34" charset="0"/>
            </a:endParaRPr>
          </a:p>
        </p:txBody>
      </p:sp>
      <p:sp>
        <p:nvSpPr>
          <p:cNvPr id="12" name="Text Placeholder 4"/>
          <p:cNvSpPr>
            <a:spLocks noGrp="1"/>
          </p:cNvSpPr>
          <p:nvPr>
            <p:ph type="body" sz="quarter" idx="23"/>
          </p:nvPr>
        </p:nvSpPr>
        <p:spPr>
          <a:xfrm>
            <a:off x="163515" y="176213"/>
            <a:ext cx="8791575" cy="711200"/>
          </a:xfrm>
        </p:spPr>
        <p:txBody>
          <a:bodyPr/>
          <a:lstStyle/>
          <a:p>
            <a:pPr marL="0" lvl="4" indent="0" algn="r" rtl="1" fontAlgn="auto">
              <a:spcAft>
                <a:spcPts val="600"/>
              </a:spcAft>
              <a:buNone/>
              <a:defRPr/>
            </a:pPr>
            <a:r>
              <a:rPr lang="ar-TN" sz="2200" b="1" dirty="0">
                <a:solidFill>
                  <a:srgbClr val="FF0000"/>
                </a:solidFill>
                <a:latin typeface="Simplified Arabic" panose="02020603050405020304" pitchFamily="18" charset="-78"/>
                <a:cs typeface="Simplified Arabic" panose="02020603050405020304" pitchFamily="18" charset="-78"/>
              </a:rPr>
              <a:t>أ</a:t>
            </a:r>
            <a:r>
              <a:rPr lang="ar-TN" sz="2200" b="1" dirty="0" smtClean="0">
                <a:solidFill>
                  <a:srgbClr val="FF0000"/>
                </a:solidFill>
                <a:latin typeface="Simplified Arabic" panose="02020603050405020304" pitchFamily="18" charset="-78"/>
                <a:cs typeface="Simplified Arabic" panose="02020603050405020304" pitchFamily="18" charset="-78"/>
              </a:rPr>
              <a:t>هم </a:t>
            </a:r>
            <a:r>
              <a:rPr lang="ar-TN" sz="2200" b="1" dirty="0">
                <a:solidFill>
                  <a:srgbClr val="FF0000"/>
                </a:solidFill>
                <a:latin typeface="Simplified Arabic" panose="02020603050405020304" pitchFamily="18" charset="-78"/>
                <a:cs typeface="Simplified Arabic" panose="02020603050405020304" pitchFamily="18" charset="-78"/>
              </a:rPr>
              <a:t>المشاريع والبرامج والإصلاحات لسنة </a:t>
            </a:r>
            <a:r>
              <a:rPr lang="ar-TN" sz="2000" b="1" dirty="0">
                <a:solidFill>
                  <a:srgbClr val="FF0000"/>
                </a:solidFill>
                <a:latin typeface="Times New Roman" panose="02020603050405020304" pitchFamily="18" charset="0"/>
                <a:cs typeface="Times New Roman" panose="02020603050405020304" pitchFamily="18" charset="0"/>
              </a:rPr>
              <a:t>2020</a:t>
            </a:r>
            <a:endParaRPr lang="ar-TN" sz="2400" b="1"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353196480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60856" name="think-cell Slide" r:id="rId5" imgW="360" imgH="360" progId="">
              <p:embed/>
            </p:oleObj>
          </a:graphicData>
        </a:graphic>
      </p:graphicFrame>
      <p:sp>
        <p:nvSpPr>
          <p:cNvPr id="9" name="Rectangle 8"/>
          <p:cNvSpPr/>
          <p:nvPr/>
        </p:nvSpPr>
        <p:spPr>
          <a:xfrm>
            <a:off x="7306344" y="1958195"/>
            <a:ext cx="945123" cy="610697"/>
          </a:xfrm>
          <a:prstGeom prst="rect">
            <a:avLst/>
          </a:prstGeom>
          <a:ln w="9525">
            <a:solidFill>
              <a:srgbClr val="980F39"/>
            </a:solidFill>
          </a:ln>
        </p:spPr>
        <p:style>
          <a:lnRef idx="2">
            <a:schemeClr val="accent2"/>
          </a:lnRef>
          <a:fillRef idx="1">
            <a:schemeClr val="lt1"/>
          </a:fillRef>
          <a:effectRef idx="0">
            <a:schemeClr val="accent2"/>
          </a:effectRef>
          <a:fontRef idx="minor">
            <a:schemeClr val="dk1"/>
          </a:fontRef>
        </p:style>
        <p:txBody>
          <a:bodyPr lIns="0" rIns="0" rtlCol="0" anchor="ctr" anchorCtr="0"/>
          <a:lstStyle/>
          <a:p>
            <a:pPr marL="92075" lvl="2" algn="r" defTabSz="182563" rtl="1"/>
            <a:r>
              <a:rPr lang="ar-TN" sz="2000" b="1" dirty="0" smtClean="0">
                <a:latin typeface="Simplified Arabic" pitchFamily="18" charset="-78"/>
                <a:cs typeface="Simplified Arabic" pitchFamily="18" charset="-78"/>
              </a:rPr>
              <a:t>  </a:t>
            </a:r>
            <a:r>
              <a:rPr lang="ar-TN" sz="2000" b="1" dirty="0" smtClean="0"/>
              <a:t>الفلاحة</a:t>
            </a:r>
            <a:endParaRPr lang="fr-FR" sz="2000" b="1" dirty="0"/>
          </a:p>
        </p:txBody>
      </p:sp>
      <p:sp>
        <p:nvSpPr>
          <p:cNvPr id="10" name="Rectangle 9"/>
          <p:cNvSpPr/>
          <p:nvPr/>
        </p:nvSpPr>
        <p:spPr>
          <a:xfrm>
            <a:off x="7306344" y="3942022"/>
            <a:ext cx="945123" cy="610697"/>
          </a:xfrm>
          <a:prstGeom prst="rect">
            <a:avLst/>
          </a:prstGeom>
          <a:ln w="9525">
            <a:solidFill>
              <a:srgbClr val="980F39"/>
            </a:solidFill>
          </a:ln>
        </p:spPr>
        <p:style>
          <a:lnRef idx="2">
            <a:schemeClr val="accent2"/>
          </a:lnRef>
          <a:fillRef idx="1">
            <a:schemeClr val="lt1"/>
          </a:fillRef>
          <a:effectRef idx="0">
            <a:schemeClr val="accent2"/>
          </a:effectRef>
          <a:fontRef idx="minor">
            <a:schemeClr val="dk1"/>
          </a:fontRef>
        </p:style>
        <p:txBody>
          <a:bodyPr lIns="0" rIns="0" rtlCol="0" anchor="ctr" anchorCtr="0"/>
          <a:lstStyle/>
          <a:p>
            <a:pPr marL="92075" lvl="2" algn="r" defTabSz="182563" rtl="1"/>
            <a:r>
              <a:rPr lang="ar-TN" sz="2000" b="1" dirty="0" smtClean="0">
                <a:latin typeface="Simplified Arabic" pitchFamily="18" charset="-78"/>
                <a:cs typeface="Simplified Arabic" pitchFamily="18" charset="-78"/>
              </a:rPr>
              <a:t>  </a:t>
            </a:r>
            <a:r>
              <a:rPr lang="ar-TN" sz="2000" b="1" dirty="0" smtClean="0"/>
              <a:t>الماء</a:t>
            </a:r>
            <a:endParaRPr lang="fr-FR" sz="2000" b="1" dirty="0"/>
          </a:p>
        </p:txBody>
      </p:sp>
      <p:sp>
        <p:nvSpPr>
          <p:cNvPr id="14" name="Rectangle 13"/>
          <p:cNvSpPr/>
          <p:nvPr/>
        </p:nvSpPr>
        <p:spPr>
          <a:xfrm>
            <a:off x="324231" y="1285122"/>
            <a:ext cx="6480000" cy="1775541"/>
          </a:xfrm>
          <a:prstGeom prst="rect">
            <a:avLst/>
          </a:prstGeom>
          <a:ln w="9525">
            <a:solidFill>
              <a:srgbClr val="980F39"/>
            </a:solidFill>
          </a:ln>
        </p:spPr>
        <p:style>
          <a:lnRef idx="2">
            <a:schemeClr val="accent2"/>
          </a:lnRef>
          <a:fillRef idx="1">
            <a:schemeClr val="lt1"/>
          </a:fillRef>
          <a:effectRef idx="0">
            <a:schemeClr val="accent2"/>
          </a:effectRef>
          <a:fontRef idx="minor">
            <a:schemeClr val="dk1"/>
          </a:fontRef>
        </p:style>
        <p:txBody>
          <a:bodyPr lIns="91440" tIns="91440" rIns="91440" bIns="91440" rtlCol="0" anchor="ctr"/>
          <a:lstStyle/>
          <a:p>
            <a:pPr marL="361950" lvl="1" indent="-361950" algn="just" rtl="1">
              <a:spcBef>
                <a:spcPts val="300"/>
              </a:spcBef>
              <a:spcAft>
                <a:spcPts val="300"/>
              </a:spcAft>
              <a:buClr>
                <a:srgbClr val="E51B2E"/>
              </a:buClr>
              <a:buSzPct val="100000"/>
              <a:buFont typeface="Arial" pitchFamily="34" charset="0"/>
              <a:buChar char="•"/>
              <a:defRPr/>
            </a:pPr>
            <a:r>
              <a:rPr lang="ar-TN" sz="1600" b="1" dirty="0" smtClean="0">
                <a:solidFill>
                  <a:schemeClr val="tx1"/>
                </a:solidFill>
              </a:rPr>
              <a:t>مواصلة تهيئة المناطق </a:t>
            </a:r>
            <a:r>
              <a:rPr lang="ar-TN" sz="1600" b="1" dirty="0" err="1" smtClean="0">
                <a:solidFill>
                  <a:schemeClr val="tx1"/>
                </a:solidFill>
              </a:rPr>
              <a:t>السقوية</a:t>
            </a:r>
            <a:r>
              <a:rPr lang="ar-TN" sz="1600" b="1" dirty="0" smtClean="0">
                <a:solidFill>
                  <a:schemeClr val="tx1"/>
                </a:solidFill>
              </a:rPr>
              <a:t> العمومية الكبرى بالشمال والوسط على مساحة </a:t>
            </a:r>
            <a:r>
              <a:rPr lang="ar-TN" sz="1600" b="1" dirty="0" err="1" smtClean="0">
                <a:solidFill>
                  <a:schemeClr val="tx1"/>
                </a:solidFill>
              </a:rPr>
              <a:t>جملية</a:t>
            </a:r>
            <a:r>
              <a:rPr lang="ar-TN" sz="1600" b="1" dirty="0" smtClean="0">
                <a:solidFill>
                  <a:schemeClr val="tx1"/>
                </a:solidFill>
              </a:rPr>
              <a:t> 35 ألف هك</a:t>
            </a:r>
          </a:p>
          <a:p>
            <a:pPr marL="361950" lvl="1" indent="-361950" algn="just" rtl="1">
              <a:spcBef>
                <a:spcPts val="300"/>
              </a:spcBef>
              <a:spcAft>
                <a:spcPts val="300"/>
              </a:spcAft>
              <a:buClr>
                <a:srgbClr val="E51B2E"/>
              </a:buClr>
              <a:buSzPct val="100000"/>
              <a:buFont typeface="Arial" pitchFamily="34" charset="0"/>
              <a:buChar char="•"/>
              <a:defRPr/>
            </a:pPr>
            <a:r>
              <a:rPr lang="ar-TN" sz="1600" b="1" dirty="0" smtClean="0">
                <a:solidFill>
                  <a:schemeClr val="tx1"/>
                </a:solidFill>
              </a:rPr>
              <a:t>انطلاق برنامج تأهيل المستغلات الفلاحية لمزيد الرفع من الاستثمار الخاص بالقطاع (20 الف مستغلة فلاحية)</a:t>
            </a:r>
          </a:p>
          <a:p>
            <a:pPr marL="361950" lvl="1" indent="-361950" algn="just" rtl="1">
              <a:spcBef>
                <a:spcPts val="300"/>
              </a:spcBef>
              <a:spcAft>
                <a:spcPts val="300"/>
              </a:spcAft>
              <a:buClr>
                <a:srgbClr val="E51B2E"/>
              </a:buClr>
              <a:buSzPct val="100000"/>
              <a:buFont typeface="Arial" pitchFamily="34" charset="0"/>
              <a:buChar char="•"/>
              <a:defRPr/>
            </a:pPr>
            <a:r>
              <a:rPr lang="ar-TN" sz="1600" b="1" dirty="0" smtClean="0">
                <a:solidFill>
                  <a:schemeClr val="tx1"/>
                </a:solidFill>
                <a:latin typeface="Simplified Arabic" pitchFamily="18" charset="-78"/>
                <a:cs typeface="Simplified Arabic" pitchFamily="18" charset="-78"/>
              </a:rPr>
              <a:t>تدعيم </a:t>
            </a:r>
            <a:r>
              <a:rPr lang="ar-TN" sz="1600" b="1" dirty="0">
                <a:solidFill>
                  <a:schemeClr val="tx1"/>
                </a:solidFill>
                <a:latin typeface="Simplified Arabic" pitchFamily="18" charset="-78"/>
                <a:cs typeface="Simplified Arabic" pitchFamily="18" charset="-78"/>
              </a:rPr>
              <a:t>وكالة حماية الإنتاج الفلاحي </a:t>
            </a:r>
            <a:r>
              <a:rPr lang="ar-TN" sz="1600" b="1" dirty="0" err="1" smtClean="0">
                <a:solidFill>
                  <a:schemeClr val="tx1"/>
                </a:solidFill>
                <a:latin typeface="Simplified Arabic" pitchFamily="18" charset="-78"/>
                <a:cs typeface="Simplified Arabic" pitchFamily="18" charset="-78"/>
              </a:rPr>
              <a:t>بتاهيل</a:t>
            </a:r>
            <a:r>
              <a:rPr lang="ar-TN" sz="1600" b="1" dirty="0" smtClean="0">
                <a:solidFill>
                  <a:schemeClr val="tx1"/>
                </a:solidFill>
                <a:latin typeface="Simplified Arabic" pitchFamily="18" charset="-78"/>
                <a:cs typeface="Simplified Arabic" pitchFamily="18" charset="-78"/>
              </a:rPr>
              <a:t> تجهيزات قديمة (طائرات مداواة)  و اقتناء 10 </a:t>
            </a:r>
            <a:r>
              <a:rPr lang="ar-TN" sz="1600" b="1" dirty="0" err="1" smtClean="0">
                <a:solidFill>
                  <a:schemeClr val="tx1"/>
                </a:solidFill>
                <a:latin typeface="Simplified Arabic" pitchFamily="18" charset="-78"/>
                <a:cs typeface="Simplified Arabic" pitchFamily="18" charset="-78"/>
              </a:rPr>
              <a:t>درون</a:t>
            </a:r>
            <a:r>
              <a:rPr lang="ar-TN" sz="1600" b="1" dirty="0" smtClean="0">
                <a:solidFill>
                  <a:schemeClr val="tx1"/>
                </a:solidFill>
                <a:latin typeface="Simplified Arabic" pitchFamily="18" charset="-78"/>
                <a:cs typeface="Simplified Arabic" pitchFamily="18" charset="-78"/>
              </a:rPr>
              <a:t> لتعصير خدماتها لدعم التدخل السريع لحماية للمنتوجات الفلاحية</a:t>
            </a:r>
            <a:endParaRPr lang="ar-TN" sz="1600" b="1" dirty="0">
              <a:solidFill>
                <a:schemeClr val="tx1"/>
              </a:solidFill>
              <a:latin typeface="Simplified Arabic" pitchFamily="18" charset="-78"/>
              <a:cs typeface="Simplified Arabic" pitchFamily="18" charset="-78"/>
            </a:endParaRPr>
          </a:p>
        </p:txBody>
      </p:sp>
      <p:sp>
        <p:nvSpPr>
          <p:cNvPr id="15" name="Rectangle 14"/>
          <p:cNvSpPr/>
          <p:nvPr/>
        </p:nvSpPr>
        <p:spPr>
          <a:xfrm>
            <a:off x="338196" y="3435919"/>
            <a:ext cx="6480000" cy="1802921"/>
          </a:xfrm>
          <a:prstGeom prst="rect">
            <a:avLst/>
          </a:prstGeom>
          <a:ln w="9525">
            <a:solidFill>
              <a:srgbClr val="980F39"/>
            </a:solidFill>
          </a:ln>
        </p:spPr>
        <p:style>
          <a:lnRef idx="2">
            <a:schemeClr val="accent2"/>
          </a:lnRef>
          <a:fillRef idx="1">
            <a:schemeClr val="lt1"/>
          </a:fillRef>
          <a:effectRef idx="0">
            <a:schemeClr val="accent2"/>
          </a:effectRef>
          <a:fontRef idx="minor">
            <a:schemeClr val="dk1"/>
          </a:fontRef>
        </p:style>
        <p:txBody>
          <a:bodyPr lIns="91440" tIns="91440" rIns="91440" bIns="91440" rtlCol="0" anchor="ctr"/>
          <a:lstStyle/>
          <a:p>
            <a:pPr marL="361950" lvl="1" indent="-361950" algn="just" rtl="1">
              <a:spcBef>
                <a:spcPts val="300"/>
              </a:spcBef>
              <a:spcAft>
                <a:spcPts val="1200"/>
              </a:spcAft>
              <a:buClr>
                <a:srgbClr val="E51B2E"/>
              </a:buClr>
              <a:buSzPct val="100000"/>
              <a:buFont typeface="Arial" pitchFamily="34" charset="0"/>
              <a:buChar char="•"/>
              <a:defRPr/>
            </a:pPr>
            <a:r>
              <a:rPr lang="ar-TN" sz="1600" b="1" dirty="0" smtClean="0">
                <a:solidFill>
                  <a:schemeClr val="tx1"/>
                </a:solidFill>
              </a:rPr>
              <a:t>مواصلة </a:t>
            </a:r>
            <a:r>
              <a:rPr lang="ar-TN" sz="1600" b="1" dirty="0">
                <a:solidFill>
                  <a:schemeClr val="tx1"/>
                </a:solidFill>
              </a:rPr>
              <a:t>انجاز سد ملاق العلوي وخزاني </a:t>
            </a:r>
            <a:r>
              <a:rPr lang="ar-TN" sz="1600" b="1" dirty="0" err="1">
                <a:solidFill>
                  <a:schemeClr val="tx1"/>
                </a:solidFill>
              </a:rPr>
              <a:t>السعیدة</a:t>
            </a:r>
            <a:r>
              <a:rPr lang="ar-TN" sz="1600" b="1" dirty="0">
                <a:solidFill>
                  <a:schemeClr val="tx1"/>
                </a:solidFill>
              </a:rPr>
              <a:t> والقلعة </a:t>
            </a:r>
            <a:r>
              <a:rPr lang="ar-TN" sz="1600" b="1" dirty="0" smtClean="0">
                <a:solidFill>
                  <a:schemeClr val="tx1"/>
                </a:solidFill>
              </a:rPr>
              <a:t>الكبرى والرفع من طاقة سد </a:t>
            </a:r>
            <a:r>
              <a:rPr lang="ar-TN" sz="1600" b="1" dirty="0" err="1" smtClean="0">
                <a:solidFill>
                  <a:schemeClr val="tx1"/>
                </a:solidFill>
              </a:rPr>
              <a:t>بوهرتمة</a:t>
            </a:r>
            <a:r>
              <a:rPr lang="ar-TN" sz="1600" b="1" dirty="0" smtClean="0">
                <a:solidFill>
                  <a:schemeClr val="tx1"/>
                </a:solidFill>
                <a:latin typeface="Simplified Arabic" pitchFamily="18" charset="-78"/>
                <a:cs typeface="Simplified Arabic" pitchFamily="18" charset="-78"/>
              </a:rPr>
              <a:t>. </a:t>
            </a:r>
            <a:endParaRPr lang="ar-TN" sz="1600" b="1" dirty="0">
              <a:solidFill>
                <a:schemeClr val="tx1"/>
              </a:solidFill>
              <a:latin typeface="Simplified Arabic" pitchFamily="18" charset="-78"/>
              <a:cs typeface="Simplified Arabic" pitchFamily="18" charset="-78"/>
            </a:endParaRPr>
          </a:p>
          <a:p>
            <a:pPr marL="361950" lvl="1" indent="-361950" algn="just" rtl="1">
              <a:spcBef>
                <a:spcPts val="300"/>
              </a:spcBef>
              <a:spcAft>
                <a:spcPts val="1200"/>
              </a:spcAft>
              <a:buClr>
                <a:srgbClr val="E51B2E"/>
              </a:buClr>
              <a:buSzPct val="100000"/>
              <a:buFont typeface="Arial" pitchFamily="34" charset="0"/>
              <a:buChar char="•"/>
              <a:defRPr/>
            </a:pPr>
            <a:r>
              <a:rPr lang="ar-TN" sz="1600" b="1" dirty="0">
                <a:solidFill>
                  <a:schemeClr val="tx1"/>
                </a:solidFill>
                <a:latin typeface="Simplified Arabic" pitchFamily="18" charset="-78"/>
                <a:cs typeface="Simplified Arabic" pitchFamily="18" charset="-78"/>
              </a:rPr>
              <a:t>انطلاق انجاز سدي </a:t>
            </a:r>
            <a:r>
              <a:rPr lang="ar-TN" sz="1600" b="1" dirty="0" err="1">
                <a:solidFill>
                  <a:schemeClr val="tx1"/>
                </a:solidFill>
                <a:latin typeface="Simplified Arabic" pitchFamily="18" charset="-78"/>
                <a:cs typeface="Simplified Arabic" pitchFamily="18" charset="-78"/>
              </a:rPr>
              <a:t>تاسة</a:t>
            </a:r>
            <a:r>
              <a:rPr lang="ar-TN" sz="1600" b="1" dirty="0">
                <a:solidFill>
                  <a:schemeClr val="tx1"/>
                </a:solidFill>
                <a:latin typeface="Simplified Arabic" pitchFamily="18" charset="-78"/>
                <a:cs typeface="Simplified Arabic" pitchFamily="18" charset="-78"/>
              </a:rPr>
              <a:t> وخلاد </a:t>
            </a:r>
          </a:p>
          <a:p>
            <a:pPr marL="361950" lvl="1" indent="-361950" algn="just" rtl="1">
              <a:spcBef>
                <a:spcPts val="300"/>
              </a:spcBef>
              <a:spcAft>
                <a:spcPts val="1200"/>
              </a:spcAft>
              <a:buClr>
                <a:srgbClr val="E51B2E"/>
              </a:buClr>
              <a:buSzPct val="100000"/>
              <a:buFont typeface="Arial" pitchFamily="34" charset="0"/>
              <a:buChar char="•"/>
              <a:defRPr/>
            </a:pPr>
            <a:r>
              <a:rPr lang="ar-TN" sz="1600" b="1" dirty="0" smtClean="0">
                <a:solidFill>
                  <a:schemeClr val="tx1"/>
                </a:solidFill>
              </a:rPr>
              <a:t>انطلاق اشغال محطة تحلية مياه البحر بكل من صفاقس </a:t>
            </a:r>
            <a:r>
              <a:rPr lang="ar-TN" sz="1600" b="1" dirty="0" err="1" smtClean="0">
                <a:solidFill>
                  <a:schemeClr val="tx1"/>
                </a:solidFill>
              </a:rPr>
              <a:t>وقرقنة</a:t>
            </a:r>
            <a:r>
              <a:rPr lang="ar-TN" sz="1600" b="1" dirty="0" smtClean="0">
                <a:solidFill>
                  <a:schemeClr val="tx1"/>
                </a:solidFill>
              </a:rPr>
              <a:t> ومواصلة اشغال محطة التحلية بقابس وسوسة</a:t>
            </a:r>
            <a:endParaRPr lang="fr-FR" sz="1600" b="1" dirty="0">
              <a:solidFill>
                <a:schemeClr val="tx1"/>
              </a:solidFill>
            </a:endParaRPr>
          </a:p>
        </p:txBody>
      </p:sp>
      <p:sp>
        <p:nvSpPr>
          <p:cNvPr id="18" name="Isosceles Triangle 65"/>
          <p:cNvSpPr/>
          <p:nvPr/>
        </p:nvSpPr>
        <p:spPr>
          <a:xfrm rot="16200000">
            <a:off x="6818768" y="2195693"/>
            <a:ext cx="620412" cy="145416"/>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latin typeface="Arial" pitchFamily="34" charset="0"/>
              <a:cs typeface="Arial" pitchFamily="34" charset="0"/>
            </a:endParaRPr>
          </a:p>
        </p:txBody>
      </p:sp>
      <p:sp>
        <p:nvSpPr>
          <p:cNvPr id="19" name="Isosceles Triangle 65"/>
          <p:cNvSpPr/>
          <p:nvPr/>
        </p:nvSpPr>
        <p:spPr>
          <a:xfrm rot="16200000">
            <a:off x="6818768" y="4169805"/>
            <a:ext cx="620412" cy="145416"/>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latin typeface="Arial" pitchFamily="34" charset="0"/>
              <a:cs typeface="Arial" pitchFamily="34" charset="0"/>
            </a:endParaRPr>
          </a:p>
        </p:txBody>
      </p:sp>
      <p:sp>
        <p:nvSpPr>
          <p:cNvPr id="16" name="Text Placeholder 4"/>
          <p:cNvSpPr>
            <a:spLocks noGrp="1"/>
          </p:cNvSpPr>
          <p:nvPr>
            <p:ph type="body" sz="quarter" idx="23"/>
          </p:nvPr>
        </p:nvSpPr>
        <p:spPr>
          <a:xfrm>
            <a:off x="163515" y="176213"/>
            <a:ext cx="8791575" cy="711200"/>
          </a:xfrm>
        </p:spPr>
        <p:txBody>
          <a:bodyPr/>
          <a:lstStyle/>
          <a:p>
            <a:pPr marL="0" lvl="4" indent="0" algn="ctr" rtl="1" fontAlgn="auto">
              <a:spcAft>
                <a:spcPts val="600"/>
              </a:spcAft>
              <a:buNone/>
              <a:defRPr/>
            </a:pPr>
            <a:r>
              <a:rPr lang="ar-TN" sz="2200" b="1" dirty="0">
                <a:solidFill>
                  <a:srgbClr val="FF0000"/>
                </a:solidFill>
                <a:latin typeface="Simplified Arabic" panose="02020603050405020304" pitchFamily="18" charset="-78"/>
                <a:cs typeface="Simplified Arabic" panose="02020603050405020304" pitchFamily="18" charset="-78"/>
              </a:rPr>
              <a:t>أ</a:t>
            </a:r>
            <a:r>
              <a:rPr lang="ar-TN" sz="2200" b="1" dirty="0" smtClean="0">
                <a:solidFill>
                  <a:srgbClr val="FF0000"/>
                </a:solidFill>
                <a:latin typeface="Simplified Arabic" panose="02020603050405020304" pitchFamily="18" charset="-78"/>
                <a:cs typeface="Simplified Arabic" panose="02020603050405020304" pitchFamily="18" charset="-78"/>
              </a:rPr>
              <a:t>هم </a:t>
            </a:r>
            <a:r>
              <a:rPr lang="ar-TN" sz="2200" b="1" dirty="0">
                <a:solidFill>
                  <a:srgbClr val="FF0000"/>
                </a:solidFill>
                <a:latin typeface="Simplified Arabic" panose="02020603050405020304" pitchFamily="18" charset="-78"/>
                <a:cs typeface="Simplified Arabic" panose="02020603050405020304" pitchFamily="18" charset="-78"/>
              </a:rPr>
              <a:t>المشاريع والبرامج والإصلاحات لسنة </a:t>
            </a:r>
            <a:r>
              <a:rPr lang="ar-TN" sz="2000" b="1" dirty="0">
                <a:solidFill>
                  <a:srgbClr val="FF0000"/>
                </a:solidFill>
                <a:latin typeface="Times New Roman" panose="02020603050405020304" pitchFamily="18" charset="0"/>
                <a:cs typeface="Times New Roman" panose="02020603050405020304" pitchFamily="18" charset="0"/>
              </a:rPr>
              <a:t>2020</a:t>
            </a:r>
            <a:endParaRPr lang="ar-TN" sz="2400" b="1"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1131500124"/>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77213" name="think-cell Slide" r:id="rId5" imgW="360" imgH="360" progId="">
              <p:embed/>
            </p:oleObj>
          </a:graphicData>
        </a:graphic>
      </p:graphicFrame>
      <p:sp>
        <p:nvSpPr>
          <p:cNvPr id="11" name="Rectangle 10"/>
          <p:cNvSpPr/>
          <p:nvPr/>
        </p:nvSpPr>
        <p:spPr>
          <a:xfrm>
            <a:off x="7043771" y="2905072"/>
            <a:ext cx="1323853" cy="562230"/>
          </a:xfrm>
          <a:prstGeom prst="rect">
            <a:avLst/>
          </a:prstGeom>
          <a:ln w="9525">
            <a:solidFill>
              <a:srgbClr val="980F39"/>
            </a:solidFill>
          </a:ln>
        </p:spPr>
        <p:style>
          <a:lnRef idx="2">
            <a:schemeClr val="accent2"/>
          </a:lnRef>
          <a:fillRef idx="1">
            <a:schemeClr val="lt1"/>
          </a:fillRef>
          <a:effectRef idx="0">
            <a:schemeClr val="accent2"/>
          </a:effectRef>
          <a:fontRef idx="minor">
            <a:schemeClr val="dk1"/>
          </a:fontRef>
        </p:style>
        <p:txBody>
          <a:bodyPr lIns="0" rIns="0" rtlCol="0" anchor="ctr" anchorCtr="0"/>
          <a:lstStyle/>
          <a:p>
            <a:pPr marL="92075" lvl="2" algn="ctr" defTabSz="182563" rtl="1"/>
            <a:r>
              <a:rPr lang="ar-TN" sz="1600" b="1" dirty="0" smtClean="0"/>
              <a:t>الطاقة</a:t>
            </a:r>
            <a:endParaRPr lang="fr-FR" sz="1600" b="1" dirty="0"/>
          </a:p>
        </p:txBody>
      </p:sp>
      <p:sp>
        <p:nvSpPr>
          <p:cNvPr id="12" name="Isosceles Triangle 65"/>
          <p:cNvSpPr/>
          <p:nvPr/>
        </p:nvSpPr>
        <p:spPr>
          <a:xfrm rot="16200000">
            <a:off x="6543559" y="3142570"/>
            <a:ext cx="620412" cy="145416"/>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latin typeface="Arial" pitchFamily="34" charset="0"/>
              <a:cs typeface="Arial" pitchFamily="34" charset="0"/>
            </a:endParaRPr>
          </a:p>
        </p:txBody>
      </p:sp>
      <p:sp>
        <p:nvSpPr>
          <p:cNvPr id="13" name="Rectangle 12"/>
          <p:cNvSpPr/>
          <p:nvPr/>
        </p:nvSpPr>
        <p:spPr>
          <a:xfrm>
            <a:off x="83799" y="1164566"/>
            <a:ext cx="6480000" cy="4356340"/>
          </a:xfrm>
          <a:prstGeom prst="rect">
            <a:avLst/>
          </a:prstGeom>
          <a:ln w="9525">
            <a:solidFill>
              <a:srgbClr val="980F39"/>
            </a:solidFill>
          </a:ln>
        </p:spPr>
        <p:style>
          <a:lnRef idx="2">
            <a:schemeClr val="accent2"/>
          </a:lnRef>
          <a:fillRef idx="1">
            <a:schemeClr val="lt1"/>
          </a:fillRef>
          <a:effectRef idx="0">
            <a:schemeClr val="accent2"/>
          </a:effectRef>
          <a:fontRef idx="minor">
            <a:schemeClr val="dk1"/>
          </a:fontRef>
        </p:style>
        <p:txBody>
          <a:bodyPr lIns="68573" tIns="68573" rIns="68573" bIns="68573" rtlCol="0" anchor="ctr"/>
          <a:lstStyle/>
          <a:p>
            <a:pPr marL="285750" lvl="0" indent="-285750" algn="just" defTabSz="914400" rtl="1">
              <a:spcBef>
                <a:spcPts val="600"/>
              </a:spcBef>
              <a:spcAft>
                <a:spcPts val="1200"/>
              </a:spcAft>
              <a:buClr>
                <a:srgbClr val="FF0000"/>
              </a:buClr>
              <a:buFont typeface="Arial" panose="020B0604020202020204" pitchFamily="34" charset="0"/>
              <a:buChar char="•"/>
            </a:pPr>
            <a:r>
              <a:rPr lang="ar-TN" sz="1600" b="1" dirty="0" smtClean="0">
                <a:solidFill>
                  <a:schemeClr val="tx1"/>
                </a:solidFill>
                <a:latin typeface="+mj-lt"/>
                <a:cs typeface="Simplified Arabic" panose="02020603050405020304" pitchFamily="18" charset="-78"/>
              </a:rPr>
              <a:t>ربط </a:t>
            </a:r>
            <a:r>
              <a:rPr lang="ar-TN" sz="1600" b="1" dirty="0">
                <a:solidFill>
                  <a:schemeClr val="tx1"/>
                </a:solidFill>
                <a:latin typeface="+mj-lt"/>
                <a:cs typeface="Simplified Arabic" panose="02020603050405020304" pitchFamily="18" charset="-78"/>
              </a:rPr>
              <a:t>العديد من المناطق بالغاز الطبيعي على غرار سيدي بوزيد، جلمة، </a:t>
            </a:r>
            <a:r>
              <a:rPr lang="ar-TN" sz="1600" b="1" dirty="0" err="1">
                <a:solidFill>
                  <a:schemeClr val="tx1"/>
                </a:solidFill>
                <a:latin typeface="+mj-lt"/>
                <a:cs typeface="Simplified Arabic" panose="02020603050405020304" pitchFamily="18" charset="-78"/>
              </a:rPr>
              <a:t>سبيطلة</a:t>
            </a:r>
            <a:r>
              <a:rPr lang="ar-TN" sz="1600" b="1" dirty="0">
                <a:solidFill>
                  <a:schemeClr val="tx1"/>
                </a:solidFill>
                <a:latin typeface="+mj-lt"/>
                <a:cs typeface="Simplified Arabic" panose="02020603050405020304" pitchFamily="18" charset="-78"/>
              </a:rPr>
              <a:t>، لسودة وحاجب العيون و19 منطقة بلدية بالشمال الغربي </a:t>
            </a:r>
            <a:r>
              <a:rPr lang="ar-TN" sz="1600" b="1" dirty="0" err="1">
                <a:solidFill>
                  <a:schemeClr val="tx1"/>
                </a:solidFill>
                <a:latin typeface="+mj-lt"/>
                <a:cs typeface="Simplified Arabic" panose="02020603050405020304" pitchFamily="18" charset="-78"/>
              </a:rPr>
              <a:t>وجرزونة</a:t>
            </a:r>
            <a:r>
              <a:rPr lang="ar-TN" sz="1600" b="1" dirty="0">
                <a:solidFill>
                  <a:schemeClr val="tx1"/>
                </a:solidFill>
                <a:latin typeface="+mj-lt"/>
                <a:cs typeface="Simplified Arabic" panose="02020603050405020304" pitchFamily="18" charset="-78"/>
              </a:rPr>
              <a:t> ومبطوح وخروبة من ولاية </a:t>
            </a:r>
            <a:r>
              <a:rPr lang="ar-TN" sz="1600" b="1" dirty="0" smtClean="0">
                <a:solidFill>
                  <a:schemeClr val="tx1"/>
                </a:solidFill>
                <a:latin typeface="+mj-lt"/>
                <a:cs typeface="Simplified Arabic" panose="02020603050405020304" pitchFamily="18" charset="-78"/>
              </a:rPr>
              <a:t>بنزرت،</a:t>
            </a:r>
          </a:p>
          <a:p>
            <a:pPr marL="285750" lvl="0" indent="-285750" algn="just" defTabSz="914400" rtl="1">
              <a:spcBef>
                <a:spcPts val="600"/>
              </a:spcBef>
              <a:spcAft>
                <a:spcPts val="1200"/>
              </a:spcAft>
              <a:buClr>
                <a:srgbClr val="FF0000"/>
              </a:buClr>
              <a:buFont typeface="Arial" panose="020B0604020202020204" pitchFamily="34" charset="0"/>
              <a:buChar char="•"/>
            </a:pPr>
            <a:r>
              <a:rPr lang="ar-TN" sz="1600" b="1" dirty="0" smtClean="0">
                <a:solidFill>
                  <a:schemeClr val="tx1"/>
                </a:solidFill>
                <a:latin typeface="+mj-lt"/>
                <a:cs typeface="Simplified Arabic" panose="02020603050405020304" pitchFamily="18" charset="-78"/>
              </a:rPr>
              <a:t>إنجاز أنبوب </a:t>
            </a:r>
            <a:r>
              <a:rPr lang="ar-TN" sz="1600" b="1" dirty="0">
                <a:solidFill>
                  <a:schemeClr val="tx1"/>
                </a:solidFill>
                <a:latin typeface="+mj-lt"/>
                <a:cs typeface="Simplified Arabic" panose="02020603050405020304" pitchFamily="18" charset="-78"/>
              </a:rPr>
              <a:t>الغاز الطبيعي "</a:t>
            </a:r>
            <a:r>
              <a:rPr lang="ar-TN" sz="1600" b="1" dirty="0" err="1">
                <a:solidFill>
                  <a:schemeClr val="tx1"/>
                </a:solidFill>
                <a:latin typeface="+mj-lt"/>
                <a:cs typeface="Simplified Arabic" panose="02020603050405020304" pitchFamily="18" charset="-78"/>
              </a:rPr>
              <a:t>المرناقية</a:t>
            </a:r>
            <a:r>
              <a:rPr lang="ar-TN" sz="1600" b="1" dirty="0">
                <a:solidFill>
                  <a:schemeClr val="tx1"/>
                </a:solidFill>
                <a:latin typeface="+mj-lt"/>
                <a:cs typeface="Simplified Arabic" panose="02020603050405020304" pitchFamily="18" charset="-78"/>
              </a:rPr>
              <a:t> - باجة - </a:t>
            </a:r>
            <a:r>
              <a:rPr lang="ar-TN" sz="1600" b="1" dirty="0" err="1">
                <a:solidFill>
                  <a:schemeClr val="tx1"/>
                </a:solidFill>
                <a:latin typeface="+mj-lt"/>
                <a:cs typeface="Simplified Arabic" panose="02020603050405020304" pitchFamily="18" charset="-78"/>
              </a:rPr>
              <a:t>الدهماني</a:t>
            </a:r>
            <a:r>
              <a:rPr lang="ar-TN" sz="1600" b="1" dirty="0">
                <a:solidFill>
                  <a:schemeClr val="tx1"/>
                </a:solidFill>
                <a:latin typeface="+mj-lt"/>
                <a:cs typeface="Simplified Arabic" panose="02020603050405020304" pitchFamily="18" charset="-78"/>
              </a:rPr>
              <a:t>"  بكلفة 130 م د </a:t>
            </a:r>
            <a:r>
              <a:rPr lang="ar-TN" sz="1600" b="1" dirty="0" smtClean="0">
                <a:solidFill>
                  <a:schemeClr val="tx1"/>
                </a:solidFill>
                <a:latin typeface="+mj-lt"/>
                <a:cs typeface="Simplified Arabic" panose="02020603050405020304" pitchFamily="18" charset="-78"/>
              </a:rPr>
              <a:t>ومدة الانجاز </a:t>
            </a:r>
            <a:r>
              <a:rPr lang="ar-TN" sz="1600" b="1" dirty="0">
                <a:solidFill>
                  <a:schemeClr val="tx1"/>
                </a:solidFill>
                <a:latin typeface="+mj-lt"/>
                <a:cs typeface="Simplified Arabic" panose="02020603050405020304" pitchFamily="18" charset="-78"/>
              </a:rPr>
              <a:t>2020 -2021</a:t>
            </a:r>
            <a:endParaRPr lang="ar-TN" sz="1600" b="1" dirty="0" smtClean="0">
              <a:solidFill>
                <a:schemeClr val="tx1"/>
              </a:solidFill>
              <a:latin typeface="+mj-lt"/>
              <a:cs typeface="Simplified Arabic" panose="02020603050405020304" pitchFamily="18" charset="-78"/>
            </a:endParaRPr>
          </a:p>
          <a:p>
            <a:pPr marL="285750" lvl="0" indent="-285750" algn="just" defTabSz="914400" rtl="1">
              <a:spcBef>
                <a:spcPts val="600"/>
              </a:spcBef>
              <a:spcAft>
                <a:spcPts val="1200"/>
              </a:spcAft>
              <a:buClr>
                <a:srgbClr val="FF0000"/>
              </a:buClr>
              <a:buFont typeface="Arial" panose="020B0604020202020204" pitchFamily="34" charset="0"/>
              <a:buChar char="•"/>
            </a:pPr>
            <a:r>
              <a:rPr lang="ar-TN" sz="1600" b="1" dirty="0" smtClean="0">
                <a:solidFill>
                  <a:schemeClr val="tx1"/>
                </a:solidFill>
                <a:latin typeface="+mj-lt"/>
                <a:cs typeface="Simplified Arabic" panose="02020603050405020304" pitchFamily="18" charset="-78"/>
              </a:rPr>
              <a:t>إنجاز مشروع </a:t>
            </a:r>
            <a:r>
              <a:rPr lang="ar-TN" sz="1600" b="1" dirty="0">
                <a:solidFill>
                  <a:schemeClr val="tx1"/>
                </a:solidFill>
                <a:latin typeface="+mj-lt"/>
                <a:cs typeface="Simplified Arabic" panose="02020603050405020304" pitchFamily="18" charset="-78"/>
              </a:rPr>
              <a:t>الشبكة الذكية بكلفة تناهز 250 م د ومدة الانجاز  بين 2020 -</a:t>
            </a:r>
            <a:r>
              <a:rPr lang="ar-TN" sz="1600" b="1" dirty="0" smtClean="0">
                <a:solidFill>
                  <a:schemeClr val="tx1"/>
                </a:solidFill>
                <a:latin typeface="+mj-lt"/>
                <a:cs typeface="Simplified Arabic" panose="02020603050405020304" pitchFamily="18" charset="-78"/>
              </a:rPr>
              <a:t>2021</a:t>
            </a:r>
          </a:p>
          <a:p>
            <a:pPr marL="285750" lvl="0" indent="-285750" algn="r" rtl="1" eaLnBrk="0" hangingPunct="0">
              <a:spcBef>
                <a:spcPts val="600"/>
              </a:spcBef>
              <a:spcAft>
                <a:spcPts val="1200"/>
              </a:spcAft>
              <a:buClr>
                <a:srgbClr val="FF0000"/>
              </a:buClr>
              <a:buFont typeface="Arial" panose="020B0604020202020204" pitchFamily="34" charset="0"/>
              <a:buChar char="•"/>
            </a:pPr>
            <a:r>
              <a:rPr lang="ar-SA" sz="1600" b="1" dirty="0" smtClean="0">
                <a:latin typeface="+mj-lt"/>
              </a:rPr>
              <a:t>إ</a:t>
            </a:r>
            <a:r>
              <a:rPr lang="ar-TN" sz="1600" b="1" dirty="0" err="1">
                <a:latin typeface="+mj-lt"/>
              </a:rPr>
              <a:t>ستكمال</a:t>
            </a:r>
            <a:r>
              <a:rPr lang="ar-SA" sz="1600" b="1" dirty="0">
                <a:latin typeface="+mj-lt"/>
              </a:rPr>
              <a:t> المشاريع الطاقية المبرمجة وخاصة مشروع تطوير امتياز "</a:t>
            </a:r>
            <a:r>
              <a:rPr lang="ar-SA" sz="1600" b="1" dirty="0" smtClean="0">
                <a:latin typeface="+mj-lt"/>
              </a:rPr>
              <a:t>نوارة</a:t>
            </a:r>
            <a:r>
              <a:rPr lang="ar-TN" sz="1600" b="1" dirty="0" smtClean="0">
                <a:latin typeface="+mj-lt"/>
              </a:rPr>
              <a:t>"</a:t>
            </a:r>
          </a:p>
          <a:p>
            <a:pPr marL="285750" lvl="0" indent="-285750" algn="r" rtl="1" eaLnBrk="0" hangingPunct="0">
              <a:spcBef>
                <a:spcPts val="600"/>
              </a:spcBef>
              <a:spcAft>
                <a:spcPts val="1200"/>
              </a:spcAft>
              <a:buClr>
                <a:srgbClr val="FF0000"/>
              </a:buClr>
              <a:buFont typeface="Arial" panose="020B0604020202020204" pitchFamily="34" charset="0"/>
              <a:buChar char="•"/>
            </a:pPr>
            <a:r>
              <a:rPr lang="ar-SA" sz="1600" b="1" dirty="0" smtClean="0">
                <a:latin typeface="+mj-lt"/>
              </a:rPr>
              <a:t>الإعلان </a:t>
            </a:r>
            <a:r>
              <a:rPr lang="ar-SA" sz="1600" b="1" dirty="0">
                <a:latin typeface="+mj-lt"/>
              </a:rPr>
              <a:t>عن نتائج طلب العروض لإنتاج الكهرباء من الطاقة الشمسية </a:t>
            </a:r>
            <a:r>
              <a:rPr lang="ar-SA" sz="1600" b="1" dirty="0" err="1">
                <a:latin typeface="+mj-lt"/>
              </a:rPr>
              <a:t>الفولطاضوئية</a:t>
            </a:r>
            <a:r>
              <a:rPr lang="ar-SA" sz="1600" b="1" dirty="0">
                <a:latin typeface="+mj-lt"/>
              </a:rPr>
              <a:t> في إطار نظام اللزمات بقدرة إجمالية تعادل 500 ميغاواط وتناهز الاستثمارات من قبل الخواص 200 1 </a:t>
            </a:r>
            <a:r>
              <a:rPr lang="ar-TN" sz="1600" b="1" dirty="0">
                <a:solidFill>
                  <a:schemeClr val="tx1"/>
                </a:solidFill>
                <a:latin typeface="+mj-lt"/>
                <a:cs typeface="Simplified Arabic" panose="02020603050405020304" pitchFamily="18" charset="-78"/>
              </a:rPr>
              <a:t>م د</a:t>
            </a:r>
            <a:r>
              <a:rPr lang="ar-TN" sz="1600" b="1" dirty="0" smtClean="0">
                <a:latin typeface="+mj-lt"/>
              </a:rPr>
              <a:t>،</a:t>
            </a:r>
            <a:endParaRPr lang="ar-TN" sz="1600" b="1" dirty="0">
              <a:latin typeface="+mj-lt"/>
            </a:endParaRPr>
          </a:p>
          <a:p>
            <a:pPr marL="285750" lvl="0" indent="-285750" algn="r" rtl="1" eaLnBrk="0" hangingPunct="0">
              <a:spcBef>
                <a:spcPts val="600"/>
              </a:spcBef>
              <a:spcAft>
                <a:spcPts val="1200"/>
              </a:spcAft>
              <a:buClr>
                <a:srgbClr val="FF0000"/>
              </a:buClr>
              <a:buFont typeface="Arial" panose="020B0604020202020204" pitchFamily="34" charset="0"/>
              <a:buChar char="•"/>
            </a:pPr>
            <a:r>
              <a:rPr lang="ar-SA" sz="1600" b="1" dirty="0" smtClean="0">
                <a:latin typeface="+mj-lt"/>
              </a:rPr>
              <a:t>ان</a:t>
            </a:r>
            <a:r>
              <a:rPr lang="ar-TN" sz="1600" b="1" dirty="0" smtClean="0">
                <a:latin typeface="+mj-lt"/>
              </a:rPr>
              <a:t>ط</a:t>
            </a:r>
            <a:r>
              <a:rPr lang="ar-SA" sz="1600" b="1" dirty="0" smtClean="0">
                <a:latin typeface="+mj-lt"/>
              </a:rPr>
              <a:t>لاق </a:t>
            </a:r>
            <a:r>
              <a:rPr lang="ar-SA" sz="1600" b="1" dirty="0">
                <a:latin typeface="+mj-lt"/>
              </a:rPr>
              <a:t>انجاز 6 محطات </a:t>
            </a:r>
            <a:r>
              <a:rPr lang="ar-SA" sz="1600" b="1" dirty="0" err="1">
                <a:latin typeface="+mj-lt"/>
              </a:rPr>
              <a:t>فلطاضوئية</a:t>
            </a:r>
            <a:r>
              <a:rPr lang="ar-SA" sz="1600" b="1" dirty="0">
                <a:latin typeface="+mj-lt"/>
              </a:rPr>
              <a:t> بطاقة 300 ميغاواط </a:t>
            </a:r>
            <a:r>
              <a:rPr lang="ar-TN" sz="1600" b="1" dirty="0" smtClean="0">
                <a:latin typeface="+mj-lt"/>
              </a:rPr>
              <a:t>و</a:t>
            </a:r>
            <a:r>
              <a:rPr lang="ar-SA" sz="1600" b="1" dirty="0" smtClean="0"/>
              <a:t>محطة </a:t>
            </a:r>
            <a:r>
              <a:rPr lang="ar-SA" sz="1600" b="1" dirty="0"/>
              <a:t>الطاقة الهوائية </a:t>
            </a:r>
            <a:r>
              <a:rPr lang="ar-SA" sz="1600" b="1" dirty="0" err="1"/>
              <a:t>بطباقة</a:t>
            </a:r>
            <a:r>
              <a:rPr lang="ar-SA" sz="1600" b="1" dirty="0"/>
              <a:t> بطاقة 80 </a:t>
            </a:r>
            <a:r>
              <a:rPr lang="ar-SA" sz="1600" b="1" dirty="0" smtClean="0"/>
              <a:t>ميغاواط</a:t>
            </a:r>
            <a:r>
              <a:rPr lang="ar-TN" sz="1600" b="1" dirty="0" smtClean="0"/>
              <a:t> </a:t>
            </a:r>
            <a:r>
              <a:rPr lang="ar-TN" sz="1600" b="1" dirty="0" err="1" smtClean="0"/>
              <a:t>وا</a:t>
            </a:r>
            <a:r>
              <a:rPr lang="ar-SA" sz="1600" b="1" dirty="0" smtClean="0"/>
              <a:t>لمحطة </a:t>
            </a:r>
            <a:r>
              <a:rPr lang="ar-SA" sz="1600" b="1" dirty="0" err="1"/>
              <a:t>الفلطا</a:t>
            </a:r>
            <a:r>
              <a:rPr lang="ar-TN" sz="1600" b="1" dirty="0"/>
              <a:t> </a:t>
            </a:r>
            <a:r>
              <a:rPr lang="ar-SA" sz="1600" b="1" dirty="0"/>
              <a:t>ضوئية توزر </a:t>
            </a:r>
            <a:r>
              <a:rPr lang="ar-TN" sz="1600" b="1" dirty="0"/>
              <a:t>2</a:t>
            </a:r>
            <a:r>
              <a:rPr lang="ar-SA" sz="1600" b="1" dirty="0"/>
              <a:t> بقدرة 10 ميغاواط</a:t>
            </a:r>
            <a:r>
              <a:rPr lang="ar-SA" sz="1600" b="1" dirty="0" smtClean="0"/>
              <a:t> </a:t>
            </a:r>
            <a:r>
              <a:rPr lang="ar-SA" sz="1600" b="1" dirty="0" smtClean="0">
                <a:latin typeface="+mj-lt"/>
              </a:rPr>
              <a:t>وبتكلفة</a:t>
            </a:r>
            <a:r>
              <a:rPr lang="ar-TN" sz="1600" b="1" dirty="0" smtClean="0">
                <a:latin typeface="+mj-lt"/>
              </a:rPr>
              <a:t> </a:t>
            </a:r>
            <a:r>
              <a:rPr lang="ar-TN" sz="1600" b="1" dirty="0" err="1" smtClean="0">
                <a:latin typeface="+mj-lt"/>
              </a:rPr>
              <a:t>جملية</a:t>
            </a:r>
            <a:r>
              <a:rPr lang="ar-TN" sz="1600" b="1" dirty="0" smtClean="0">
                <a:latin typeface="+mj-lt"/>
              </a:rPr>
              <a:t> تبلغ</a:t>
            </a:r>
            <a:r>
              <a:rPr lang="ar-SA" sz="1600" b="1" dirty="0" smtClean="0">
                <a:latin typeface="+mj-lt"/>
              </a:rPr>
              <a:t> </a:t>
            </a:r>
            <a:r>
              <a:rPr lang="ar-TN" sz="1600" b="1" dirty="0" smtClean="0">
                <a:latin typeface="+mj-lt"/>
              </a:rPr>
              <a:t>113</a:t>
            </a:r>
            <a:r>
              <a:rPr lang="ar-SA" sz="1600" b="1" dirty="0" smtClean="0">
                <a:latin typeface="+mj-lt"/>
              </a:rPr>
              <a:t>0 </a:t>
            </a:r>
            <a:r>
              <a:rPr lang="ar-SA" sz="1600" b="1" dirty="0" err="1" smtClean="0">
                <a:latin typeface="+mj-lt"/>
              </a:rPr>
              <a:t>م.د</a:t>
            </a:r>
            <a:r>
              <a:rPr lang="ar-TN" sz="1600" b="1" dirty="0">
                <a:latin typeface="+mj-lt"/>
              </a:rPr>
              <a:t>.</a:t>
            </a:r>
            <a:endParaRPr lang="ar-SA" sz="1600" b="1" dirty="0">
              <a:latin typeface="+mj-lt"/>
            </a:endParaRPr>
          </a:p>
        </p:txBody>
      </p:sp>
      <p:sp>
        <p:nvSpPr>
          <p:cNvPr id="16" name="Text Placeholder 4"/>
          <p:cNvSpPr>
            <a:spLocks noGrp="1"/>
          </p:cNvSpPr>
          <p:nvPr>
            <p:ph type="body" sz="quarter" idx="23"/>
          </p:nvPr>
        </p:nvSpPr>
        <p:spPr>
          <a:xfrm>
            <a:off x="163515" y="176213"/>
            <a:ext cx="8791575" cy="711200"/>
          </a:xfrm>
        </p:spPr>
        <p:txBody>
          <a:bodyPr/>
          <a:lstStyle/>
          <a:p>
            <a:pPr marL="0" lvl="4" indent="0" algn="ctr" rtl="1" fontAlgn="auto">
              <a:spcAft>
                <a:spcPts val="600"/>
              </a:spcAft>
              <a:buNone/>
              <a:defRPr/>
            </a:pPr>
            <a:r>
              <a:rPr lang="ar-TN" sz="2200" b="1" dirty="0">
                <a:solidFill>
                  <a:srgbClr val="FF0000"/>
                </a:solidFill>
                <a:latin typeface="Simplified Arabic" panose="02020603050405020304" pitchFamily="18" charset="-78"/>
                <a:cs typeface="Simplified Arabic" panose="02020603050405020304" pitchFamily="18" charset="-78"/>
              </a:rPr>
              <a:t>أ</a:t>
            </a:r>
            <a:r>
              <a:rPr lang="ar-TN" sz="2200" b="1" dirty="0" smtClean="0">
                <a:solidFill>
                  <a:srgbClr val="FF0000"/>
                </a:solidFill>
                <a:latin typeface="Simplified Arabic" panose="02020603050405020304" pitchFamily="18" charset="-78"/>
                <a:cs typeface="Simplified Arabic" panose="02020603050405020304" pitchFamily="18" charset="-78"/>
              </a:rPr>
              <a:t>هم </a:t>
            </a:r>
            <a:r>
              <a:rPr lang="ar-TN" sz="2200" b="1" dirty="0">
                <a:solidFill>
                  <a:srgbClr val="FF0000"/>
                </a:solidFill>
                <a:latin typeface="Simplified Arabic" panose="02020603050405020304" pitchFamily="18" charset="-78"/>
                <a:cs typeface="Simplified Arabic" panose="02020603050405020304" pitchFamily="18" charset="-78"/>
              </a:rPr>
              <a:t>المشاريع والبرامج والإصلاحات لسنة </a:t>
            </a:r>
            <a:r>
              <a:rPr lang="ar-TN" sz="2000" b="1" dirty="0">
                <a:solidFill>
                  <a:srgbClr val="FF0000"/>
                </a:solidFill>
                <a:latin typeface="Times New Roman" panose="02020603050405020304" pitchFamily="18" charset="0"/>
                <a:cs typeface="Times New Roman" panose="02020603050405020304" pitchFamily="18" charset="0"/>
              </a:rPr>
              <a:t>2020</a:t>
            </a:r>
            <a:endParaRPr lang="ar-TN" sz="2400" b="1"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86397406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128207" y="2638316"/>
            <a:ext cx="1620000" cy="792000"/>
          </a:xfrm>
          <a:prstGeom prst="rect">
            <a:avLst/>
          </a:prstGeom>
          <a:ln w="9525">
            <a:solidFill>
              <a:srgbClr val="980F39"/>
            </a:solidFill>
          </a:ln>
        </p:spPr>
        <p:style>
          <a:lnRef idx="2">
            <a:schemeClr val="accent2"/>
          </a:lnRef>
          <a:fillRef idx="1">
            <a:schemeClr val="lt1"/>
          </a:fillRef>
          <a:effectRef idx="0">
            <a:schemeClr val="accent2"/>
          </a:effectRef>
          <a:fontRef idx="minor">
            <a:schemeClr val="dk1"/>
          </a:fontRef>
        </p:style>
        <p:txBody>
          <a:bodyPr lIns="0" rIns="0" rtlCol="0" anchor="ctr"/>
          <a:lstStyle/>
          <a:p>
            <a:pPr marL="92075" lvl="2" algn="ctr" defTabSz="182563" rtl="1"/>
            <a:r>
              <a:rPr lang="ar-TN" sz="1600" b="1" dirty="0" smtClean="0"/>
              <a:t>الطرقات والجسور</a:t>
            </a:r>
            <a:endParaRPr lang="fr-FR" sz="1600" b="1" dirty="0"/>
          </a:p>
        </p:txBody>
      </p:sp>
      <p:sp>
        <p:nvSpPr>
          <p:cNvPr id="5" name="Rectangle 4"/>
          <p:cNvSpPr/>
          <p:nvPr/>
        </p:nvSpPr>
        <p:spPr>
          <a:xfrm>
            <a:off x="266169" y="1023295"/>
            <a:ext cx="6480000" cy="4264697"/>
          </a:xfrm>
          <a:prstGeom prst="rect">
            <a:avLst/>
          </a:prstGeom>
          <a:ln w="9525">
            <a:solidFill>
              <a:srgbClr val="980F39"/>
            </a:solidFill>
          </a:ln>
        </p:spPr>
        <p:style>
          <a:lnRef idx="2">
            <a:schemeClr val="accent2"/>
          </a:lnRef>
          <a:fillRef idx="1">
            <a:schemeClr val="lt1"/>
          </a:fillRef>
          <a:effectRef idx="0">
            <a:schemeClr val="accent2"/>
          </a:effectRef>
          <a:fontRef idx="minor">
            <a:schemeClr val="dk1"/>
          </a:fontRef>
        </p:style>
        <p:txBody>
          <a:bodyPr lIns="91440" tIns="91440" rIns="91440" bIns="91440" rtlCol="0" anchor="ctr"/>
          <a:lstStyle/>
          <a:p>
            <a:pPr marL="285750" lvl="0" indent="-285750" algn="just" defTabSz="914400" rtl="1">
              <a:spcAft>
                <a:spcPts val="1200"/>
              </a:spcAft>
              <a:buClr>
                <a:srgbClr val="FF0000"/>
              </a:buClr>
              <a:buFont typeface="Arial" panose="020B0604020202020204" pitchFamily="34" charset="0"/>
              <a:buChar char="•"/>
            </a:pPr>
            <a:r>
              <a:rPr lang="ar-TN" sz="1600" b="1" dirty="0" smtClean="0">
                <a:solidFill>
                  <a:schemeClr val="tx1"/>
                </a:solidFill>
                <a:latin typeface="Simplified Arabic" panose="02020603050405020304" pitchFamily="18" charset="-78"/>
                <a:cs typeface="Simplified Arabic" panose="02020603050405020304" pitchFamily="18" charset="-78"/>
              </a:rPr>
              <a:t>استكمال </a:t>
            </a:r>
            <a:r>
              <a:rPr lang="ar-TN" sz="1600" b="1" dirty="0">
                <a:solidFill>
                  <a:schemeClr val="tx1"/>
                </a:solidFill>
                <a:latin typeface="Simplified Arabic" panose="02020603050405020304" pitchFamily="18" charset="-78"/>
                <a:cs typeface="Simplified Arabic" panose="02020603050405020304" pitchFamily="18" charset="-78"/>
              </a:rPr>
              <a:t>أشغال الطريق السيارة </a:t>
            </a:r>
            <a:r>
              <a:rPr lang="ar-TN" sz="1600" b="1" dirty="0" smtClean="0">
                <a:solidFill>
                  <a:schemeClr val="tx1"/>
                </a:solidFill>
                <a:latin typeface="Simplified Arabic" panose="02020603050405020304" pitchFamily="18" charset="-78"/>
                <a:cs typeface="Simplified Arabic" panose="02020603050405020304" pitchFamily="18" charset="-78"/>
              </a:rPr>
              <a:t>قابس-مدنين-رأس الجدير</a:t>
            </a:r>
            <a:r>
              <a:rPr lang="ar-TN" sz="1600" b="1" dirty="0">
                <a:solidFill>
                  <a:schemeClr val="tx1"/>
                </a:solidFill>
                <a:latin typeface="Simplified Arabic" panose="02020603050405020304" pitchFamily="18" charset="-78"/>
                <a:cs typeface="Simplified Arabic" panose="02020603050405020304" pitchFamily="18" charset="-78"/>
              </a:rPr>
              <a:t> </a:t>
            </a:r>
            <a:r>
              <a:rPr lang="ar-TN" sz="1600" b="1" dirty="0" smtClean="0">
                <a:solidFill>
                  <a:schemeClr val="tx1"/>
                </a:solidFill>
                <a:latin typeface="Simplified Arabic" panose="02020603050405020304" pitchFamily="18" charset="-78"/>
                <a:cs typeface="Simplified Arabic" panose="02020603050405020304" pitchFamily="18" charset="-78"/>
              </a:rPr>
              <a:t>والشروع </a:t>
            </a:r>
            <a:r>
              <a:rPr lang="ar-TN" sz="1600" b="1" dirty="0">
                <a:solidFill>
                  <a:schemeClr val="tx1"/>
                </a:solidFill>
                <a:latin typeface="Simplified Arabic" panose="02020603050405020304" pitchFamily="18" charset="-78"/>
                <a:cs typeface="Simplified Arabic" panose="02020603050405020304" pitchFamily="18" charset="-78"/>
              </a:rPr>
              <a:t>في إنجاز الأربع أقساط الأولى من الطريق السيارة تونس – جلمة بكلفة 700 م د،</a:t>
            </a:r>
          </a:p>
          <a:p>
            <a:pPr marL="285750" lvl="0" indent="-285750" algn="just" defTabSz="914400" rtl="1">
              <a:spcAft>
                <a:spcPts val="1200"/>
              </a:spcAft>
              <a:buClr>
                <a:srgbClr val="FF0000"/>
              </a:buClr>
              <a:buFont typeface="Arial" panose="020B0604020202020204" pitchFamily="34" charset="0"/>
              <a:buChar char="•"/>
            </a:pPr>
            <a:r>
              <a:rPr lang="ar-TN" sz="1600" b="1" dirty="0" smtClean="0">
                <a:solidFill>
                  <a:schemeClr val="tx1"/>
                </a:solidFill>
                <a:latin typeface="Simplified Arabic" panose="02020603050405020304" pitchFamily="18" charset="-78"/>
                <a:cs typeface="Simplified Arabic" panose="02020603050405020304" pitchFamily="18" charset="-78"/>
              </a:rPr>
              <a:t>الشروع </a:t>
            </a:r>
            <a:r>
              <a:rPr lang="ar-TN" sz="1600" b="1" dirty="0">
                <a:solidFill>
                  <a:schemeClr val="tx1"/>
                </a:solidFill>
                <a:latin typeface="Simplified Arabic" panose="02020603050405020304" pitchFamily="18" charset="-78"/>
                <a:cs typeface="Simplified Arabic" panose="02020603050405020304" pitchFamily="18" charset="-78"/>
              </a:rPr>
              <a:t>في أشغال بناء جسر بنزرت بكلفة 774 م د،</a:t>
            </a:r>
          </a:p>
          <a:p>
            <a:pPr marL="285750" lvl="0" indent="-285750" algn="just" defTabSz="914400" rtl="1">
              <a:spcAft>
                <a:spcPts val="1200"/>
              </a:spcAft>
              <a:buClr>
                <a:srgbClr val="FF0000"/>
              </a:buClr>
              <a:buFont typeface="Arial" panose="020B0604020202020204" pitchFamily="34" charset="0"/>
              <a:buChar char="•"/>
            </a:pPr>
            <a:r>
              <a:rPr lang="ar-SA" sz="1600" b="1" dirty="0" smtClean="0">
                <a:solidFill>
                  <a:schemeClr val="tx1"/>
                </a:solidFill>
                <a:latin typeface="Simplified Arabic" panose="02020603050405020304" pitchFamily="18" charset="-78"/>
                <a:cs typeface="Simplified Arabic" panose="02020603050405020304" pitchFamily="18" charset="-78"/>
              </a:rPr>
              <a:t>استكمال </a:t>
            </a:r>
            <a:r>
              <a:rPr lang="ar-SA" sz="1600" b="1" dirty="0">
                <a:solidFill>
                  <a:schemeClr val="tx1"/>
                </a:solidFill>
                <a:latin typeface="Simplified Arabic" panose="02020603050405020304" pitchFamily="18" charset="-78"/>
                <a:cs typeface="Simplified Arabic" panose="02020603050405020304" pitchFamily="18" charset="-78"/>
              </a:rPr>
              <a:t>أشغال تهيئة </a:t>
            </a:r>
            <a:r>
              <a:rPr lang="ar-TN" sz="1600" b="1" dirty="0">
                <a:solidFill>
                  <a:schemeClr val="tx1"/>
                </a:solidFill>
                <a:latin typeface="Simplified Arabic" panose="02020603050405020304" pitchFamily="18" charset="-78"/>
                <a:cs typeface="Simplified Arabic" panose="02020603050405020304" pitchFamily="18" charset="-78"/>
              </a:rPr>
              <a:t>718.9</a:t>
            </a:r>
            <a:r>
              <a:rPr lang="ar-SA" sz="1600" b="1" dirty="0">
                <a:solidFill>
                  <a:schemeClr val="tx1"/>
                </a:solidFill>
                <a:latin typeface="Simplified Arabic" panose="02020603050405020304" pitchFamily="18" charset="-78"/>
                <a:cs typeface="Simplified Arabic" panose="02020603050405020304" pitchFamily="18" charset="-78"/>
              </a:rPr>
              <a:t> كلم من الطرقات المرقمة </a:t>
            </a:r>
            <a:r>
              <a:rPr lang="ar-TN" sz="1600" b="1" dirty="0">
                <a:solidFill>
                  <a:schemeClr val="tx1"/>
                </a:solidFill>
                <a:latin typeface="Simplified Arabic" panose="02020603050405020304" pitchFamily="18" charset="-78"/>
                <a:cs typeface="Simplified Arabic" panose="02020603050405020304" pitchFamily="18" charset="-78"/>
              </a:rPr>
              <a:t>بكلفة 400 م د </a:t>
            </a:r>
            <a:r>
              <a:rPr lang="ar-SA" sz="1600" b="1" dirty="0">
                <a:solidFill>
                  <a:schemeClr val="tx1"/>
                </a:solidFill>
                <a:latin typeface="Simplified Arabic" panose="02020603050405020304" pitchFamily="18" charset="-78"/>
                <a:cs typeface="Simplified Arabic" panose="02020603050405020304" pitchFamily="18" charset="-78"/>
              </a:rPr>
              <a:t>ومواصلة أشغال تهيئة </a:t>
            </a:r>
            <a:r>
              <a:rPr lang="ar-TN" sz="1600" b="1" dirty="0">
                <a:solidFill>
                  <a:schemeClr val="tx1"/>
                </a:solidFill>
                <a:latin typeface="Simplified Arabic" panose="02020603050405020304" pitchFamily="18" charset="-78"/>
                <a:cs typeface="Simplified Arabic" panose="02020603050405020304" pitchFamily="18" charset="-78"/>
              </a:rPr>
              <a:t>79</a:t>
            </a:r>
            <a:r>
              <a:rPr lang="ar-SA" sz="1600" b="1" dirty="0">
                <a:solidFill>
                  <a:schemeClr val="tx1"/>
                </a:solidFill>
                <a:latin typeface="Simplified Arabic" panose="02020603050405020304" pitchFamily="18" charset="-78"/>
                <a:cs typeface="Simplified Arabic" panose="02020603050405020304" pitchFamily="18" charset="-78"/>
              </a:rPr>
              <a:t> كلم من الطرقات المرقمة بـولايتي مدنين وقبلي </a:t>
            </a:r>
            <a:r>
              <a:rPr lang="ar-TN" sz="1600" b="1" dirty="0">
                <a:solidFill>
                  <a:schemeClr val="tx1"/>
                </a:solidFill>
                <a:latin typeface="Simplified Arabic" panose="02020603050405020304" pitchFamily="18" charset="-78"/>
                <a:cs typeface="Simplified Arabic" panose="02020603050405020304" pitchFamily="18" charset="-78"/>
              </a:rPr>
              <a:t>بكلفة 60 م د </a:t>
            </a:r>
            <a:r>
              <a:rPr lang="ar-SA" sz="1600" b="1" dirty="0">
                <a:solidFill>
                  <a:schemeClr val="tx1"/>
                </a:solidFill>
                <a:latin typeface="Simplified Arabic" panose="02020603050405020304" pitchFamily="18" charset="-78"/>
                <a:cs typeface="Simplified Arabic" panose="02020603050405020304" pitchFamily="18" charset="-78"/>
              </a:rPr>
              <a:t>بالإضافة إلى </a:t>
            </a:r>
            <a:r>
              <a:rPr lang="ar-TN" sz="1600" b="1" dirty="0">
                <a:solidFill>
                  <a:schemeClr val="tx1"/>
                </a:solidFill>
                <a:latin typeface="Simplified Arabic" panose="02020603050405020304" pitchFamily="18" charset="-78"/>
                <a:cs typeface="Simplified Arabic" panose="02020603050405020304" pitchFamily="18" charset="-78"/>
              </a:rPr>
              <a:t>مواصلة</a:t>
            </a:r>
            <a:r>
              <a:rPr lang="ar-SA" sz="1600" b="1" dirty="0">
                <a:solidFill>
                  <a:schemeClr val="tx1"/>
                </a:solidFill>
                <a:latin typeface="Simplified Arabic" panose="02020603050405020304" pitchFamily="18" charset="-78"/>
                <a:cs typeface="Simplified Arabic" panose="02020603050405020304" pitchFamily="18" charset="-78"/>
              </a:rPr>
              <a:t> </a:t>
            </a:r>
            <a:r>
              <a:rPr lang="ar-TN" sz="1600" b="1" dirty="0">
                <a:solidFill>
                  <a:schemeClr val="tx1"/>
                </a:solidFill>
                <a:latin typeface="Simplified Arabic" panose="02020603050405020304" pitchFamily="18" charset="-78"/>
                <a:cs typeface="Simplified Arabic" panose="02020603050405020304" pitchFamily="18" charset="-78"/>
              </a:rPr>
              <a:t>اشغال </a:t>
            </a:r>
            <a:r>
              <a:rPr lang="ar-SA" sz="1600" b="1" dirty="0">
                <a:solidFill>
                  <a:schemeClr val="tx1"/>
                </a:solidFill>
                <a:latin typeface="Simplified Arabic" panose="02020603050405020304" pitchFamily="18" charset="-78"/>
                <a:cs typeface="Simplified Arabic" panose="02020603050405020304" pitchFamily="18" charset="-78"/>
              </a:rPr>
              <a:t>تهيئة </a:t>
            </a:r>
            <a:r>
              <a:rPr lang="ar-TN" sz="1600" b="1" dirty="0">
                <a:solidFill>
                  <a:schemeClr val="tx1"/>
                </a:solidFill>
                <a:latin typeface="Simplified Arabic" panose="02020603050405020304" pitchFamily="18" charset="-78"/>
                <a:cs typeface="Simplified Arabic" panose="02020603050405020304" pitchFamily="18" charset="-78"/>
              </a:rPr>
              <a:t>321,8</a:t>
            </a:r>
            <a:r>
              <a:rPr lang="ar-SA" sz="1600" b="1" dirty="0">
                <a:solidFill>
                  <a:schemeClr val="tx1"/>
                </a:solidFill>
                <a:latin typeface="Simplified Arabic" panose="02020603050405020304" pitchFamily="18" charset="-78"/>
                <a:cs typeface="Simplified Arabic" panose="02020603050405020304" pitchFamily="18" charset="-78"/>
              </a:rPr>
              <a:t> كلم موزعة على </a:t>
            </a:r>
            <a:r>
              <a:rPr lang="ar-TN" sz="1600" b="1" dirty="0">
                <a:solidFill>
                  <a:schemeClr val="tx1"/>
                </a:solidFill>
                <a:latin typeface="Simplified Arabic" panose="02020603050405020304" pitchFamily="18" charset="-78"/>
                <a:cs typeface="Simplified Arabic" panose="02020603050405020304" pitchFamily="18" charset="-78"/>
              </a:rPr>
              <a:t>12</a:t>
            </a:r>
            <a:r>
              <a:rPr lang="ar-SA" sz="1600" b="1" dirty="0">
                <a:solidFill>
                  <a:schemeClr val="tx1"/>
                </a:solidFill>
                <a:latin typeface="Simplified Arabic" panose="02020603050405020304" pitchFamily="18" charset="-78"/>
                <a:cs typeface="Simplified Arabic" panose="02020603050405020304" pitchFamily="18" charset="-78"/>
              </a:rPr>
              <a:t> ولاية</a:t>
            </a:r>
            <a:r>
              <a:rPr lang="ar-TN" sz="1600" b="1" dirty="0">
                <a:solidFill>
                  <a:schemeClr val="tx1"/>
                </a:solidFill>
                <a:latin typeface="Simplified Arabic" panose="02020603050405020304" pitchFamily="18" charset="-78"/>
                <a:cs typeface="Simplified Arabic" panose="02020603050405020304" pitchFamily="18" charset="-78"/>
              </a:rPr>
              <a:t> بكلفة 245 م د والانطلاق </a:t>
            </a:r>
            <a:r>
              <a:rPr lang="ar-SA" sz="1600" b="1" dirty="0">
                <a:solidFill>
                  <a:schemeClr val="tx1"/>
                </a:solidFill>
                <a:latin typeface="Simplified Arabic" panose="02020603050405020304" pitchFamily="18" charset="-78"/>
                <a:cs typeface="Simplified Arabic" panose="02020603050405020304" pitchFamily="18" charset="-78"/>
              </a:rPr>
              <a:t>في </a:t>
            </a:r>
            <a:r>
              <a:rPr lang="ar-TN" sz="1600" b="1" dirty="0">
                <a:solidFill>
                  <a:schemeClr val="tx1"/>
                </a:solidFill>
                <a:latin typeface="Simplified Arabic" panose="02020603050405020304" pitchFamily="18" charset="-78"/>
                <a:cs typeface="Simplified Arabic" panose="02020603050405020304" pitchFamily="18" charset="-78"/>
              </a:rPr>
              <a:t>اشغال </a:t>
            </a:r>
            <a:r>
              <a:rPr lang="ar-SA" sz="1600" b="1" dirty="0">
                <a:solidFill>
                  <a:schemeClr val="tx1"/>
                </a:solidFill>
                <a:latin typeface="Simplified Arabic" panose="02020603050405020304" pitchFamily="18" charset="-78"/>
                <a:cs typeface="Simplified Arabic" panose="02020603050405020304" pitchFamily="18" charset="-78"/>
              </a:rPr>
              <a:t>تهيئة 129.6 كلم من الطرقات المرقمة </a:t>
            </a:r>
            <a:r>
              <a:rPr lang="ar-TN" sz="1600" b="1" dirty="0">
                <a:solidFill>
                  <a:schemeClr val="tx1"/>
                </a:solidFill>
                <a:latin typeface="Simplified Arabic" panose="02020603050405020304" pitchFamily="18" charset="-78"/>
                <a:cs typeface="Simplified Arabic" panose="02020603050405020304" pitchFamily="18" charset="-78"/>
              </a:rPr>
              <a:t>بـ 6 ولايات بكلفة 131 م د،</a:t>
            </a:r>
          </a:p>
          <a:p>
            <a:pPr marL="285750" lvl="0" indent="-285750" algn="just" defTabSz="914400" rtl="1">
              <a:spcAft>
                <a:spcPts val="1200"/>
              </a:spcAft>
              <a:buClr>
                <a:srgbClr val="FF0000"/>
              </a:buClr>
              <a:buFont typeface="Arial" panose="020B0604020202020204" pitchFamily="34" charset="0"/>
              <a:buChar char="•"/>
            </a:pPr>
            <a:r>
              <a:rPr lang="ar-SA" sz="1600" b="1" dirty="0" smtClean="0">
                <a:solidFill>
                  <a:schemeClr val="tx1"/>
                </a:solidFill>
                <a:latin typeface="Simplified Arabic" panose="02020603050405020304" pitchFamily="18" charset="-78"/>
                <a:cs typeface="Simplified Arabic" panose="02020603050405020304" pitchFamily="18" charset="-78"/>
              </a:rPr>
              <a:t>مواصلة </a:t>
            </a:r>
            <a:r>
              <a:rPr lang="ar-SA" sz="1600" b="1" dirty="0">
                <a:solidFill>
                  <a:schemeClr val="tx1"/>
                </a:solidFill>
                <a:latin typeface="Simplified Arabic" panose="02020603050405020304" pitchFamily="18" charset="-78"/>
                <a:cs typeface="Simplified Arabic" panose="02020603050405020304" pitchFamily="18" charset="-78"/>
              </a:rPr>
              <a:t>أشغال بناء </a:t>
            </a:r>
            <a:r>
              <a:rPr lang="ar-TN" sz="1600" b="1" dirty="0">
                <a:solidFill>
                  <a:schemeClr val="tx1"/>
                </a:solidFill>
                <a:latin typeface="Simplified Arabic" panose="02020603050405020304" pitchFamily="18" charset="-78"/>
                <a:cs typeface="Simplified Arabic" panose="02020603050405020304" pitchFamily="18" charset="-78"/>
              </a:rPr>
              <a:t>حوالي </a:t>
            </a:r>
            <a:r>
              <a:rPr lang="ar-TN" sz="1600" b="1" dirty="0" smtClean="0">
                <a:solidFill>
                  <a:schemeClr val="tx1"/>
                </a:solidFill>
                <a:latin typeface="Simplified Arabic" panose="02020603050405020304" pitchFamily="18" charset="-78"/>
                <a:cs typeface="Simplified Arabic" panose="02020603050405020304" pitchFamily="18" charset="-78"/>
              </a:rPr>
              <a:t>55 </a:t>
            </a:r>
            <a:r>
              <a:rPr lang="ar-SA" sz="1600" b="1" dirty="0" smtClean="0">
                <a:solidFill>
                  <a:schemeClr val="tx1"/>
                </a:solidFill>
                <a:latin typeface="Simplified Arabic" panose="02020603050405020304" pitchFamily="18" charset="-78"/>
                <a:cs typeface="Simplified Arabic" panose="02020603050405020304" pitchFamily="18" charset="-78"/>
              </a:rPr>
              <a:t>جسرا</a:t>
            </a:r>
            <a:r>
              <a:rPr lang="ar-TN" sz="1600" b="1" dirty="0">
                <a:solidFill>
                  <a:schemeClr val="tx1"/>
                </a:solidFill>
                <a:latin typeface="Simplified Arabic" panose="02020603050405020304" pitchFamily="18" charset="-78"/>
                <a:cs typeface="Simplified Arabic" panose="02020603050405020304" pitchFamily="18" charset="-78"/>
              </a:rPr>
              <a:t>،</a:t>
            </a:r>
          </a:p>
          <a:p>
            <a:pPr marL="285750" lvl="0" indent="-285750" algn="just" defTabSz="914400" rtl="1">
              <a:spcAft>
                <a:spcPts val="1200"/>
              </a:spcAft>
              <a:buClr>
                <a:srgbClr val="FF0000"/>
              </a:buClr>
              <a:buFont typeface="Arial" panose="020B0604020202020204" pitchFamily="34" charset="0"/>
              <a:buChar char="•"/>
            </a:pPr>
            <a:r>
              <a:rPr lang="ar-TN" sz="1600" b="1" dirty="0">
                <a:solidFill>
                  <a:schemeClr val="tx1"/>
                </a:solidFill>
                <a:latin typeface="Simplified Arabic" panose="02020603050405020304" pitchFamily="18" charset="-78"/>
                <a:cs typeface="Simplified Arabic" panose="02020603050405020304" pitchFamily="18" charset="-78"/>
              </a:rPr>
              <a:t>مواصلة</a:t>
            </a:r>
            <a:r>
              <a:rPr lang="ar-SA" sz="1600" b="1" dirty="0">
                <a:solidFill>
                  <a:schemeClr val="tx1"/>
                </a:solidFill>
                <a:latin typeface="Simplified Arabic" panose="02020603050405020304" pitchFamily="18" charset="-78"/>
                <a:cs typeface="Simplified Arabic" panose="02020603050405020304" pitchFamily="18" charset="-78"/>
              </a:rPr>
              <a:t> أشغال تدعيم </a:t>
            </a:r>
            <a:r>
              <a:rPr lang="ar-TN" sz="1600" b="1" dirty="0">
                <a:solidFill>
                  <a:schemeClr val="tx1"/>
                </a:solidFill>
                <a:latin typeface="Simplified Arabic" panose="02020603050405020304" pitchFamily="18" charset="-78"/>
                <a:cs typeface="Simplified Arabic" panose="02020603050405020304" pitchFamily="18" charset="-78"/>
              </a:rPr>
              <a:t>282</a:t>
            </a:r>
            <a:r>
              <a:rPr lang="ar-SA" sz="1600" b="1" dirty="0">
                <a:solidFill>
                  <a:schemeClr val="tx1"/>
                </a:solidFill>
                <a:latin typeface="Simplified Arabic" panose="02020603050405020304" pitchFamily="18" charset="-78"/>
                <a:cs typeface="Simplified Arabic" panose="02020603050405020304" pitchFamily="18" charset="-78"/>
              </a:rPr>
              <a:t> كلم من الطرقات المرقمة بالولايات ذات الأولوية</a:t>
            </a:r>
            <a:r>
              <a:rPr lang="ar-TN" sz="1600" b="1" dirty="0">
                <a:solidFill>
                  <a:schemeClr val="tx1"/>
                </a:solidFill>
                <a:latin typeface="Simplified Arabic" panose="02020603050405020304" pitchFamily="18" charset="-78"/>
                <a:cs typeface="Simplified Arabic" panose="02020603050405020304" pitchFamily="18" charset="-78"/>
              </a:rPr>
              <a:t> بكلفة 100 م د والانطلاق في اشغال تدعيم 197,7 كلم موزعة على 7 ولايات بكلفة </a:t>
            </a:r>
            <a:r>
              <a:rPr lang="fr-FR" sz="1600" b="1" dirty="0">
                <a:solidFill>
                  <a:schemeClr val="tx1"/>
                </a:solidFill>
                <a:latin typeface="Simplified Arabic" panose="02020603050405020304" pitchFamily="18" charset="-78"/>
                <a:cs typeface="Simplified Arabic" panose="02020603050405020304" pitchFamily="18" charset="-78"/>
              </a:rPr>
              <a:t>104</a:t>
            </a:r>
            <a:r>
              <a:rPr lang="ar-TN" sz="1600" b="1" dirty="0">
                <a:solidFill>
                  <a:schemeClr val="tx1"/>
                </a:solidFill>
                <a:latin typeface="Simplified Arabic" panose="02020603050405020304" pitchFamily="18" charset="-78"/>
                <a:cs typeface="Simplified Arabic" panose="02020603050405020304" pitchFamily="18" charset="-78"/>
              </a:rPr>
              <a:t> م د،</a:t>
            </a:r>
          </a:p>
          <a:p>
            <a:pPr marL="285750" lvl="0" indent="-285750" algn="just" defTabSz="914400" rtl="1">
              <a:spcAft>
                <a:spcPts val="1200"/>
              </a:spcAft>
              <a:buClr>
                <a:srgbClr val="FF0000"/>
              </a:buClr>
              <a:buFont typeface="Arial" panose="020B0604020202020204" pitchFamily="34" charset="0"/>
              <a:buChar char="•"/>
            </a:pPr>
            <a:r>
              <a:rPr lang="ar-SA" sz="1600" b="1" dirty="0">
                <a:solidFill>
                  <a:schemeClr val="tx1"/>
                </a:solidFill>
                <a:latin typeface="Simplified Arabic" panose="02020603050405020304" pitchFamily="18" charset="-78"/>
                <a:cs typeface="Simplified Arabic" panose="02020603050405020304" pitchFamily="18" charset="-78"/>
              </a:rPr>
              <a:t>مواصلة </a:t>
            </a:r>
            <a:r>
              <a:rPr lang="ar-TN" sz="1600" b="1" dirty="0">
                <a:solidFill>
                  <a:schemeClr val="tx1"/>
                </a:solidFill>
                <a:latin typeface="Simplified Arabic" panose="02020603050405020304" pitchFamily="18" charset="-78"/>
                <a:cs typeface="Simplified Arabic" panose="02020603050405020304" pitchFamily="18" charset="-78"/>
              </a:rPr>
              <a:t>أشغال </a:t>
            </a:r>
            <a:r>
              <a:rPr lang="ar-SA" sz="1600" b="1" dirty="0">
                <a:solidFill>
                  <a:schemeClr val="tx1"/>
                </a:solidFill>
                <a:latin typeface="Simplified Arabic" panose="02020603050405020304" pitchFamily="18" charset="-78"/>
                <a:cs typeface="Simplified Arabic" panose="02020603050405020304" pitchFamily="18" charset="-78"/>
              </a:rPr>
              <a:t>تهيئة </a:t>
            </a:r>
            <a:r>
              <a:rPr lang="ar-TN" sz="1600" b="1" dirty="0">
                <a:solidFill>
                  <a:schemeClr val="tx1"/>
                </a:solidFill>
                <a:latin typeface="Simplified Arabic" panose="02020603050405020304" pitchFamily="18" charset="-78"/>
                <a:cs typeface="Simplified Arabic" panose="02020603050405020304" pitchFamily="18" charset="-78"/>
              </a:rPr>
              <a:t>151.7 </a:t>
            </a:r>
            <a:r>
              <a:rPr lang="ar-SA" sz="1600" b="1" dirty="0">
                <a:solidFill>
                  <a:schemeClr val="tx1"/>
                </a:solidFill>
                <a:latin typeface="Simplified Arabic" panose="02020603050405020304" pitchFamily="18" charset="-78"/>
                <a:cs typeface="Simplified Arabic" panose="02020603050405020304" pitchFamily="18" charset="-78"/>
              </a:rPr>
              <a:t>كلم من المسالك الريفية </a:t>
            </a:r>
            <a:r>
              <a:rPr lang="ar-TN" sz="1600" b="1" dirty="0">
                <a:solidFill>
                  <a:schemeClr val="tx1"/>
                </a:solidFill>
                <a:latin typeface="Simplified Arabic" panose="02020603050405020304" pitchFamily="18" charset="-78"/>
                <a:cs typeface="Simplified Arabic" panose="02020603050405020304" pitchFamily="18" charset="-78"/>
              </a:rPr>
              <a:t>بكلفة 50 م د </a:t>
            </a:r>
            <a:r>
              <a:rPr lang="ar-SA" sz="1600" b="1" dirty="0">
                <a:solidFill>
                  <a:schemeClr val="tx1"/>
                </a:solidFill>
                <a:latin typeface="Simplified Arabic" panose="02020603050405020304" pitchFamily="18" charset="-78"/>
                <a:cs typeface="Simplified Arabic" panose="02020603050405020304" pitchFamily="18" charset="-78"/>
              </a:rPr>
              <a:t>ومواصلة تعبيد </a:t>
            </a:r>
            <a:r>
              <a:rPr lang="ar-TN" sz="1600" b="1" dirty="0">
                <a:solidFill>
                  <a:schemeClr val="tx1"/>
                </a:solidFill>
                <a:latin typeface="Simplified Arabic" panose="02020603050405020304" pitchFamily="18" charset="-78"/>
                <a:cs typeface="Simplified Arabic" panose="02020603050405020304" pitchFamily="18" charset="-78"/>
              </a:rPr>
              <a:t>63 </a:t>
            </a:r>
            <a:r>
              <a:rPr lang="ar-SA" sz="1600" b="1" dirty="0">
                <a:solidFill>
                  <a:schemeClr val="tx1"/>
                </a:solidFill>
                <a:latin typeface="Simplified Arabic" panose="02020603050405020304" pitchFamily="18" charset="-78"/>
                <a:cs typeface="Simplified Arabic" panose="02020603050405020304" pitchFamily="18" charset="-78"/>
              </a:rPr>
              <a:t>مسلك بطول </a:t>
            </a:r>
            <a:r>
              <a:rPr lang="ar-TN" sz="1600" b="1" dirty="0">
                <a:solidFill>
                  <a:schemeClr val="tx1"/>
                </a:solidFill>
                <a:latin typeface="Simplified Arabic" panose="02020603050405020304" pitchFamily="18" charset="-78"/>
                <a:cs typeface="Simplified Arabic" panose="02020603050405020304" pitchFamily="18" charset="-78"/>
              </a:rPr>
              <a:t>410</a:t>
            </a:r>
            <a:r>
              <a:rPr lang="ar-SA" sz="1600" b="1" dirty="0">
                <a:solidFill>
                  <a:schemeClr val="tx1"/>
                </a:solidFill>
                <a:latin typeface="Simplified Arabic" panose="02020603050405020304" pitchFamily="18" charset="-78"/>
                <a:cs typeface="Simplified Arabic" panose="02020603050405020304" pitchFamily="18" charset="-78"/>
              </a:rPr>
              <a:t> كلم موزعة على </a:t>
            </a:r>
            <a:r>
              <a:rPr lang="ar-TN" sz="1600" b="1" dirty="0">
                <a:solidFill>
                  <a:schemeClr val="tx1"/>
                </a:solidFill>
                <a:latin typeface="Simplified Arabic" panose="02020603050405020304" pitchFamily="18" charset="-78"/>
                <a:cs typeface="Simplified Arabic" panose="02020603050405020304" pitchFamily="18" charset="-78"/>
              </a:rPr>
              <a:t>23 </a:t>
            </a:r>
            <a:r>
              <a:rPr lang="ar-SA" sz="1600" b="1" dirty="0">
                <a:solidFill>
                  <a:schemeClr val="tx1"/>
                </a:solidFill>
                <a:latin typeface="Simplified Arabic" panose="02020603050405020304" pitchFamily="18" charset="-78"/>
                <a:cs typeface="Simplified Arabic" panose="02020603050405020304" pitchFamily="18" charset="-78"/>
              </a:rPr>
              <a:t>ولاية</a:t>
            </a:r>
            <a:r>
              <a:rPr lang="ar-TN" sz="1600" b="1" dirty="0">
                <a:solidFill>
                  <a:schemeClr val="tx1"/>
                </a:solidFill>
                <a:latin typeface="Simplified Arabic" panose="02020603050405020304" pitchFamily="18" charset="-78"/>
                <a:cs typeface="Simplified Arabic" panose="02020603050405020304" pitchFamily="18" charset="-78"/>
              </a:rPr>
              <a:t> والانطلاق في أشغال تهيئة قرابة 456 كلم من المسالك الريفية موزعة على 22 ولاية بكلفة تقدر بحوالي 167 م </a:t>
            </a:r>
            <a:r>
              <a:rPr lang="ar-TN" sz="1600" b="1" dirty="0" smtClean="0">
                <a:solidFill>
                  <a:schemeClr val="tx1"/>
                </a:solidFill>
                <a:latin typeface="Simplified Arabic" panose="02020603050405020304" pitchFamily="18" charset="-78"/>
                <a:cs typeface="Simplified Arabic" panose="02020603050405020304" pitchFamily="18" charset="-78"/>
              </a:rPr>
              <a:t>د</a:t>
            </a:r>
            <a:r>
              <a:rPr lang="ar-TN" sz="1600" b="1" dirty="0">
                <a:solidFill>
                  <a:schemeClr val="tx1"/>
                </a:solidFill>
                <a:latin typeface="Simplified Arabic" panose="02020603050405020304" pitchFamily="18" charset="-78"/>
                <a:cs typeface="Simplified Arabic" panose="02020603050405020304" pitchFamily="18" charset="-78"/>
              </a:rPr>
              <a:t>.</a:t>
            </a:r>
          </a:p>
        </p:txBody>
      </p:sp>
      <p:sp>
        <p:nvSpPr>
          <p:cNvPr id="6" name="Isosceles Triangle 65"/>
          <p:cNvSpPr/>
          <p:nvPr/>
        </p:nvSpPr>
        <p:spPr>
          <a:xfrm rot="16200000">
            <a:off x="6649482" y="2961608"/>
            <a:ext cx="620412" cy="145416"/>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latin typeface="Arial" pitchFamily="34" charset="0"/>
              <a:cs typeface="Arial" pitchFamily="34" charset="0"/>
            </a:endParaRPr>
          </a:p>
        </p:txBody>
      </p:sp>
      <p:sp>
        <p:nvSpPr>
          <p:cNvPr id="10" name="Text Placeholder 4"/>
          <p:cNvSpPr>
            <a:spLocks noGrp="1"/>
          </p:cNvSpPr>
          <p:nvPr>
            <p:ph type="body" sz="quarter" idx="23"/>
          </p:nvPr>
        </p:nvSpPr>
        <p:spPr>
          <a:xfrm>
            <a:off x="163515" y="176213"/>
            <a:ext cx="8791575" cy="711200"/>
          </a:xfrm>
        </p:spPr>
        <p:txBody>
          <a:bodyPr/>
          <a:lstStyle/>
          <a:p>
            <a:pPr marL="0" lvl="4" indent="0" algn="ctr" rtl="1" fontAlgn="auto">
              <a:spcAft>
                <a:spcPts val="600"/>
              </a:spcAft>
              <a:buNone/>
              <a:defRPr/>
            </a:pPr>
            <a:r>
              <a:rPr lang="ar-TN" sz="2200" b="1" dirty="0">
                <a:solidFill>
                  <a:srgbClr val="FF0000"/>
                </a:solidFill>
                <a:latin typeface="Simplified Arabic" panose="02020603050405020304" pitchFamily="18" charset="-78"/>
                <a:cs typeface="Simplified Arabic" panose="02020603050405020304" pitchFamily="18" charset="-78"/>
              </a:rPr>
              <a:t>أ</a:t>
            </a:r>
            <a:r>
              <a:rPr lang="ar-TN" sz="2200" b="1" dirty="0" smtClean="0">
                <a:solidFill>
                  <a:srgbClr val="FF0000"/>
                </a:solidFill>
                <a:latin typeface="Simplified Arabic" panose="02020603050405020304" pitchFamily="18" charset="-78"/>
                <a:cs typeface="Simplified Arabic" panose="02020603050405020304" pitchFamily="18" charset="-78"/>
              </a:rPr>
              <a:t>هم </a:t>
            </a:r>
            <a:r>
              <a:rPr lang="ar-TN" sz="2200" b="1" dirty="0">
                <a:solidFill>
                  <a:srgbClr val="FF0000"/>
                </a:solidFill>
                <a:latin typeface="Simplified Arabic" panose="02020603050405020304" pitchFamily="18" charset="-78"/>
                <a:cs typeface="Simplified Arabic" panose="02020603050405020304" pitchFamily="18" charset="-78"/>
              </a:rPr>
              <a:t>المشاريع والبرامج والإصلاحات لسنة </a:t>
            </a:r>
            <a:r>
              <a:rPr lang="ar-TN" sz="2000" b="1" dirty="0">
                <a:solidFill>
                  <a:srgbClr val="FF0000"/>
                </a:solidFill>
                <a:latin typeface="Times New Roman" panose="02020603050405020304" pitchFamily="18" charset="0"/>
                <a:cs typeface="Times New Roman" panose="02020603050405020304" pitchFamily="18" charset="0"/>
              </a:rPr>
              <a:t>2020</a:t>
            </a:r>
            <a:endParaRPr lang="ar-TN" sz="2400" b="1"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64537469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7128207" y="2912797"/>
            <a:ext cx="1489582" cy="792000"/>
          </a:xfrm>
          <a:prstGeom prst="rect">
            <a:avLst/>
          </a:prstGeom>
          <a:ln w="9525">
            <a:solidFill>
              <a:srgbClr val="980F39"/>
            </a:solidFill>
          </a:ln>
        </p:spPr>
        <p:style>
          <a:lnRef idx="2">
            <a:schemeClr val="accent2"/>
          </a:lnRef>
          <a:fillRef idx="1">
            <a:schemeClr val="lt1"/>
          </a:fillRef>
          <a:effectRef idx="0">
            <a:schemeClr val="accent2"/>
          </a:effectRef>
          <a:fontRef idx="minor">
            <a:schemeClr val="dk1"/>
          </a:fontRef>
        </p:style>
        <p:txBody>
          <a:bodyPr lIns="0" rIns="0" rtlCol="0" anchor="ctr" anchorCtr="0"/>
          <a:lstStyle/>
          <a:p>
            <a:pPr marL="92075" lvl="2" algn="ctr" defTabSz="182563" rtl="1"/>
            <a:r>
              <a:rPr lang="ar-TN" sz="1600" b="1" dirty="0" smtClean="0">
                <a:latin typeface="Simplified Arabic" pitchFamily="18" charset="-78"/>
                <a:cs typeface="Simplified Arabic" pitchFamily="18" charset="-78"/>
              </a:rPr>
              <a:t>النقل واللوجستية</a:t>
            </a:r>
            <a:endParaRPr lang="fr-FR" sz="1600" b="1" dirty="0"/>
          </a:p>
        </p:txBody>
      </p:sp>
      <p:sp>
        <p:nvSpPr>
          <p:cNvPr id="8" name="Rectangle 7"/>
          <p:cNvSpPr/>
          <p:nvPr/>
        </p:nvSpPr>
        <p:spPr>
          <a:xfrm>
            <a:off x="163515" y="1069676"/>
            <a:ext cx="6585754" cy="4606506"/>
          </a:xfrm>
          <a:prstGeom prst="rect">
            <a:avLst/>
          </a:prstGeom>
          <a:ln w="9525">
            <a:solidFill>
              <a:srgbClr val="980F39"/>
            </a:solidFill>
          </a:ln>
        </p:spPr>
        <p:style>
          <a:lnRef idx="2">
            <a:schemeClr val="accent2"/>
          </a:lnRef>
          <a:fillRef idx="1">
            <a:schemeClr val="lt1"/>
          </a:fillRef>
          <a:effectRef idx="0">
            <a:schemeClr val="accent2"/>
          </a:effectRef>
          <a:fontRef idx="minor">
            <a:schemeClr val="dk1"/>
          </a:fontRef>
        </p:style>
        <p:txBody>
          <a:bodyPr lIns="68573" tIns="68573" rIns="68573" bIns="68573" rtlCol="0" anchor="ctr"/>
          <a:lstStyle/>
          <a:p>
            <a:pPr marL="271463" lvl="0" indent="-207169" algn="just" rtl="1">
              <a:spcAft>
                <a:spcPts val="1200"/>
              </a:spcAft>
              <a:buClr>
                <a:srgbClr val="FF0000"/>
              </a:buClr>
              <a:buSzPct val="100000"/>
              <a:buFont typeface="Arial" pitchFamily="34" charset="0"/>
              <a:buChar char="•"/>
            </a:pPr>
            <a:r>
              <a:rPr lang="ar-TN" sz="1600" b="1" dirty="0"/>
              <a:t>انطلاق مشروع الميناء بالمياه العميقة بالنفيضة بكلفة </a:t>
            </a:r>
            <a:r>
              <a:rPr lang="ar-TN" sz="1600" b="1" dirty="0" smtClean="0"/>
              <a:t>3336 </a:t>
            </a:r>
            <a:r>
              <a:rPr lang="ar-TN" sz="1600" b="1" dirty="0"/>
              <a:t>م د</a:t>
            </a:r>
            <a:endParaRPr lang="fr-FR" sz="1600" b="1" dirty="0"/>
          </a:p>
          <a:p>
            <a:pPr marL="271463" lvl="0" indent="-207169" algn="just" rtl="1">
              <a:spcAft>
                <a:spcPts val="1200"/>
              </a:spcAft>
              <a:buClr>
                <a:srgbClr val="FF0000"/>
              </a:buClr>
              <a:buSzPct val="100000"/>
              <a:buFont typeface="Arial" pitchFamily="34" charset="0"/>
              <a:buChar char="•"/>
            </a:pPr>
            <a:r>
              <a:rPr lang="ar-TN" sz="1600" b="1" dirty="0"/>
              <a:t>انطلاق توسعة مطرف الحاويات عدد 7 بميناء رادس بكلفة 120 م د</a:t>
            </a:r>
          </a:p>
          <a:p>
            <a:pPr marL="271463" lvl="0" indent="-207169" algn="just" rtl="1">
              <a:spcAft>
                <a:spcPts val="1200"/>
              </a:spcAft>
              <a:buClr>
                <a:srgbClr val="FF0000"/>
              </a:buClr>
              <a:buSzPct val="100000"/>
              <a:buFont typeface="Arial" pitchFamily="34" charset="0"/>
              <a:buChar char="•"/>
            </a:pPr>
            <a:r>
              <a:rPr lang="ar-TN" sz="1600" b="1" dirty="0"/>
              <a:t>تدعيم البنية الأساسية الحديدية على خط الجديدة –بنزرت وإعادة تشغيل الخط بين متلوي </a:t>
            </a:r>
            <a:r>
              <a:rPr lang="ar-TN" sz="1600" b="1" dirty="0" smtClean="0"/>
              <a:t>والقصرين</a:t>
            </a:r>
          </a:p>
          <a:p>
            <a:pPr marL="271463" indent="-207169" algn="just" rtl="1">
              <a:spcAft>
                <a:spcPts val="1200"/>
              </a:spcAft>
              <a:buClr>
                <a:srgbClr val="FF0000"/>
              </a:buClr>
              <a:buSzPct val="100000"/>
              <a:buFont typeface="Arial" pitchFamily="34" charset="0"/>
              <a:buChar char="•"/>
            </a:pPr>
            <a:r>
              <a:rPr lang="ar-TN" sz="1600" b="1" dirty="0" smtClean="0"/>
              <a:t>إنجاز مشروع </a:t>
            </a:r>
            <a:r>
              <a:rPr lang="ar-TN" sz="1600" b="1" dirty="0"/>
              <a:t>كهربة ومضاعفة الخط الحديدي الرابط بين </a:t>
            </a:r>
            <a:r>
              <a:rPr lang="ar-TN" sz="1600" b="1" dirty="0" err="1"/>
              <a:t>المكنين</a:t>
            </a:r>
            <a:r>
              <a:rPr lang="ar-TN" sz="1600" b="1" dirty="0"/>
              <a:t> والمهديّة بكلفة 264 م د </a:t>
            </a:r>
            <a:endParaRPr lang="fr-FR" sz="1600" b="1" dirty="0"/>
          </a:p>
          <a:p>
            <a:pPr marL="271463" lvl="0" indent="-207169" algn="just" rtl="1">
              <a:spcAft>
                <a:spcPts val="1200"/>
              </a:spcAft>
              <a:buClr>
                <a:srgbClr val="FF0000"/>
              </a:buClr>
              <a:buSzPct val="100000"/>
              <a:buFont typeface="Arial" pitchFamily="34" charset="0"/>
              <a:buChar char="•"/>
            </a:pPr>
            <a:r>
              <a:rPr lang="ar-TN" sz="1600" b="1" dirty="0" smtClean="0"/>
              <a:t> تجهيز خطوط تونس- غار الدماء وجديدة بنزرت وسوسة والمهدية ونابل بالألياف البصرية</a:t>
            </a:r>
            <a:r>
              <a:rPr lang="ar-TN" sz="1600" b="1" dirty="0"/>
              <a:t>،</a:t>
            </a:r>
          </a:p>
          <a:p>
            <a:pPr marL="271463" lvl="0" indent="-207169" algn="just" rtl="1">
              <a:spcAft>
                <a:spcPts val="1200"/>
              </a:spcAft>
              <a:buClr>
                <a:srgbClr val="FF0000"/>
              </a:buClr>
              <a:buSzPct val="100000"/>
              <a:buFont typeface="Arial" pitchFamily="34" charset="0"/>
              <a:buChar char="•"/>
            </a:pPr>
            <a:r>
              <a:rPr lang="ar-TN" sz="1600" b="1" dirty="0"/>
              <a:t>اقتناء سفينة جديدة للشركة الجديدة للنقل </a:t>
            </a:r>
            <a:r>
              <a:rPr lang="ar-TN" sz="1600" b="1" dirty="0" err="1" smtClean="0"/>
              <a:t>بقرقنة</a:t>
            </a:r>
            <a:r>
              <a:rPr lang="ar-TN" sz="1600" b="1" dirty="0" smtClean="0"/>
              <a:t> </a:t>
            </a:r>
          </a:p>
          <a:p>
            <a:pPr marL="271463" lvl="0" indent="-207169" algn="just" rtl="1">
              <a:spcAft>
                <a:spcPts val="1200"/>
              </a:spcAft>
              <a:buClr>
                <a:srgbClr val="FF0000"/>
              </a:buClr>
              <a:buSzPct val="100000"/>
              <a:buFont typeface="Arial" pitchFamily="34" charset="0"/>
              <a:buChar char="•"/>
            </a:pPr>
            <a:r>
              <a:rPr lang="ar-TN" sz="1600" b="1" dirty="0" smtClean="0"/>
              <a:t>الشروع </a:t>
            </a:r>
            <a:r>
              <a:rPr lang="ar-TN" sz="1600" b="1" dirty="0"/>
              <a:t>في انجاز المنطقة اللوجستية بميناء رادس بكلفة 200 م د</a:t>
            </a:r>
          </a:p>
          <a:p>
            <a:pPr marL="285750" lvl="0" indent="-285750" algn="just" defTabSz="914400" rtl="1">
              <a:spcAft>
                <a:spcPts val="1200"/>
              </a:spcAft>
              <a:buClr>
                <a:srgbClr val="FF0000"/>
              </a:buClr>
              <a:buFont typeface="Arial" panose="020B0604020202020204" pitchFamily="34" charset="0"/>
              <a:buChar char="•"/>
            </a:pPr>
            <a:r>
              <a:rPr lang="ar-TN" sz="1600" b="1" dirty="0"/>
              <a:t>توسعة مربض الطائرات بمطار صفاقس طينة الدولي بكلفة 13,25</a:t>
            </a:r>
          </a:p>
          <a:p>
            <a:pPr marL="271463" lvl="0" indent="-207169" algn="just" rtl="1">
              <a:spcAft>
                <a:spcPts val="1200"/>
              </a:spcAft>
              <a:buClr>
                <a:srgbClr val="FF0000"/>
              </a:buClr>
              <a:buSzPct val="100000"/>
              <a:buFont typeface="Arial" pitchFamily="34" charset="0"/>
              <a:buChar char="•"/>
            </a:pPr>
            <a:r>
              <a:rPr lang="ar-TN" sz="1600" b="1" dirty="0" smtClean="0"/>
              <a:t>تقوية </a:t>
            </a:r>
            <a:r>
              <a:rPr lang="ar-TN" sz="1600" b="1" dirty="0"/>
              <a:t>مدرج الطائرات بمطار توزر نفطة بكلفة 21,8 م د</a:t>
            </a:r>
          </a:p>
        </p:txBody>
      </p:sp>
      <p:sp>
        <p:nvSpPr>
          <p:cNvPr id="9" name="Isosceles Triangle 65"/>
          <p:cNvSpPr/>
          <p:nvPr/>
        </p:nvSpPr>
        <p:spPr>
          <a:xfrm rot="16200000">
            <a:off x="6628532" y="3236090"/>
            <a:ext cx="620412" cy="145416"/>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latin typeface="Arial" pitchFamily="34" charset="0"/>
              <a:cs typeface="Arial" pitchFamily="34" charset="0"/>
            </a:endParaRPr>
          </a:p>
        </p:txBody>
      </p:sp>
      <p:sp>
        <p:nvSpPr>
          <p:cNvPr id="10" name="Text Placeholder 4"/>
          <p:cNvSpPr>
            <a:spLocks noGrp="1"/>
          </p:cNvSpPr>
          <p:nvPr>
            <p:ph type="body" sz="quarter" idx="23"/>
          </p:nvPr>
        </p:nvSpPr>
        <p:spPr>
          <a:xfrm>
            <a:off x="163515" y="176213"/>
            <a:ext cx="8791575" cy="711200"/>
          </a:xfrm>
        </p:spPr>
        <p:txBody>
          <a:bodyPr/>
          <a:lstStyle/>
          <a:p>
            <a:pPr marL="0" lvl="4" indent="0" algn="ctr" rtl="1" fontAlgn="auto">
              <a:spcAft>
                <a:spcPts val="600"/>
              </a:spcAft>
              <a:buNone/>
              <a:defRPr/>
            </a:pPr>
            <a:r>
              <a:rPr lang="ar-TN" sz="2200" b="1" dirty="0">
                <a:solidFill>
                  <a:srgbClr val="FF0000"/>
                </a:solidFill>
                <a:latin typeface="Simplified Arabic" panose="02020603050405020304" pitchFamily="18" charset="-78"/>
                <a:cs typeface="Simplified Arabic" panose="02020603050405020304" pitchFamily="18" charset="-78"/>
              </a:rPr>
              <a:t>أ</a:t>
            </a:r>
            <a:r>
              <a:rPr lang="ar-TN" sz="2200" b="1" dirty="0" smtClean="0">
                <a:solidFill>
                  <a:srgbClr val="FF0000"/>
                </a:solidFill>
                <a:latin typeface="Simplified Arabic" panose="02020603050405020304" pitchFamily="18" charset="-78"/>
                <a:cs typeface="Simplified Arabic" panose="02020603050405020304" pitchFamily="18" charset="-78"/>
              </a:rPr>
              <a:t>هم </a:t>
            </a:r>
            <a:r>
              <a:rPr lang="ar-TN" sz="2200" b="1" dirty="0">
                <a:solidFill>
                  <a:srgbClr val="FF0000"/>
                </a:solidFill>
                <a:latin typeface="Simplified Arabic" panose="02020603050405020304" pitchFamily="18" charset="-78"/>
                <a:cs typeface="Simplified Arabic" panose="02020603050405020304" pitchFamily="18" charset="-78"/>
              </a:rPr>
              <a:t>المشاريع والبرامج والإصلاحات لسنة </a:t>
            </a:r>
            <a:r>
              <a:rPr lang="ar-TN" sz="2000" b="1" dirty="0">
                <a:solidFill>
                  <a:srgbClr val="FF0000"/>
                </a:solidFill>
                <a:latin typeface="Times New Roman" panose="02020603050405020304" pitchFamily="18" charset="0"/>
                <a:cs typeface="Times New Roman" panose="02020603050405020304" pitchFamily="18" charset="0"/>
              </a:rPr>
              <a:t>2020</a:t>
            </a:r>
            <a:endParaRPr lang="ar-TN" sz="2400" b="1"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56172875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144192" y="858442"/>
          <a:ext cx="1190" cy="1190"/>
        </p:xfrm>
        <a:graphic>
          <a:graphicData uri="http://schemas.openxmlformats.org/presentationml/2006/ole">
            <p:oleObj spid="_x0000_s166994" name="think-cell Slide" r:id="rId4" imgW="360" imgH="360" progId="">
              <p:embed/>
            </p:oleObj>
          </a:graphicData>
        </a:graphic>
      </p:graphicFrame>
      <p:sp>
        <p:nvSpPr>
          <p:cNvPr id="18" name="Rectangle 17"/>
          <p:cNvSpPr/>
          <p:nvPr/>
        </p:nvSpPr>
        <p:spPr>
          <a:xfrm>
            <a:off x="382130" y="1515533"/>
            <a:ext cx="6480000" cy="4148971"/>
          </a:xfrm>
          <a:prstGeom prst="rect">
            <a:avLst/>
          </a:prstGeom>
          <a:ln w="9525">
            <a:solidFill>
              <a:srgbClr val="980F39"/>
            </a:solidFill>
          </a:ln>
        </p:spPr>
        <p:style>
          <a:lnRef idx="2">
            <a:schemeClr val="accent2"/>
          </a:lnRef>
          <a:fillRef idx="1">
            <a:schemeClr val="lt1"/>
          </a:fillRef>
          <a:effectRef idx="0">
            <a:schemeClr val="accent2"/>
          </a:effectRef>
          <a:fontRef idx="minor">
            <a:schemeClr val="dk1"/>
          </a:fontRef>
        </p:style>
        <p:txBody>
          <a:bodyPr lIns="68573" tIns="68573" rIns="68573" bIns="68573" rtlCol="0" anchor="ctr"/>
          <a:lstStyle/>
          <a:p>
            <a:pPr marL="214313" lvl="0" indent="-214313" algn="r" rtl="1" eaLnBrk="0" hangingPunct="0">
              <a:spcBef>
                <a:spcPts val="1200"/>
              </a:spcBef>
              <a:buClr>
                <a:srgbClr val="FF0000"/>
              </a:buClr>
              <a:buFont typeface="Arial" panose="020B0604020202020204" pitchFamily="34" charset="0"/>
              <a:buChar char="•"/>
            </a:pPr>
            <a:r>
              <a:rPr lang="ar-TN" sz="1600" b="1" dirty="0" smtClean="0"/>
              <a:t>الانطلاق </a:t>
            </a:r>
            <a:r>
              <a:rPr lang="ar-TN" sz="1600" b="1" dirty="0"/>
              <a:t>في </a:t>
            </a:r>
            <a:r>
              <a:rPr lang="ar-TN" sz="1600" b="1" dirty="0" smtClean="0"/>
              <a:t>استغلال</a:t>
            </a:r>
            <a:r>
              <a:rPr lang="ar-SA" sz="1600" b="1" dirty="0" smtClean="0"/>
              <a:t> </a:t>
            </a:r>
            <a:r>
              <a:rPr lang="ar-SA" sz="1600" b="1" dirty="0"/>
              <a:t>المصبين المراقبين بزغوان وتوزر حيز  </a:t>
            </a:r>
            <a:r>
              <a:rPr lang="ar-SA" sz="1600" b="1" dirty="0" err="1"/>
              <a:t>الإستغلال</a:t>
            </a:r>
            <a:r>
              <a:rPr lang="ar-SA" sz="1600" b="1" dirty="0"/>
              <a:t> و7مراكز تحويل بقلعة الأندلس وحلق الوادي وباردو والكرم </a:t>
            </a:r>
            <a:r>
              <a:rPr lang="ar-SA" sz="1600" b="1" dirty="0" err="1"/>
              <a:t>وطبربة</a:t>
            </a:r>
            <a:r>
              <a:rPr lang="ar-SA" sz="1600" b="1" dirty="0"/>
              <a:t> والشراردة وحاجب العيون وتهيئة مركز التحويل بسيدي صالح </a:t>
            </a:r>
            <a:r>
              <a:rPr lang="ar-SA" sz="1600" b="1" dirty="0" smtClean="0"/>
              <a:t>.</a:t>
            </a:r>
            <a:endParaRPr lang="ar-SA" sz="1600" b="1" dirty="0"/>
          </a:p>
          <a:p>
            <a:pPr marL="214313" lvl="0" indent="-214313" algn="r" rtl="1" eaLnBrk="0" hangingPunct="0">
              <a:spcBef>
                <a:spcPts val="1200"/>
              </a:spcBef>
              <a:buClr>
                <a:srgbClr val="FF0000"/>
              </a:buClr>
              <a:buFont typeface="Arial" panose="020B0604020202020204" pitchFamily="34" charset="0"/>
              <a:buChar char="•"/>
            </a:pPr>
            <a:r>
              <a:rPr lang="ar-TN" sz="1600" b="1" dirty="0"/>
              <a:t>الانتهاء من أشغال محطة التطهير بمكثر وتدعيم وتهذيب شبكة التطهير بالمدينة بكلفة 10,4 </a:t>
            </a:r>
            <a:r>
              <a:rPr lang="ar-TN" sz="1600" b="1" dirty="0" smtClean="0"/>
              <a:t>م د</a:t>
            </a:r>
            <a:r>
              <a:rPr lang="ar-SA" sz="1600" b="1" dirty="0" smtClean="0"/>
              <a:t>.</a:t>
            </a:r>
            <a:endParaRPr lang="ar-SA" sz="1600" b="1" dirty="0"/>
          </a:p>
          <a:p>
            <a:pPr marL="214313" lvl="0" indent="-214313" algn="r" rtl="1" eaLnBrk="0" hangingPunct="0">
              <a:spcBef>
                <a:spcPts val="1200"/>
              </a:spcBef>
              <a:buClr>
                <a:srgbClr val="FF0000"/>
              </a:buClr>
              <a:buFont typeface="Arial" panose="020B0604020202020204" pitchFamily="34" charset="0"/>
              <a:buChar char="•"/>
            </a:pPr>
            <a:r>
              <a:rPr lang="ar-TN" sz="1600" b="1" dirty="0" smtClean="0"/>
              <a:t>إنجاز </a:t>
            </a:r>
            <a:r>
              <a:rPr lang="ar-TN" sz="1600" b="1" dirty="0"/>
              <a:t>محطة التطهير بمدينة </a:t>
            </a:r>
            <a:r>
              <a:rPr lang="ar-TN" sz="1600" b="1" dirty="0" err="1"/>
              <a:t>المزونة</a:t>
            </a:r>
            <a:r>
              <a:rPr lang="ar-TN" sz="1600" b="1" dirty="0"/>
              <a:t> بولاية سيدي بوزيد بكلفة 4,2 م د</a:t>
            </a:r>
            <a:endParaRPr lang="fr-FR" sz="1600" b="1" dirty="0"/>
          </a:p>
          <a:p>
            <a:pPr marL="214313" indent="-214313" algn="r" rtl="1" eaLnBrk="0" hangingPunct="0">
              <a:spcBef>
                <a:spcPts val="1200"/>
              </a:spcBef>
              <a:buClr>
                <a:srgbClr val="FF0000"/>
              </a:buClr>
              <a:buFont typeface="Arial" panose="020B0604020202020204" pitchFamily="34" charset="0"/>
              <a:buChar char="•"/>
            </a:pPr>
            <a:r>
              <a:rPr lang="ar-TN" sz="1600" b="1" dirty="0"/>
              <a:t>الانتهاء من تطهير 32 حيّا شعبيا من خلال مد 143 كلم من القنوات وربط 7800 مسكنا بالشبكة العمومية للتطهير بكلفة 10 م د.</a:t>
            </a:r>
            <a:endParaRPr lang="ar-TN" sz="1600" b="1" dirty="0" smtClean="0"/>
          </a:p>
          <a:p>
            <a:pPr marL="214313" lvl="0" indent="-214313" algn="r" rtl="1" eaLnBrk="0" hangingPunct="0">
              <a:spcBef>
                <a:spcPts val="1200"/>
              </a:spcBef>
              <a:buClr>
                <a:srgbClr val="FF0000"/>
              </a:buClr>
              <a:buFont typeface="Arial" panose="020B0604020202020204" pitchFamily="34" charset="0"/>
              <a:buChar char="•"/>
            </a:pPr>
            <a:r>
              <a:rPr lang="ar-SA" sz="1600" b="1" dirty="0" err="1"/>
              <a:t>إنطلاق</a:t>
            </a:r>
            <a:r>
              <a:rPr lang="ar-SA" sz="1600" b="1" dirty="0"/>
              <a:t> أشغال تطهير 11 مدينة صغرى بكل من </a:t>
            </a:r>
            <a:r>
              <a:rPr lang="ar-SA" sz="1600" b="1" dirty="0" err="1"/>
              <a:t>الخليدية</a:t>
            </a:r>
            <a:r>
              <a:rPr lang="ar-SA" sz="1600" b="1" dirty="0"/>
              <a:t> بولاية بن عروس ودار علوش ومنزل حر </a:t>
            </a:r>
            <a:r>
              <a:rPr lang="ar-SA" sz="1600" b="1" dirty="0" err="1"/>
              <a:t>وآزمور</a:t>
            </a:r>
            <a:r>
              <a:rPr lang="ar-SA" sz="1600" b="1" dirty="0"/>
              <a:t> بولاية نابل وجبل الوسط بولاية زغوان ونصر الله ومنزل مهيري والعلا بولاية القيروان </a:t>
            </a:r>
            <a:r>
              <a:rPr lang="ar-SA" sz="1600" b="1" dirty="0" err="1"/>
              <a:t>وملولش</a:t>
            </a:r>
            <a:r>
              <a:rPr lang="ar-SA" sz="1600" b="1" dirty="0"/>
              <a:t> بولاية المهدية وبئر علي بن خليفة </a:t>
            </a:r>
            <a:r>
              <a:rPr lang="ar-SA" sz="1600" b="1" dirty="0" err="1"/>
              <a:t>والصخيرة</a:t>
            </a:r>
            <a:r>
              <a:rPr lang="ar-SA" sz="1600" b="1" dirty="0"/>
              <a:t> بولاية صفاقس؛</a:t>
            </a:r>
            <a:endParaRPr lang="fr-FR" sz="1600" b="1" dirty="0"/>
          </a:p>
          <a:p>
            <a:pPr algn="r" rtl="1" eaLnBrk="0" hangingPunct="0">
              <a:spcBef>
                <a:spcPts val="600"/>
              </a:spcBef>
              <a:buClr>
                <a:srgbClr val="FF0000"/>
              </a:buClr>
            </a:pPr>
            <a:endParaRPr lang="ar-TN" sz="1400" dirty="0">
              <a:solidFill>
                <a:schemeClr val="tx1"/>
              </a:solidFill>
            </a:endParaRPr>
          </a:p>
        </p:txBody>
      </p:sp>
      <p:sp>
        <p:nvSpPr>
          <p:cNvPr id="5" name="Rectangle 4"/>
          <p:cNvSpPr/>
          <p:nvPr/>
        </p:nvSpPr>
        <p:spPr>
          <a:xfrm>
            <a:off x="7315198" y="3238014"/>
            <a:ext cx="1620000" cy="792000"/>
          </a:xfrm>
          <a:prstGeom prst="rect">
            <a:avLst/>
          </a:prstGeom>
          <a:ln w="9525">
            <a:solidFill>
              <a:srgbClr val="980F39"/>
            </a:solidFill>
          </a:ln>
        </p:spPr>
        <p:style>
          <a:lnRef idx="2">
            <a:schemeClr val="accent2"/>
          </a:lnRef>
          <a:fillRef idx="1">
            <a:schemeClr val="lt1"/>
          </a:fillRef>
          <a:effectRef idx="0">
            <a:schemeClr val="accent2"/>
          </a:effectRef>
          <a:fontRef idx="minor">
            <a:schemeClr val="dk1"/>
          </a:fontRef>
        </p:style>
        <p:txBody>
          <a:bodyPr lIns="0" rIns="0" rtlCol="0" anchor="ctr" anchorCtr="0"/>
          <a:lstStyle/>
          <a:p>
            <a:pPr marL="92075" lvl="2" algn="r" defTabSz="182563" rtl="1"/>
            <a:r>
              <a:rPr lang="ar-TN" sz="1600" b="1" dirty="0" smtClean="0">
                <a:latin typeface="Simplified Arabic" pitchFamily="18" charset="-78"/>
                <a:cs typeface="Simplified Arabic" pitchFamily="18" charset="-78"/>
              </a:rPr>
              <a:t>البيئة والتنمية المستدامة</a:t>
            </a:r>
            <a:endParaRPr lang="fr-FR" sz="1600" b="1" dirty="0"/>
          </a:p>
        </p:txBody>
      </p:sp>
      <p:sp>
        <p:nvSpPr>
          <p:cNvPr id="6" name="Isosceles Triangle 65"/>
          <p:cNvSpPr/>
          <p:nvPr/>
        </p:nvSpPr>
        <p:spPr>
          <a:xfrm rot="16200000">
            <a:off x="6834678" y="3562925"/>
            <a:ext cx="620412" cy="142177"/>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latin typeface="Arial" pitchFamily="34" charset="0"/>
              <a:cs typeface="Arial" pitchFamily="34" charset="0"/>
            </a:endParaRPr>
          </a:p>
        </p:txBody>
      </p:sp>
      <p:sp>
        <p:nvSpPr>
          <p:cNvPr id="8" name="Text Placeholder 4"/>
          <p:cNvSpPr>
            <a:spLocks noGrp="1"/>
          </p:cNvSpPr>
          <p:nvPr>
            <p:ph type="body" sz="quarter" idx="23"/>
          </p:nvPr>
        </p:nvSpPr>
        <p:spPr>
          <a:xfrm>
            <a:off x="163515" y="176213"/>
            <a:ext cx="8791575" cy="711200"/>
          </a:xfrm>
        </p:spPr>
        <p:txBody>
          <a:bodyPr/>
          <a:lstStyle/>
          <a:p>
            <a:pPr marL="0" lvl="4" indent="0" algn="ctr" rtl="1" fontAlgn="auto">
              <a:spcAft>
                <a:spcPts val="600"/>
              </a:spcAft>
              <a:buNone/>
              <a:defRPr/>
            </a:pPr>
            <a:r>
              <a:rPr lang="ar-TN" sz="2200" b="1" dirty="0">
                <a:solidFill>
                  <a:srgbClr val="FF0000"/>
                </a:solidFill>
                <a:latin typeface="Simplified Arabic" panose="02020603050405020304" pitchFamily="18" charset="-78"/>
                <a:cs typeface="Simplified Arabic" panose="02020603050405020304" pitchFamily="18" charset="-78"/>
              </a:rPr>
              <a:t>أ</a:t>
            </a:r>
            <a:r>
              <a:rPr lang="ar-TN" sz="2200" b="1" dirty="0" smtClean="0">
                <a:solidFill>
                  <a:srgbClr val="FF0000"/>
                </a:solidFill>
                <a:latin typeface="Simplified Arabic" panose="02020603050405020304" pitchFamily="18" charset="-78"/>
                <a:cs typeface="Simplified Arabic" panose="02020603050405020304" pitchFamily="18" charset="-78"/>
              </a:rPr>
              <a:t>هم </a:t>
            </a:r>
            <a:r>
              <a:rPr lang="ar-TN" sz="2200" b="1" dirty="0">
                <a:solidFill>
                  <a:srgbClr val="FF0000"/>
                </a:solidFill>
                <a:latin typeface="Simplified Arabic" panose="02020603050405020304" pitchFamily="18" charset="-78"/>
                <a:cs typeface="Simplified Arabic" panose="02020603050405020304" pitchFamily="18" charset="-78"/>
              </a:rPr>
              <a:t>المشاريع والبرامج والإصلاحات لسنة </a:t>
            </a:r>
            <a:r>
              <a:rPr lang="ar-TN" sz="2000" b="1" dirty="0">
                <a:solidFill>
                  <a:srgbClr val="FF0000"/>
                </a:solidFill>
                <a:latin typeface="Times New Roman" panose="02020603050405020304" pitchFamily="18" charset="0"/>
                <a:cs typeface="Times New Roman" panose="02020603050405020304" pitchFamily="18" charset="0"/>
              </a:rPr>
              <a:t>2020</a:t>
            </a:r>
            <a:endParaRPr lang="ar-TN" sz="2400" b="1"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331385974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144192" y="858442"/>
          <a:ext cx="1190" cy="1190"/>
        </p:xfrm>
        <a:graphic>
          <a:graphicData uri="http://schemas.openxmlformats.org/presentationml/2006/ole">
            <p:oleObj spid="_x0000_s178233" name="think-cell Slide" r:id="rId4" imgW="360" imgH="360" progId="">
              <p:embed/>
            </p:oleObj>
          </a:graphicData>
        </a:graphic>
      </p:graphicFrame>
      <p:sp>
        <p:nvSpPr>
          <p:cNvPr id="18" name="Rectangle 17"/>
          <p:cNvSpPr/>
          <p:nvPr/>
        </p:nvSpPr>
        <p:spPr>
          <a:xfrm>
            <a:off x="382130" y="1515533"/>
            <a:ext cx="6480000" cy="4148971"/>
          </a:xfrm>
          <a:prstGeom prst="rect">
            <a:avLst/>
          </a:prstGeom>
          <a:ln w="9525">
            <a:solidFill>
              <a:srgbClr val="980F39"/>
            </a:solidFill>
          </a:ln>
        </p:spPr>
        <p:style>
          <a:lnRef idx="2">
            <a:schemeClr val="accent2"/>
          </a:lnRef>
          <a:fillRef idx="1">
            <a:schemeClr val="lt1"/>
          </a:fillRef>
          <a:effectRef idx="0">
            <a:schemeClr val="accent2"/>
          </a:effectRef>
          <a:fontRef idx="minor">
            <a:schemeClr val="dk1"/>
          </a:fontRef>
        </p:style>
        <p:txBody>
          <a:bodyPr lIns="68573" tIns="68573" rIns="68573" bIns="68573" rtlCol="0" anchor="ctr"/>
          <a:lstStyle/>
          <a:p>
            <a:pPr marL="214313" indent="-214313" algn="r" rtl="1" eaLnBrk="0" hangingPunct="0">
              <a:spcBef>
                <a:spcPts val="1200"/>
              </a:spcBef>
              <a:buClr>
                <a:srgbClr val="FF0000"/>
              </a:buClr>
              <a:buFont typeface="Arial" panose="020B0604020202020204" pitchFamily="34" charset="0"/>
              <a:buChar char="•"/>
            </a:pPr>
            <a:r>
              <a:rPr lang="ar-SA" sz="1600" b="1" dirty="0" err="1" smtClean="0"/>
              <a:t>إنتهاء</a:t>
            </a:r>
            <a:r>
              <a:rPr lang="ar-SA" sz="1600" b="1" dirty="0" smtClean="0"/>
              <a:t> </a:t>
            </a:r>
            <a:r>
              <a:rPr lang="ar-SA" sz="1600" b="1" dirty="0"/>
              <a:t>أشغال توسيع وتهذيب محطة تطهير قفصة وتواصل أشغال توسيع وتهذيب 04 محطات تطهير بالمهدية والوردانين والجم وسيدي بوعلي والشروع في أشغال توسيع وتهذيب 05 محطات تطهير بالمحرس ونفطة والقصرين والحمامات الجنوبية وجنوب مليان2.</a:t>
            </a:r>
            <a:endParaRPr lang="ar-TN" sz="1600" b="1" dirty="0"/>
          </a:p>
          <a:p>
            <a:pPr marL="214313" indent="-214313" algn="r" rtl="1" eaLnBrk="0" hangingPunct="0">
              <a:spcBef>
                <a:spcPts val="1200"/>
              </a:spcBef>
              <a:buClr>
                <a:srgbClr val="FF0000"/>
              </a:buClr>
              <a:buFont typeface="Arial" panose="020B0604020202020204" pitchFamily="34" charset="0"/>
              <a:buChar char="•"/>
            </a:pPr>
            <a:r>
              <a:rPr lang="ar-TN" sz="1600" b="1" dirty="0"/>
              <a:t>مواصلة</a:t>
            </a:r>
            <a:r>
              <a:rPr lang="ar-SA" sz="1600" b="1" dirty="0"/>
              <a:t> أشغال محطتي تطهير المياه المستعملة الصناعية بالمنستير </a:t>
            </a:r>
            <a:r>
              <a:rPr lang="ar-SA" sz="1600" b="1" dirty="0" err="1"/>
              <a:t>والمكنين</a:t>
            </a:r>
            <a:r>
              <a:rPr lang="ar-TN" sz="1600" b="1" dirty="0"/>
              <a:t> فيما يتعلق ب</a:t>
            </a:r>
            <a:r>
              <a:rPr lang="ar-SA" sz="1600" b="1" dirty="0"/>
              <a:t>معالجة المياه المستعملة الصناعية</a:t>
            </a:r>
            <a:endParaRPr lang="fr-FR" sz="1600" b="1" dirty="0"/>
          </a:p>
          <a:p>
            <a:pPr marL="214313" indent="-214313" algn="r" rtl="1" eaLnBrk="0" hangingPunct="0">
              <a:spcBef>
                <a:spcPts val="1200"/>
              </a:spcBef>
              <a:buClr>
                <a:srgbClr val="FF0000"/>
              </a:buClr>
              <a:buFont typeface="Arial" panose="020B0604020202020204" pitchFamily="34" charset="0"/>
              <a:buChar char="•"/>
            </a:pPr>
            <a:r>
              <a:rPr lang="ar-TN" sz="1600" b="1" dirty="0">
                <a:solidFill>
                  <a:schemeClr val="tx1"/>
                </a:solidFill>
              </a:rPr>
              <a:t>الانتهاء من مشروع </a:t>
            </a:r>
            <a:r>
              <a:rPr lang="ar-SA" sz="1600" b="1" dirty="0">
                <a:solidFill>
                  <a:schemeClr val="tx1"/>
                </a:solidFill>
              </a:rPr>
              <a:t>دعم </a:t>
            </a:r>
            <a:r>
              <a:rPr lang="ar-SA" sz="1600" b="1" dirty="0" err="1">
                <a:solidFill>
                  <a:schemeClr val="tx1"/>
                </a:solidFill>
              </a:rPr>
              <a:t>الحوكمة</a:t>
            </a:r>
            <a:r>
              <a:rPr lang="ar-SA" sz="1600" b="1" dirty="0">
                <a:solidFill>
                  <a:schemeClr val="tx1"/>
                </a:solidFill>
              </a:rPr>
              <a:t> البيئية للأنشطة الصناعية بولاية قابس بكلفة 12 </a:t>
            </a:r>
            <a:r>
              <a:rPr lang="ar-SA" sz="1600" b="1" dirty="0" err="1">
                <a:solidFill>
                  <a:schemeClr val="tx1"/>
                </a:solidFill>
              </a:rPr>
              <a:t>م.د</a:t>
            </a:r>
            <a:endParaRPr lang="ar-TN" sz="1600" b="1" dirty="0">
              <a:solidFill>
                <a:schemeClr val="tx1"/>
              </a:solidFill>
            </a:endParaRPr>
          </a:p>
          <a:p>
            <a:pPr marL="214313" indent="-214313" algn="r" rtl="1" eaLnBrk="0" hangingPunct="0">
              <a:spcBef>
                <a:spcPts val="1200"/>
              </a:spcBef>
              <a:buClr>
                <a:srgbClr val="FF0000"/>
              </a:buClr>
              <a:buFont typeface="Arial" panose="020B0604020202020204" pitchFamily="34" charset="0"/>
              <a:buChar char="•"/>
            </a:pPr>
            <a:r>
              <a:rPr lang="ar-TN" sz="1600" b="1" dirty="0" smtClean="0">
                <a:solidFill>
                  <a:schemeClr val="tx1"/>
                </a:solidFill>
              </a:rPr>
              <a:t>الانتهاء </a:t>
            </a:r>
            <a:r>
              <a:rPr lang="ar-TN" sz="1600" b="1" dirty="0">
                <a:solidFill>
                  <a:schemeClr val="tx1"/>
                </a:solidFill>
              </a:rPr>
              <a:t>من مشروع التصرف المستدام في المنظومات </a:t>
            </a:r>
            <a:r>
              <a:rPr lang="ar-TN" sz="1600" b="1" dirty="0" err="1">
                <a:solidFill>
                  <a:schemeClr val="tx1"/>
                </a:solidFill>
              </a:rPr>
              <a:t>الواحية</a:t>
            </a:r>
            <a:r>
              <a:rPr lang="ar-TN" sz="1600" b="1" dirty="0">
                <a:solidFill>
                  <a:schemeClr val="tx1"/>
                </a:solidFill>
              </a:rPr>
              <a:t> بتونس بكلفة 12,5 </a:t>
            </a:r>
            <a:r>
              <a:rPr lang="ar-TN" sz="1600" b="1" dirty="0" err="1" smtClean="0">
                <a:solidFill>
                  <a:schemeClr val="tx1"/>
                </a:solidFill>
              </a:rPr>
              <a:t>م.د</a:t>
            </a:r>
            <a:endParaRPr lang="ar-TN" sz="1600" b="1" dirty="0">
              <a:solidFill>
                <a:schemeClr val="tx1"/>
              </a:solidFill>
            </a:endParaRPr>
          </a:p>
        </p:txBody>
      </p:sp>
      <p:sp>
        <p:nvSpPr>
          <p:cNvPr id="5" name="Rectangle 4"/>
          <p:cNvSpPr/>
          <p:nvPr/>
        </p:nvSpPr>
        <p:spPr>
          <a:xfrm>
            <a:off x="7315198" y="3238014"/>
            <a:ext cx="1620000" cy="792000"/>
          </a:xfrm>
          <a:prstGeom prst="rect">
            <a:avLst/>
          </a:prstGeom>
          <a:ln w="9525">
            <a:solidFill>
              <a:srgbClr val="980F39"/>
            </a:solidFill>
          </a:ln>
        </p:spPr>
        <p:style>
          <a:lnRef idx="2">
            <a:schemeClr val="accent2"/>
          </a:lnRef>
          <a:fillRef idx="1">
            <a:schemeClr val="lt1"/>
          </a:fillRef>
          <a:effectRef idx="0">
            <a:schemeClr val="accent2"/>
          </a:effectRef>
          <a:fontRef idx="minor">
            <a:schemeClr val="dk1"/>
          </a:fontRef>
        </p:style>
        <p:txBody>
          <a:bodyPr lIns="0" rIns="0" rtlCol="0" anchor="ctr" anchorCtr="0"/>
          <a:lstStyle/>
          <a:p>
            <a:pPr marL="92075" lvl="2" algn="r" defTabSz="182563" rtl="1"/>
            <a:r>
              <a:rPr lang="ar-TN" sz="1600" b="1" dirty="0" smtClean="0">
                <a:latin typeface="Simplified Arabic" pitchFamily="18" charset="-78"/>
                <a:cs typeface="Simplified Arabic" pitchFamily="18" charset="-78"/>
              </a:rPr>
              <a:t>البيئة والتنمية المستدامة</a:t>
            </a:r>
            <a:endParaRPr lang="fr-FR" sz="1600" b="1" dirty="0"/>
          </a:p>
        </p:txBody>
      </p:sp>
      <p:sp>
        <p:nvSpPr>
          <p:cNvPr id="6" name="Isosceles Triangle 65"/>
          <p:cNvSpPr/>
          <p:nvPr/>
        </p:nvSpPr>
        <p:spPr>
          <a:xfrm rot="16200000">
            <a:off x="6834678" y="3590232"/>
            <a:ext cx="620412" cy="142177"/>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latin typeface="Arial" pitchFamily="34" charset="0"/>
              <a:cs typeface="Arial" pitchFamily="34" charset="0"/>
            </a:endParaRPr>
          </a:p>
        </p:txBody>
      </p:sp>
      <p:sp>
        <p:nvSpPr>
          <p:cNvPr id="8" name="Text Placeholder 4"/>
          <p:cNvSpPr>
            <a:spLocks noGrp="1"/>
          </p:cNvSpPr>
          <p:nvPr>
            <p:ph type="body" sz="quarter" idx="23"/>
          </p:nvPr>
        </p:nvSpPr>
        <p:spPr>
          <a:xfrm>
            <a:off x="163515" y="176213"/>
            <a:ext cx="8791575" cy="711200"/>
          </a:xfrm>
        </p:spPr>
        <p:txBody>
          <a:bodyPr/>
          <a:lstStyle/>
          <a:p>
            <a:pPr marL="0" lvl="4" indent="0" algn="ctr" rtl="1" fontAlgn="auto">
              <a:spcAft>
                <a:spcPts val="600"/>
              </a:spcAft>
              <a:buNone/>
              <a:defRPr/>
            </a:pPr>
            <a:r>
              <a:rPr lang="ar-TN" sz="2200" b="1" dirty="0">
                <a:solidFill>
                  <a:srgbClr val="FF0000"/>
                </a:solidFill>
                <a:latin typeface="Simplified Arabic" panose="02020603050405020304" pitchFamily="18" charset="-78"/>
                <a:cs typeface="Simplified Arabic" panose="02020603050405020304" pitchFamily="18" charset="-78"/>
              </a:rPr>
              <a:t>أ</a:t>
            </a:r>
            <a:r>
              <a:rPr lang="ar-TN" sz="2200" b="1" dirty="0" smtClean="0">
                <a:solidFill>
                  <a:srgbClr val="FF0000"/>
                </a:solidFill>
                <a:latin typeface="Simplified Arabic" panose="02020603050405020304" pitchFamily="18" charset="-78"/>
                <a:cs typeface="Simplified Arabic" panose="02020603050405020304" pitchFamily="18" charset="-78"/>
              </a:rPr>
              <a:t>هم </a:t>
            </a:r>
            <a:r>
              <a:rPr lang="ar-TN" sz="2200" b="1" dirty="0">
                <a:solidFill>
                  <a:srgbClr val="FF0000"/>
                </a:solidFill>
                <a:latin typeface="Simplified Arabic" panose="02020603050405020304" pitchFamily="18" charset="-78"/>
                <a:cs typeface="Simplified Arabic" panose="02020603050405020304" pitchFamily="18" charset="-78"/>
              </a:rPr>
              <a:t>المشاريع والبرامج والإصلاحات لسنة </a:t>
            </a:r>
            <a:r>
              <a:rPr lang="ar-TN" sz="2000" b="1" dirty="0">
                <a:solidFill>
                  <a:srgbClr val="FF0000"/>
                </a:solidFill>
                <a:latin typeface="Times New Roman" panose="02020603050405020304" pitchFamily="18" charset="0"/>
                <a:cs typeface="Times New Roman" panose="02020603050405020304" pitchFamily="18" charset="0"/>
              </a:rPr>
              <a:t>2020</a:t>
            </a:r>
            <a:endParaRPr lang="ar-TN" sz="2400" b="1"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198795198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p:oleObj spid="_x0000_s163928" name="think-cell Slide" r:id="rId4" imgW="360" imgH="360" progId="">
              <p:embed/>
            </p:oleObj>
          </a:graphicData>
        </a:graphic>
      </p:graphicFrame>
      <p:sp>
        <p:nvSpPr>
          <p:cNvPr id="2" name="Rectangle 1"/>
          <p:cNvSpPr/>
          <p:nvPr/>
        </p:nvSpPr>
        <p:spPr>
          <a:xfrm>
            <a:off x="475065" y="1337003"/>
            <a:ext cx="5909832" cy="2569934"/>
          </a:xfrm>
          <a:prstGeom prst="rect">
            <a:avLst/>
          </a:prstGeom>
          <a:ln>
            <a:solidFill>
              <a:srgbClr val="E51B2E"/>
            </a:solidFill>
          </a:ln>
        </p:spPr>
        <p:txBody>
          <a:bodyPr wrap="square">
            <a:spAutoFit/>
          </a:bodyPr>
          <a:lstStyle/>
          <a:p>
            <a:pPr lvl="0" algn="r" rtl="1">
              <a:spcBef>
                <a:spcPts val="600"/>
              </a:spcBef>
              <a:buFont typeface="Wingdings" pitchFamily="2" charset="2"/>
              <a:buChar char="§"/>
            </a:pPr>
            <a:r>
              <a:rPr lang="ar-TN" sz="1600" b="1" dirty="0"/>
              <a:t>تمثل الأجندة 2030 او اهداف التنمية المستدامة الاطار الاشمل لضمان نمو اقتصادي مستدام ودامج لجميع الفئات والجهات وتحقيق الهدف العالمي لكي لا يترك احد خارج السرب. وعلى هذا الأساس ستتركز الاشغال خلال </a:t>
            </a:r>
            <a:r>
              <a:rPr lang="ar-TN" sz="1600" b="1" dirty="0" smtClean="0"/>
              <a:t> 2020 على : </a:t>
            </a:r>
          </a:p>
          <a:p>
            <a:pPr lvl="0" algn="r" rtl="1">
              <a:spcBef>
                <a:spcPts val="600"/>
              </a:spcBef>
              <a:buFont typeface="Wingdings" pitchFamily="2" charset="2"/>
              <a:buChar char="§"/>
            </a:pPr>
            <a:r>
              <a:rPr lang="ar-TN" sz="1600" b="1" dirty="0" smtClean="0"/>
              <a:t>وضع بوابة خاصة بأهداف التنمية المستدامة تكون منصة لتبادل الآراء وتقديم المعطيات والمؤشرات  المتعلقة بمدى تنفيذ هذه الاهداف.</a:t>
            </a:r>
          </a:p>
          <a:p>
            <a:pPr lvl="0" algn="r" rtl="1">
              <a:spcBef>
                <a:spcPts val="600"/>
              </a:spcBef>
              <a:buFont typeface="Wingdings" pitchFamily="2" charset="2"/>
              <a:buChar char="§"/>
            </a:pPr>
            <a:r>
              <a:rPr lang="ar-TN" sz="1600" b="1" dirty="0" smtClean="0"/>
              <a:t> الشروع في اعداد التقرير الوطني الطوعي لسنة 2021 حول متابعة تنفيذ اهداف التنمية المستدامة لعرضه امام المنتدى السياسي رفيع المستوى للتنمية المستدامة التابع للأمم المتحدة</a:t>
            </a:r>
          </a:p>
          <a:p>
            <a:pPr lvl="0" algn="r" rtl="1">
              <a:spcBef>
                <a:spcPts val="600"/>
              </a:spcBef>
              <a:buFont typeface="Wingdings" pitchFamily="2" charset="2"/>
              <a:buChar char="§"/>
            </a:pPr>
            <a:r>
              <a:rPr lang="ar-TN" sz="1600" b="1" dirty="0"/>
              <a:t> </a:t>
            </a:r>
            <a:r>
              <a:rPr lang="ar-TN" sz="1600" b="1" dirty="0" smtClean="0"/>
              <a:t>اعداد الرؤية الوطنية 2030</a:t>
            </a:r>
            <a:r>
              <a:rPr lang="ar-TN" b="1" dirty="0" smtClean="0"/>
              <a:t> لتكون متناغمة مع اهداف التنمية المستدامة </a:t>
            </a:r>
            <a:endParaRPr lang="ar-TN" sz="1600" b="1" dirty="0" smtClean="0"/>
          </a:p>
        </p:txBody>
      </p:sp>
      <p:sp>
        <p:nvSpPr>
          <p:cNvPr id="4" name="Rectangle 3"/>
          <p:cNvSpPr/>
          <p:nvPr/>
        </p:nvSpPr>
        <p:spPr>
          <a:xfrm>
            <a:off x="6691860" y="2280850"/>
            <a:ext cx="2003251" cy="584775"/>
          </a:xfrm>
          <a:prstGeom prst="rect">
            <a:avLst/>
          </a:prstGeom>
          <a:ln>
            <a:solidFill>
              <a:srgbClr val="E51B2E"/>
            </a:solidFill>
          </a:ln>
        </p:spPr>
        <p:txBody>
          <a:bodyPr wrap="square">
            <a:spAutoFit/>
          </a:bodyPr>
          <a:lstStyle/>
          <a:p>
            <a:pPr algn="r"/>
            <a:r>
              <a:rPr lang="ar-TN" sz="1600" b="1" dirty="0" smtClean="0">
                <a:latin typeface="Arial" panose="020B0604020202020204" pitchFamily="34" charset="0"/>
                <a:cs typeface="Arial" panose="020B0604020202020204" pitchFamily="34" charset="0"/>
              </a:rPr>
              <a:t>متابعة تنفيذ اهداف التنمية المستدامة 2030</a:t>
            </a:r>
            <a:endParaRPr lang="fr-FR" sz="2000" dirty="0">
              <a:latin typeface="Arial" panose="020B0604020202020204" pitchFamily="34" charset="0"/>
              <a:cs typeface="Arial" panose="020B0604020202020204" pitchFamily="34" charset="0"/>
            </a:endParaRPr>
          </a:p>
        </p:txBody>
      </p:sp>
      <p:sp>
        <p:nvSpPr>
          <p:cNvPr id="6" name="Rectangle 5"/>
          <p:cNvSpPr/>
          <p:nvPr/>
        </p:nvSpPr>
        <p:spPr>
          <a:xfrm>
            <a:off x="6691861" y="4604359"/>
            <a:ext cx="2135286" cy="1077218"/>
          </a:xfrm>
          <a:prstGeom prst="rect">
            <a:avLst/>
          </a:prstGeom>
          <a:ln>
            <a:solidFill>
              <a:srgbClr val="E51B2E"/>
            </a:solidFill>
          </a:ln>
        </p:spPr>
        <p:txBody>
          <a:bodyPr wrap="square">
            <a:spAutoFit/>
          </a:bodyPr>
          <a:lstStyle/>
          <a:p>
            <a:pPr algn="ctr"/>
            <a:r>
              <a:rPr lang="ar-TN" sz="1600" b="1" dirty="0" smtClean="0">
                <a:latin typeface="Arial" panose="020B0604020202020204" pitchFamily="34" charset="0"/>
                <a:cs typeface="Arial" panose="020B0604020202020204" pitchFamily="34" charset="0"/>
              </a:rPr>
              <a:t>الرفع من مردودية الاستثمار العمومي: مواصلة توطين الاطار </a:t>
            </a:r>
            <a:r>
              <a:rPr lang="ar-TN" sz="1600" b="1" dirty="0">
                <a:latin typeface="Arial" panose="020B0604020202020204" pitchFamily="34" charset="0"/>
                <a:cs typeface="Arial" panose="020B0604020202020204" pitchFamily="34" charset="0"/>
              </a:rPr>
              <a:t>الموحد </a:t>
            </a:r>
            <a:r>
              <a:rPr lang="ar-TN" sz="1600" b="1" dirty="0" smtClean="0">
                <a:latin typeface="Arial" panose="020B0604020202020204" pitchFamily="34" charset="0"/>
                <a:cs typeface="Arial" panose="020B0604020202020204" pitchFamily="34" charset="0"/>
              </a:rPr>
              <a:t>لتقييم </a:t>
            </a:r>
            <a:r>
              <a:rPr lang="ar-TN" sz="1600" b="1" dirty="0">
                <a:latin typeface="Arial" panose="020B0604020202020204" pitchFamily="34" charset="0"/>
                <a:cs typeface="Arial" panose="020B0604020202020204" pitchFamily="34" charset="0"/>
              </a:rPr>
              <a:t>وإدارة الاستثمارات العمومية  </a:t>
            </a:r>
            <a:endParaRPr lang="fr-FR" sz="2000" dirty="0">
              <a:latin typeface="Arial" panose="020B0604020202020204" pitchFamily="34" charset="0"/>
              <a:cs typeface="Arial" panose="020B0604020202020204" pitchFamily="34" charset="0"/>
            </a:endParaRPr>
          </a:p>
        </p:txBody>
      </p:sp>
      <p:sp>
        <p:nvSpPr>
          <p:cNvPr id="7" name="Rectangle 6"/>
          <p:cNvSpPr/>
          <p:nvPr/>
        </p:nvSpPr>
        <p:spPr>
          <a:xfrm>
            <a:off x="475065" y="4243648"/>
            <a:ext cx="5909832" cy="1723549"/>
          </a:xfrm>
          <a:prstGeom prst="rect">
            <a:avLst/>
          </a:prstGeom>
          <a:ln>
            <a:solidFill>
              <a:srgbClr val="E51B2E"/>
            </a:solidFill>
          </a:ln>
        </p:spPr>
        <p:txBody>
          <a:bodyPr wrap="square">
            <a:spAutoFit/>
          </a:bodyPr>
          <a:lstStyle/>
          <a:p>
            <a:pPr lvl="0" algn="r" rtl="1">
              <a:spcBef>
                <a:spcPts val="600"/>
              </a:spcBef>
              <a:buFont typeface="Wingdings" pitchFamily="2" charset="2"/>
              <a:buChar char="§"/>
            </a:pPr>
            <a:r>
              <a:rPr lang="ar-TN" sz="1600" b="1" dirty="0" smtClean="0"/>
              <a:t>تنظيم دورات تكوينية، في اطار التعاون الدولي، لفائدة الإطارات المكلفة بإعداد المشاريع والميزانيات بالوزارات والمؤسسات العمومية </a:t>
            </a:r>
          </a:p>
          <a:p>
            <a:pPr lvl="0" algn="r" rtl="1">
              <a:spcBef>
                <a:spcPts val="600"/>
              </a:spcBef>
              <a:buFont typeface="Wingdings" pitchFamily="2" charset="2"/>
              <a:buChar char="§"/>
            </a:pPr>
            <a:r>
              <a:rPr lang="ar-TN" sz="1600" b="1" dirty="0" smtClean="0"/>
              <a:t>دراسة وبداء الرأي حول المشاريع المقترحة بميزانية سنة 2021 بالنسبة لكل الوزرات والمؤسسات العمومية واعتماد </a:t>
            </a:r>
            <a:r>
              <a:rPr lang="ar-TN" sz="1600" b="1" dirty="0" err="1" smtClean="0"/>
              <a:t>تطبيقة</a:t>
            </a:r>
            <a:r>
              <a:rPr lang="ar-TN" sz="1600" b="1" dirty="0" smtClean="0"/>
              <a:t> ترتيب لانتقاء المشاريع,</a:t>
            </a:r>
          </a:p>
          <a:p>
            <a:pPr lvl="0" algn="r" rtl="1">
              <a:spcBef>
                <a:spcPts val="600"/>
              </a:spcBef>
              <a:buFont typeface="Wingdings" pitchFamily="2" charset="2"/>
              <a:buChar char="§"/>
            </a:pPr>
            <a:r>
              <a:rPr lang="ar-TN" sz="1600" b="1" dirty="0" smtClean="0"/>
              <a:t>تنظيم حلقات تكوينية لفائدة الجماعات المحلية حول مقتضيات الامر عدد 394 لسنة 2017 والمتعلق بإحداث الاطار الموحد لتقييم وإدارة   </a:t>
            </a:r>
            <a:endParaRPr lang="fr-FR" sz="1600" b="1" dirty="0"/>
          </a:p>
        </p:txBody>
      </p:sp>
      <p:sp>
        <p:nvSpPr>
          <p:cNvPr id="9" name="Text Placeholder 4"/>
          <p:cNvSpPr>
            <a:spLocks noGrp="1"/>
          </p:cNvSpPr>
          <p:nvPr>
            <p:ph type="body" sz="quarter" idx="23"/>
          </p:nvPr>
        </p:nvSpPr>
        <p:spPr>
          <a:xfrm>
            <a:off x="163515" y="176213"/>
            <a:ext cx="8791575" cy="711200"/>
          </a:xfrm>
        </p:spPr>
        <p:txBody>
          <a:bodyPr/>
          <a:lstStyle/>
          <a:p>
            <a:pPr marL="0" lvl="4" indent="0" algn="ctr" rtl="1" fontAlgn="auto">
              <a:spcAft>
                <a:spcPts val="600"/>
              </a:spcAft>
              <a:buNone/>
              <a:defRPr/>
            </a:pPr>
            <a:r>
              <a:rPr lang="ar-TN" sz="2200" b="1" dirty="0">
                <a:solidFill>
                  <a:srgbClr val="FF0000"/>
                </a:solidFill>
                <a:latin typeface="Simplified Arabic" panose="02020603050405020304" pitchFamily="18" charset="-78"/>
                <a:cs typeface="Simplified Arabic" panose="02020603050405020304" pitchFamily="18" charset="-78"/>
              </a:rPr>
              <a:t>أ</a:t>
            </a:r>
            <a:r>
              <a:rPr lang="ar-TN" sz="2200" b="1" dirty="0" smtClean="0">
                <a:solidFill>
                  <a:srgbClr val="FF0000"/>
                </a:solidFill>
                <a:latin typeface="Simplified Arabic" panose="02020603050405020304" pitchFamily="18" charset="-78"/>
                <a:cs typeface="Simplified Arabic" panose="02020603050405020304" pitchFamily="18" charset="-78"/>
              </a:rPr>
              <a:t>هم </a:t>
            </a:r>
            <a:r>
              <a:rPr lang="ar-TN" sz="2200" b="1" dirty="0">
                <a:solidFill>
                  <a:srgbClr val="FF0000"/>
                </a:solidFill>
                <a:latin typeface="Simplified Arabic" panose="02020603050405020304" pitchFamily="18" charset="-78"/>
                <a:cs typeface="Simplified Arabic" panose="02020603050405020304" pitchFamily="18" charset="-78"/>
              </a:rPr>
              <a:t>المشاريع والبرامج والإصلاحات لسنة </a:t>
            </a:r>
            <a:r>
              <a:rPr lang="ar-TN" sz="2000" b="1" dirty="0">
                <a:solidFill>
                  <a:srgbClr val="FF0000"/>
                </a:solidFill>
                <a:latin typeface="Times New Roman" panose="02020603050405020304" pitchFamily="18" charset="0"/>
                <a:cs typeface="Times New Roman" panose="02020603050405020304" pitchFamily="18" charset="0"/>
              </a:rPr>
              <a:t>2020</a:t>
            </a:r>
            <a:endParaRPr lang="ar-TN" sz="2400" b="1" dirty="0">
              <a:solidFill>
                <a:srgbClr val="FF0000"/>
              </a:solidFill>
              <a:latin typeface="Times New Roman" panose="02020603050405020304" pitchFamily="18" charset="0"/>
              <a:cs typeface="Times New Roman" panose="02020603050405020304" pitchFamily="18" charset="0"/>
            </a:endParaRPr>
          </a:p>
        </p:txBody>
      </p:sp>
      <p:sp>
        <p:nvSpPr>
          <p:cNvPr id="8" name="Isosceles Triangle 65"/>
          <p:cNvSpPr/>
          <p:nvPr/>
        </p:nvSpPr>
        <p:spPr>
          <a:xfrm rot="16200000">
            <a:off x="6269288" y="5076384"/>
            <a:ext cx="620412" cy="142177"/>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latin typeface="Arial" pitchFamily="34" charset="0"/>
              <a:cs typeface="Arial" pitchFamily="34" charset="0"/>
            </a:endParaRPr>
          </a:p>
        </p:txBody>
      </p:sp>
      <p:sp>
        <p:nvSpPr>
          <p:cNvPr id="10" name="Isosceles Triangle 65"/>
          <p:cNvSpPr/>
          <p:nvPr/>
        </p:nvSpPr>
        <p:spPr>
          <a:xfrm rot="16200000">
            <a:off x="6240887" y="2492348"/>
            <a:ext cx="620412" cy="142177"/>
          </a:xfrm>
          <a:prstGeom prst="triangle">
            <a:avLst/>
          </a:prstGeom>
          <a:solidFill>
            <a:srgbClr val="980F39"/>
          </a:solidFill>
          <a:ln>
            <a:solidFill>
              <a:schemeClr val="bg1"/>
            </a:solid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200" b="1">
              <a:latin typeface="Arial" pitchFamily="34" charset="0"/>
              <a:cs typeface="Arial" pitchFamily="34" charset="0"/>
            </a:endParaRPr>
          </a:p>
        </p:txBody>
      </p:sp>
    </p:spTree>
    <p:extLst>
      <p:ext uri="{BB962C8B-B14F-4D97-AF65-F5344CB8AC3E}">
        <p14:creationId xmlns:p14="http://schemas.microsoft.com/office/powerpoint/2010/main" xmlns="" val="269117850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0" y="174923"/>
            <a:ext cx="9144000" cy="707886"/>
          </a:xfrm>
          <a:prstGeom prst="rect">
            <a:avLst/>
          </a:prstGeom>
          <a:noFill/>
        </p:spPr>
        <p:txBody>
          <a:bodyPr wrap="square" rtlCol="0">
            <a:spAutoFit/>
          </a:bodyPr>
          <a:lstStyle/>
          <a:p>
            <a:pPr algn="r"/>
            <a:r>
              <a:rPr lang="ar-TN" sz="2200" b="1" dirty="0" smtClean="0">
                <a:solidFill>
                  <a:srgbClr val="E51B2E"/>
                </a:solidFill>
                <a:latin typeface="Simplified Arabic" pitchFamily="18" charset="-78"/>
                <a:cs typeface="Simplified Arabic" pitchFamily="18" charset="-78"/>
              </a:rPr>
              <a:t>الظرف الاقتصادي الوطني</a:t>
            </a:r>
          </a:p>
          <a:p>
            <a:r>
              <a:rPr lang="ar-TN" b="1" dirty="0" smtClean="0">
                <a:latin typeface="Simplified Arabic" pitchFamily="18" charset="-78"/>
                <a:cs typeface="Simplified Arabic" pitchFamily="18" charset="-78"/>
              </a:rPr>
              <a:t>تأكّد ديناميكية القطاع السياحي</a:t>
            </a:r>
            <a:endParaRPr lang="fr-FR" b="1" dirty="0">
              <a:latin typeface="Simplified Arabic" pitchFamily="18" charset="-78"/>
              <a:cs typeface="Simplified Arabic" pitchFamily="18" charset="-78"/>
            </a:endParaRPr>
          </a:p>
        </p:txBody>
      </p:sp>
      <p:sp>
        <p:nvSpPr>
          <p:cNvPr id="15" name="Rectangle à coins arrondis 14"/>
          <p:cNvSpPr/>
          <p:nvPr/>
        </p:nvSpPr>
        <p:spPr>
          <a:xfrm>
            <a:off x="603849" y="4140679"/>
            <a:ext cx="8008307" cy="1871932"/>
          </a:xfrm>
          <a:prstGeom prst="round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77825" lvl="1" indent="-285750" algn="just" rtl="1">
              <a:lnSpc>
                <a:spcPct val="150000"/>
              </a:lnSpc>
              <a:spcAft>
                <a:spcPts val="600"/>
              </a:spcAft>
              <a:buClr>
                <a:srgbClr val="006E00"/>
              </a:buClr>
              <a:buSzPct val="75000"/>
              <a:buFont typeface="Arial" panose="020B0604020202020204" pitchFamily="34" charset="0"/>
              <a:buChar char="•"/>
            </a:pPr>
            <a:r>
              <a:rPr lang="ar-TN" b="1" spc="-70" dirty="0" smtClean="0">
                <a:solidFill>
                  <a:schemeClr val="tx1"/>
                </a:solidFill>
                <a:latin typeface="Simplified Arabic" panose="02020603050405020304" pitchFamily="18" charset="-78"/>
                <a:cs typeface="Simplified Arabic" panose="02020603050405020304" pitchFamily="18" charset="-78"/>
              </a:rPr>
              <a:t>بلوغ الأهداف الكمية المرسومة لسنة </a:t>
            </a:r>
            <a:r>
              <a:rPr lang="fr-FR" b="1" spc="-70" dirty="0" smtClean="0">
                <a:solidFill>
                  <a:schemeClr val="tx1"/>
                </a:solidFill>
                <a:latin typeface="Simplified Arabic" panose="02020603050405020304" pitchFamily="18" charset="-78"/>
                <a:cs typeface="Simplified Arabic" panose="02020603050405020304" pitchFamily="18" charset="-78"/>
              </a:rPr>
              <a:t>2019</a:t>
            </a:r>
            <a:r>
              <a:rPr lang="ar-TN" b="1" spc="-70" dirty="0" smtClean="0">
                <a:solidFill>
                  <a:schemeClr val="tx1"/>
                </a:solidFill>
                <a:latin typeface="Simplified Arabic" panose="02020603050405020304" pitchFamily="18" charset="-78"/>
                <a:cs typeface="Simplified Arabic" panose="02020603050405020304" pitchFamily="18" charset="-78"/>
              </a:rPr>
              <a:t>: </a:t>
            </a:r>
          </a:p>
          <a:p>
            <a:pPr marL="835025" lvl="2" indent="-285750" algn="just" rtl="1">
              <a:lnSpc>
                <a:spcPct val="150000"/>
              </a:lnSpc>
              <a:spcAft>
                <a:spcPts val="600"/>
              </a:spcAft>
              <a:buClr>
                <a:srgbClr val="006E00"/>
              </a:buClr>
              <a:buSzPct val="80000"/>
              <a:buFont typeface="Symbol" panose="05050102010706020507" pitchFamily="18" charset="2"/>
              <a:buChar char="-"/>
            </a:pPr>
            <a:r>
              <a:rPr lang="ar-TN" b="1" spc="-70" dirty="0" smtClean="0">
                <a:solidFill>
                  <a:schemeClr val="tx1"/>
                </a:solidFill>
                <a:latin typeface="Simplified Arabic" panose="02020603050405020304" pitchFamily="18" charset="-78"/>
                <a:cs typeface="Simplified Arabic" panose="02020603050405020304" pitchFamily="18" charset="-78"/>
              </a:rPr>
              <a:t>تسجيل مستوى قياسي للعائدات السياحية (5008 م د إلى موفى </a:t>
            </a:r>
            <a:r>
              <a:rPr lang="fr-FR" b="1" spc="-70" dirty="0" smtClean="0">
                <a:solidFill>
                  <a:schemeClr val="tx1"/>
                </a:solidFill>
                <a:latin typeface="Simplified Arabic" panose="02020603050405020304" pitchFamily="18" charset="-78"/>
                <a:cs typeface="Simplified Arabic" panose="02020603050405020304" pitchFamily="18" charset="-78"/>
              </a:rPr>
              <a:t>10</a:t>
            </a:r>
            <a:r>
              <a:rPr lang="ar-TN" b="1" spc="-70" dirty="0" smtClean="0">
                <a:solidFill>
                  <a:schemeClr val="tx1"/>
                </a:solidFill>
                <a:latin typeface="Simplified Arabic" panose="02020603050405020304" pitchFamily="18" charset="-78"/>
                <a:cs typeface="Simplified Arabic" panose="02020603050405020304" pitchFamily="18" charset="-78"/>
              </a:rPr>
              <a:t> نوفمبر) فاق عائدات </a:t>
            </a:r>
            <a:r>
              <a:rPr lang="fr-FR" b="1" spc="-70" dirty="0" smtClean="0">
                <a:solidFill>
                  <a:schemeClr val="tx1"/>
                </a:solidFill>
                <a:latin typeface="Simplified Arabic" panose="02020603050405020304" pitchFamily="18" charset="-78"/>
                <a:cs typeface="Simplified Arabic" panose="02020603050405020304" pitchFamily="18" charset="-78"/>
              </a:rPr>
              <a:t>2014</a:t>
            </a:r>
            <a:r>
              <a:rPr lang="ar-TN" b="1" spc="-70" dirty="0" smtClean="0">
                <a:solidFill>
                  <a:schemeClr val="tx1"/>
                </a:solidFill>
                <a:latin typeface="Simplified Arabic" panose="02020603050405020304" pitchFamily="18" charset="-78"/>
                <a:cs typeface="Simplified Arabic" panose="02020603050405020304" pitchFamily="18" charset="-78"/>
              </a:rPr>
              <a:t> (3136,2 م د) وعائدات </a:t>
            </a:r>
            <a:r>
              <a:rPr lang="fr-FR" b="1" spc="-70" dirty="0" smtClean="0">
                <a:solidFill>
                  <a:schemeClr val="tx1"/>
                </a:solidFill>
                <a:latin typeface="Simplified Arabic" panose="02020603050405020304" pitchFamily="18" charset="-78"/>
                <a:cs typeface="Simplified Arabic" panose="02020603050405020304" pitchFamily="18" charset="-78"/>
              </a:rPr>
              <a:t>2010</a:t>
            </a:r>
            <a:r>
              <a:rPr lang="ar-TN" b="1" spc="-70" dirty="0" smtClean="0">
                <a:solidFill>
                  <a:schemeClr val="tx1"/>
                </a:solidFill>
                <a:latin typeface="Simplified Arabic" panose="02020603050405020304" pitchFamily="18" charset="-78"/>
                <a:cs typeface="Simplified Arabic" panose="02020603050405020304" pitchFamily="18" charset="-78"/>
              </a:rPr>
              <a:t> (2973,6 م د).</a:t>
            </a:r>
          </a:p>
          <a:p>
            <a:pPr marL="835025" lvl="2" indent="-285750" algn="just" rtl="1">
              <a:lnSpc>
                <a:spcPct val="150000"/>
              </a:lnSpc>
              <a:spcAft>
                <a:spcPts val="600"/>
              </a:spcAft>
              <a:buClr>
                <a:srgbClr val="006E00"/>
              </a:buClr>
              <a:buSzPct val="80000"/>
              <a:buFont typeface="Symbol" panose="05050102010706020507" pitchFamily="18" charset="2"/>
              <a:buChar char="-"/>
            </a:pPr>
            <a:r>
              <a:rPr lang="ar-TN" b="1" spc="-70" dirty="0" smtClean="0">
                <a:solidFill>
                  <a:schemeClr val="tx1"/>
                </a:solidFill>
                <a:latin typeface="Simplified Arabic" panose="02020603050405020304" pitchFamily="18" charset="-78"/>
                <a:cs typeface="Simplified Arabic" panose="02020603050405020304" pitchFamily="18" charset="-78"/>
              </a:rPr>
              <a:t>توقع تسجيل رقم قياسي على مستوى عدد السياح الوافدين ليتجاوز عتبة الـ </a:t>
            </a:r>
            <a:r>
              <a:rPr lang="fr-FR" b="1" spc="-70" dirty="0" smtClean="0">
                <a:solidFill>
                  <a:schemeClr val="tx1"/>
                </a:solidFill>
                <a:latin typeface="Simplified Arabic" panose="02020603050405020304" pitchFamily="18" charset="-78"/>
                <a:cs typeface="Simplified Arabic" panose="02020603050405020304" pitchFamily="18" charset="-78"/>
              </a:rPr>
              <a:t>7</a:t>
            </a:r>
            <a:r>
              <a:rPr lang="ar-TN" b="1" spc="-70" dirty="0" smtClean="0">
                <a:solidFill>
                  <a:schemeClr val="tx1"/>
                </a:solidFill>
                <a:latin typeface="Simplified Arabic" panose="02020603050405020304" pitchFamily="18" charset="-78"/>
                <a:cs typeface="Simplified Arabic" panose="02020603050405020304" pitchFamily="18" charset="-78"/>
              </a:rPr>
              <a:t>مليون سائح .</a:t>
            </a:r>
            <a:endParaRPr lang="ar-TN" sz="2000" b="1" spc="-70" dirty="0">
              <a:solidFill>
                <a:schemeClr val="tx1"/>
              </a:solidFill>
              <a:latin typeface="Simplified Arabic" panose="02020603050405020304" pitchFamily="18" charset="-78"/>
              <a:cs typeface="Simplified Arabic" panose="02020603050405020304" pitchFamily="18" charset="-78"/>
            </a:endParaRPr>
          </a:p>
        </p:txBody>
      </p:sp>
      <p:graphicFrame>
        <p:nvGraphicFramePr>
          <p:cNvPr id="6" name="Graphique 5"/>
          <p:cNvGraphicFramePr>
            <a:graphicFrameLocks/>
          </p:cNvGraphicFramePr>
          <p:nvPr>
            <p:extLst>
              <p:ext uri="{D42A27DB-BD31-4B8C-83A1-F6EECF244321}">
                <p14:modId xmlns:p14="http://schemas.microsoft.com/office/powerpoint/2010/main" xmlns="" val="2920118897"/>
              </p:ext>
            </p:extLst>
          </p:nvPr>
        </p:nvGraphicFramePr>
        <p:xfrm>
          <a:off x="4942936" y="1077665"/>
          <a:ext cx="3669220" cy="29681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6"/>
          <p:cNvGraphicFramePr>
            <a:graphicFrameLocks/>
          </p:cNvGraphicFramePr>
          <p:nvPr>
            <p:extLst>
              <p:ext uri="{D42A27DB-BD31-4B8C-83A1-F6EECF244321}">
                <p14:modId xmlns:p14="http://schemas.microsoft.com/office/powerpoint/2010/main" xmlns="" val="137732670"/>
              </p:ext>
            </p:extLst>
          </p:nvPr>
        </p:nvGraphicFramePr>
        <p:xfrm>
          <a:off x="603849" y="1067979"/>
          <a:ext cx="4166559" cy="297780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xmlns="" val="32422180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0" y="174923"/>
            <a:ext cx="9144000" cy="707886"/>
          </a:xfrm>
          <a:prstGeom prst="rect">
            <a:avLst/>
          </a:prstGeom>
          <a:noFill/>
        </p:spPr>
        <p:txBody>
          <a:bodyPr wrap="square" rtlCol="0">
            <a:spAutoFit/>
          </a:bodyPr>
          <a:lstStyle/>
          <a:p>
            <a:pPr algn="r"/>
            <a:r>
              <a:rPr lang="ar-TN" sz="2200" b="1" dirty="0" smtClean="0">
                <a:solidFill>
                  <a:srgbClr val="E51B2E"/>
                </a:solidFill>
                <a:latin typeface="Simplified Arabic" pitchFamily="18" charset="-78"/>
                <a:cs typeface="Simplified Arabic" pitchFamily="18" charset="-78"/>
              </a:rPr>
              <a:t>تطور الوضع الاقتصادي الوطني</a:t>
            </a:r>
          </a:p>
          <a:p>
            <a:r>
              <a:rPr lang="ar-TN" b="1" dirty="0" smtClean="0">
                <a:latin typeface="Simplified Arabic" pitchFamily="18" charset="-78"/>
                <a:cs typeface="Simplified Arabic" pitchFamily="18" charset="-78"/>
              </a:rPr>
              <a:t>انخفاض ملحوظ للإنتاج في القطاعات المعملية الموجهة للتصدير بسبب تراجع الطلب الخارجي</a:t>
            </a:r>
            <a:endParaRPr lang="fr-FR" b="1" dirty="0">
              <a:latin typeface="Simplified Arabic" pitchFamily="18" charset="-78"/>
              <a:cs typeface="Simplified Arabic" pitchFamily="18" charset="-78"/>
            </a:endParaRPr>
          </a:p>
        </p:txBody>
      </p:sp>
      <p:graphicFrame>
        <p:nvGraphicFramePr>
          <p:cNvPr id="10" name="Graphique 9"/>
          <p:cNvGraphicFramePr>
            <a:graphicFrameLocks/>
          </p:cNvGraphicFramePr>
          <p:nvPr>
            <p:extLst>
              <p:ext uri="{D42A27DB-BD31-4B8C-83A1-F6EECF244321}">
                <p14:modId xmlns:p14="http://schemas.microsoft.com/office/powerpoint/2010/main" xmlns="" val="3174891998"/>
              </p:ext>
            </p:extLst>
          </p:nvPr>
        </p:nvGraphicFramePr>
        <p:xfrm>
          <a:off x="794327" y="1002495"/>
          <a:ext cx="7721599" cy="1801090"/>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à coins arrondis 15"/>
          <p:cNvSpPr/>
          <p:nvPr/>
        </p:nvSpPr>
        <p:spPr>
          <a:xfrm>
            <a:off x="801022" y="5274555"/>
            <a:ext cx="7714904" cy="729207"/>
          </a:xfrm>
          <a:prstGeom prst="round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77825" lvl="1" indent="-285750" algn="just" rtl="1">
              <a:lnSpc>
                <a:spcPct val="150000"/>
              </a:lnSpc>
              <a:spcAft>
                <a:spcPts val="600"/>
              </a:spcAft>
              <a:buClr>
                <a:srgbClr val="C00000"/>
              </a:buClr>
              <a:buSzPct val="80000"/>
              <a:buFont typeface="Arial" panose="020B0604020202020204" pitchFamily="34" charset="0"/>
              <a:buChar char="•"/>
            </a:pPr>
            <a:r>
              <a:rPr lang="ar-TN" b="1" spc="-70" dirty="0" smtClean="0">
                <a:solidFill>
                  <a:schemeClr val="tx1"/>
                </a:solidFill>
                <a:latin typeface="Simplified Arabic" panose="02020603050405020304" pitchFamily="18" charset="-78"/>
                <a:cs typeface="Simplified Arabic" panose="02020603050405020304" pitchFamily="18" charset="-78"/>
              </a:rPr>
              <a:t>ارتباط وثيق لأداء الصناعات المعملية الدافعة (حوالي 9</a:t>
            </a:r>
            <a:r>
              <a:rPr lang="fr-FR" b="1" spc="-70" dirty="0" smtClean="0">
                <a:solidFill>
                  <a:schemeClr val="tx1"/>
                </a:solidFill>
                <a:latin typeface="Simplified Arabic" panose="02020603050405020304" pitchFamily="18" charset="-78"/>
                <a:cs typeface="Simplified Arabic" panose="02020603050405020304" pitchFamily="18" charset="-78"/>
              </a:rPr>
              <a:t>%</a:t>
            </a:r>
            <a:r>
              <a:rPr lang="ar-TN" b="1" spc="-70" dirty="0" smtClean="0">
                <a:solidFill>
                  <a:schemeClr val="tx1"/>
                </a:solidFill>
                <a:latin typeface="Simplified Arabic" panose="02020603050405020304" pitchFamily="18" charset="-78"/>
                <a:cs typeface="Simplified Arabic" panose="02020603050405020304" pitchFamily="18" charset="-78"/>
              </a:rPr>
              <a:t> </a:t>
            </a:r>
            <a:r>
              <a:rPr lang="ar-TN" b="1" spc="-70" dirty="0">
                <a:solidFill>
                  <a:schemeClr val="tx1"/>
                </a:solidFill>
                <a:latin typeface="Simplified Arabic" panose="02020603050405020304" pitchFamily="18" charset="-78"/>
                <a:cs typeface="Simplified Arabic" panose="02020603050405020304" pitchFamily="18" charset="-78"/>
              </a:rPr>
              <a:t>من </a:t>
            </a:r>
            <a:r>
              <a:rPr lang="ar-TN" b="1" spc="-70" dirty="0" smtClean="0">
                <a:solidFill>
                  <a:schemeClr val="tx1"/>
                </a:solidFill>
                <a:latin typeface="Simplified Arabic" panose="02020603050405020304" pitchFamily="18" charset="-78"/>
                <a:cs typeface="Simplified Arabic" panose="02020603050405020304" pitchFamily="18" charset="-78"/>
              </a:rPr>
              <a:t>الناتج) بالطلب الخارجي لمنطقة الأورو.</a:t>
            </a:r>
            <a:endParaRPr lang="ar-TN" b="1" spc="-70" dirty="0">
              <a:solidFill>
                <a:schemeClr val="tx1"/>
              </a:solidFill>
              <a:latin typeface="Simplified Arabic" panose="02020603050405020304" pitchFamily="18" charset="-78"/>
              <a:cs typeface="Simplified Arabic" panose="02020603050405020304" pitchFamily="18" charset="-78"/>
            </a:endParaRPr>
          </a:p>
        </p:txBody>
      </p:sp>
      <p:graphicFrame>
        <p:nvGraphicFramePr>
          <p:cNvPr id="6" name="Graphique 5"/>
          <p:cNvGraphicFramePr>
            <a:graphicFrameLocks/>
          </p:cNvGraphicFramePr>
          <p:nvPr>
            <p:extLst>
              <p:ext uri="{D42A27DB-BD31-4B8C-83A1-F6EECF244321}">
                <p14:modId xmlns:p14="http://schemas.microsoft.com/office/powerpoint/2010/main" xmlns="" val="3705818188"/>
              </p:ext>
            </p:extLst>
          </p:nvPr>
        </p:nvGraphicFramePr>
        <p:xfrm>
          <a:off x="801022" y="3031687"/>
          <a:ext cx="7714904" cy="2014766"/>
        </p:xfrm>
        <a:graphic>
          <a:graphicData uri="http://schemas.openxmlformats.org/drawingml/2006/chart">
            <c:chart xmlns:c="http://schemas.openxmlformats.org/drawingml/2006/chart" xmlns:r="http://schemas.openxmlformats.org/officeDocument/2006/relationships" r:id="rId4"/>
          </a:graphicData>
        </a:graphic>
      </p:graphicFrame>
      <p:sp>
        <p:nvSpPr>
          <p:cNvPr id="2" name="ZoneTexte 1"/>
          <p:cNvSpPr txBox="1"/>
          <p:nvPr/>
        </p:nvSpPr>
        <p:spPr>
          <a:xfrm>
            <a:off x="1092200" y="3200400"/>
            <a:ext cx="1794933" cy="465667"/>
          </a:xfrm>
          <a:prstGeom prst="rect">
            <a:avLst/>
          </a:prstGeom>
          <a:noFill/>
          <a:ln w="9525">
            <a:solidFill>
              <a:schemeClr val="bg1"/>
            </a:solidFill>
            <a:miter lim="800000"/>
            <a:headEnd/>
            <a:tailEnd/>
          </a:ln>
          <a:effectLst/>
          <a:extLst/>
        </p:spPr>
        <p:txBody>
          <a:bodyPr vert="horz" wrap="square" lIns="76200" tIns="76200" rIns="76200" bIns="76200" numCol="1" rtlCol="0" anchor="t" anchorCtr="0" compatLnSpc="1">
            <a:prstTxWarp prst="textNoShape">
              <a:avLst/>
            </a:prstTxWarp>
            <a:noAutofit/>
          </a:bodyPr>
          <a:lstStyle/>
          <a:p>
            <a:pPr algn="r" rtl="1"/>
            <a:r>
              <a:rPr lang="ar-TN" sz="1200" b="1" dirty="0" smtClean="0"/>
              <a:t>نسب النموّ بفرنسا وألمانيا</a:t>
            </a:r>
            <a:endParaRPr lang="fr-FR" sz="1200" b="1" dirty="0" err="1" smtClean="0"/>
          </a:p>
        </p:txBody>
      </p:sp>
    </p:spTree>
    <p:extLst>
      <p:ext uri="{BB962C8B-B14F-4D97-AF65-F5344CB8AC3E}">
        <p14:creationId xmlns:p14="http://schemas.microsoft.com/office/powerpoint/2010/main" xmlns="" val="18945451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0" y="174923"/>
            <a:ext cx="9144000" cy="707886"/>
          </a:xfrm>
          <a:prstGeom prst="rect">
            <a:avLst/>
          </a:prstGeom>
          <a:noFill/>
        </p:spPr>
        <p:txBody>
          <a:bodyPr wrap="square" rtlCol="0">
            <a:spAutoFit/>
          </a:bodyPr>
          <a:lstStyle/>
          <a:p>
            <a:pPr algn="r"/>
            <a:r>
              <a:rPr lang="ar-TN" sz="2200" b="1" dirty="0" smtClean="0">
                <a:solidFill>
                  <a:srgbClr val="E51B2E"/>
                </a:solidFill>
                <a:latin typeface="Simplified Arabic" pitchFamily="18" charset="-78"/>
                <a:cs typeface="Simplified Arabic" pitchFamily="18" charset="-78"/>
              </a:rPr>
              <a:t>الظرف الاقتصادي الوطني</a:t>
            </a:r>
            <a:endParaRPr lang="ar-TN" b="1" dirty="0" smtClean="0">
              <a:solidFill>
                <a:srgbClr val="E51B2E"/>
              </a:solidFill>
              <a:latin typeface="Simplified Arabic" pitchFamily="18" charset="-78"/>
              <a:cs typeface="Simplified Arabic" pitchFamily="18" charset="-78"/>
            </a:endParaRPr>
          </a:p>
          <a:p>
            <a:r>
              <a:rPr lang="ar-TN" b="1" dirty="0" smtClean="0">
                <a:latin typeface="Simplified Arabic" pitchFamily="18" charset="-78"/>
                <a:cs typeface="Simplified Arabic" pitchFamily="18" charset="-78"/>
              </a:rPr>
              <a:t> تواصل انخفاض الإنتاج في القطاعات الاستخراجية  </a:t>
            </a:r>
            <a:endParaRPr lang="fr-FR" b="1" dirty="0">
              <a:latin typeface="Simplified Arabic" pitchFamily="18" charset="-78"/>
              <a:cs typeface="Simplified Arabic" pitchFamily="18" charset="-78"/>
            </a:endParaRPr>
          </a:p>
        </p:txBody>
      </p:sp>
      <p:graphicFrame>
        <p:nvGraphicFramePr>
          <p:cNvPr id="13" name="Graphique 12"/>
          <p:cNvGraphicFramePr>
            <a:graphicFrameLocks/>
          </p:cNvGraphicFramePr>
          <p:nvPr>
            <p:extLst>
              <p:ext uri="{D42A27DB-BD31-4B8C-83A1-F6EECF244321}">
                <p14:modId xmlns:p14="http://schemas.microsoft.com/office/powerpoint/2010/main" xmlns="" val="4271685688"/>
              </p:ext>
            </p:extLst>
          </p:nvPr>
        </p:nvGraphicFramePr>
        <p:xfrm>
          <a:off x="794328" y="1254939"/>
          <a:ext cx="7592290" cy="2790850"/>
        </p:xfrm>
        <a:graphic>
          <a:graphicData uri="http://schemas.openxmlformats.org/drawingml/2006/chart">
            <c:chart xmlns:c="http://schemas.openxmlformats.org/drawingml/2006/chart" xmlns:r="http://schemas.openxmlformats.org/officeDocument/2006/relationships" r:id="rId3"/>
          </a:graphicData>
        </a:graphic>
      </p:graphicFrame>
      <p:sp>
        <p:nvSpPr>
          <p:cNvPr id="17" name="Ellipse 16"/>
          <p:cNvSpPr/>
          <p:nvPr/>
        </p:nvSpPr>
        <p:spPr>
          <a:xfrm>
            <a:off x="6210369" y="2586845"/>
            <a:ext cx="581950" cy="494144"/>
          </a:xfrm>
          <a:prstGeom prst="ellipse">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Légende encadrée 1 17"/>
          <p:cNvSpPr/>
          <p:nvPr/>
        </p:nvSpPr>
        <p:spPr>
          <a:xfrm rot="16200000">
            <a:off x="6287377" y="1342315"/>
            <a:ext cx="298623" cy="914079"/>
          </a:xfrm>
          <a:prstGeom prst="borderCallout1">
            <a:avLst>
              <a:gd name="adj1" fmla="val 75555"/>
              <a:gd name="adj2" fmla="val -1022"/>
              <a:gd name="adj3" fmla="val 62760"/>
              <a:gd name="adj4" fmla="val -205090"/>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rtl="1"/>
            <a:r>
              <a:rPr lang="ar-TN" sz="1200" b="1" dirty="0" smtClean="0">
                <a:solidFill>
                  <a:srgbClr val="FF0000"/>
                </a:solidFill>
                <a:latin typeface="Simplified Arabic" panose="02020603050405020304" pitchFamily="18" charset="-78"/>
                <a:cs typeface="Simplified Arabic" panose="02020603050405020304" pitchFamily="18" charset="-78"/>
              </a:rPr>
              <a:t>أحداث</a:t>
            </a:r>
            <a:r>
              <a:rPr lang="ar-TN" b="1" dirty="0" smtClean="0">
                <a:solidFill>
                  <a:srgbClr val="FF0000"/>
                </a:solidFill>
                <a:latin typeface="Simplified Arabic" panose="02020603050405020304" pitchFamily="18" charset="-78"/>
                <a:cs typeface="Simplified Arabic" panose="02020603050405020304" pitchFamily="18" charset="-78"/>
              </a:rPr>
              <a:t> </a:t>
            </a:r>
            <a:r>
              <a:rPr lang="ar-TN" sz="1200" b="1" dirty="0" err="1" smtClean="0">
                <a:solidFill>
                  <a:srgbClr val="FF0000"/>
                </a:solidFill>
                <a:latin typeface="Simplified Arabic" panose="02020603050405020304" pitchFamily="18" charset="-78"/>
                <a:cs typeface="Simplified Arabic" panose="02020603050405020304" pitchFamily="18" charset="-78"/>
              </a:rPr>
              <a:t>الكامور</a:t>
            </a:r>
            <a:endParaRPr lang="fr-FR" b="1" dirty="0">
              <a:solidFill>
                <a:srgbClr val="FF0000"/>
              </a:solidFill>
              <a:latin typeface="Simplified Arabic" panose="02020603050405020304" pitchFamily="18" charset="-78"/>
              <a:cs typeface="Simplified Arabic" panose="02020603050405020304" pitchFamily="18" charset="-78"/>
            </a:endParaRPr>
          </a:p>
        </p:txBody>
      </p:sp>
      <p:sp>
        <p:nvSpPr>
          <p:cNvPr id="14" name="Rectangle à coins arrondis 13"/>
          <p:cNvSpPr/>
          <p:nvPr/>
        </p:nvSpPr>
        <p:spPr>
          <a:xfrm>
            <a:off x="794328" y="4304581"/>
            <a:ext cx="7592290" cy="147511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1" indent="-285750" algn="just" rtl="1">
              <a:lnSpc>
                <a:spcPct val="150000"/>
              </a:lnSpc>
              <a:spcAft>
                <a:spcPts val="600"/>
              </a:spcAft>
              <a:buClr>
                <a:srgbClr val="C00000"/>
              </a:buClr>
              <a:buSzPct val="80000"/>
              <a:buFont typeface="Arial" panose="020B0604020202020204" pitchFamily="34" charset="0"/>
              <a:buChar char="•"/>
            </a:pPr>
            <a:r>
              <a:rPr lang="ar-TN" b="1" spc="-70" dirty="0" smtClean="0">
                <a:solidFill>
                  <a:schemeClr val="tx1"/>
                </a:solidFill>
                <a:latin typeface="Simplified Arabic" panose="02020603050405020304" pitchFamily="18" charset="-78"/>
                <a:cs typeface="Simplified Arabic" panose="02020603050405020304" pitchFamily="18" charset="-78"/>
              </a:rPr>
              <a:t>انخفاض متواصل لإنتاج المحروقات نتيجة:</a:t>
            </a:r>
            <a:endParaRPr lang="fr-FR" b="1" spc="-70" dirty="0" smtClean="0">
              <a:solidFill>
                <a:schemeClr val="tx1"/>
              </a:solidFill>
              <a:latin typeface="Simplified Arabic" panose="02020603050405020304" pitchFamily="18" charset="-78"/>
              <a:cs typeface="Simplified Arabic" panose="02020603050405020304" pitchFamily="18" charset="-78"/>
            </a:endParaRPr>
          </a:p>
          <a:p>
            <a:pPr marL="742950" lvl="2" indent="-285750" algn="just" rtl="1">
              <a:lnSpc>
                <a:spcPct val="150000"/>
              </a:lnSpc>
              <a:spcAft>
                <a:spcPts val="600"/>
              </a:spcAft>
              <a:buClr>
                <a:srgbClr val="C00000"/>
              </a:buClr>
              <a:buSzPct val="80000"/>
              <a:buFont typeface="Symbol" panose="05050102010706020507" pitchFamily="18" charset="2"/>
              <a:buChar char="-"/>
            </a:pPr>
            <a:r>
              <a:rPr lang="ar-TN" b="1" dirty="0" smtClean="0">
                <a:solidFill>
                  <a:schemeClr val="tx1"/>
                </a:solidFill>
                <a:latin typeface="Simplified Arabic" panose="02020603050405020304" pitchFamily="18" charset="-78"/>
                <a:cs typeface="Simplified Arabic" panose="02020603050405020304" pitchFamily="18" charset="-78"/>
              </a:rPr>
              <a:t>الانخفاض </a:t>
            </a:r>
            <a:r>
              <a:rPr lang="ar-TN" b="1" dirty="0">
                <a:solidFill>
                  <a:schemeClr val="tx1"/>
                </a:solidFill>
                <a:latin typeface="Simplified Arabic" panose="02020603050405020304" pitchFamily="18" charset="-78"/>
                <a:cs typeface="Simplified Arabic" panose="02020603050405020304" pitchFamily="18" charset="-78"/>
              </a:rPr>
              <a:t>الطبيعي لإنتاج بعض الحقول النفطية </a:t>
            </a:r>
            <a:r>
              <a:rPr lang="ar-TN" b="1" dirty="0" smtClean="0">
                <a:solidFill>
                  <a:schemeClr val="tx1"/>
                </a:solidFill>
                <a:latin typeface="Simplified Arabic" panose="02020603050405020304" pitchFamily="18" charset="-78"/>
                <a:cs typeface="Simplified Arabic" panose="02020603050405020304" pitchFamily="18" charset="-78"/>
              </a:rPr>
              <a:t>الهامة وتقلص عدد رخص الاستكشاف.</a:t>
            </a:r>
          </a:p>
          <a:p>
            <a:pPr marL="742950" lvl="2" indent="-285750" algn="just" rtl="1">
              <a:lnSpc>
                <a:spcPct val="150000"/>
              </a:lnSpc>
              <a:spcAft>
                <a:spcPts val="600"/>
              </a:spcAft>
              <a:buClr>
                <a:srgbClr val="C00000"/>
              </a:buClr>
              <a:buSzPct val="80000"/>
              <a:buFont typeface="Symbol" panose="05050102010706020507" pitchFamily="18" charset="2"/>
              <a:buChar char="-"/>
            </a:pPr>
            <a:r>
              <a:rPr lang="ar-TN" b="1" spc="-70" dirty="0" smtClean="0">
                <a:solidFill>
                  <a:schemeClr val="tx1"/>
                </a:solidFill>
                <a:latin typeface="Simplified Arabic" panose="02020603050405020304" pitchFamily="18" charset="-78"/>
                <a:cs typeface="Simplified Arabic" panose="02020603050405020304" pitchFamily="18" charset="-78"/>
              </a:rPr>
              <a:t>تأخّر أكثر من مرّة </a:t>
            </a:r>
            <a:r>
              <a:rPr lang="ar-TN" b="1" spc="-70" smtClean="0">
                <a:solidFill>
                  <a:schemeClr val="tx1"/>
                </a:solidFill>
                <a:latin typeface="Simplified Arabic" panose="02020603050405020304" pitchFamily="18" charset="-78"/>
                <a:cs typeface="Simplified Arabic" panose="02020603050405020304" pitchFamily="18" charset="-78"/>
              </a:rPr>
              <a:t>دخول حقل </a:t>
            </a:r>
            <a:r>
              <a:rPr lang="ar-TN" b="1" spc="-70" dirty="0" smtClean="0">
                <a:solidFill>
                  <a:schemeClr val="tx1"/>
                </a:solidFill>
                <a:latin typeface="Simplified Arabic" panose="02020603050405020304" pitchFamily="18" charset="-78"/>
                <a:cs typeface="Simplified Arabic" panose="02020603050405020304" pitchFamily="18" charset="-78"/>
              </a:rPr>
              <a:t>نوّارة طور </a:t>
            </a:r>
            <a:r>
              <a:rPr lang="ar-TN" b="1" spc="-70" dirty="0">
                <a:solidFill>
                  <a:schemeClr val="tx1"/>
                </a:solidFill>
                <a:latin typeface="Simplified Arabic" panose="02020603050405020304" pitchFamily="18" charset="-78"/>
                <a:cs typeface="Simplified Arabic" panose="02020603050405020304" pitchFamily="18" charset="-78"/>
              </a:rPr>
              <a:t>الإنتاج .</a:t>
            </a:r>
          </a:p>
        </p:txBody>
      </p:sp>
    </p:spTree>
    <p:extLst>
      <p:ext uri="{BB962C8B-B14F-4D97-AF65-F5344CB8AC3E}">
        <p14:creationId xmlns:p14="http://schemas.microsoft.com/office/powerpoint/2010/main" xmlns="" val="32554612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PAGE" val="3"/>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PAGE" val="3"/>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PAGE" val="3"/>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AGE" val="3"/>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PAGE" val="3"/>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PAGE" val="3"/>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PAGE" val="3"/>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PAGE" val="3"/>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AGE" val="3"/>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PAGE" val="3"/>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PAGE" val="3"/>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EXT BOX 5" val="[Presentation subtitle]"/>
  <p:tag name="SLIDETYPE" val="Title"/>
  <p:tag name="RECTANGLE 2" val="[Project name] - [Date]&#10;"/>
  <p:tag name="TEXT BOX 3" val="STRICTLY CONFIDENTIAL"/>
  <p:tag name="RECTANGLE 4" val="[Presentation title]"/>
  <p:tag name="RECTANGLE 5" val="[Presentation subtitle]"/>
  <p:tag name="TEXT BOX 6" val="Client’s logo&#10;if needed"/>
  <p:tag name="TEXT BOX 9" val="[DRAFT] "/>
  <p:tag name="PAGE"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8MgeI3l40aJpZN.xGw9e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8MgeI3l40aJpZN.xGw9e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8MgeI3l40aJpZN.xGw9e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8MgeI3l40aJpZN.xGw9e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wZKZW4y.U2s3LNRLUIEW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SurNdDD2kusp.7MqyEWk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6.xml><?xml version="1.0" encoding="utf-8"?>
<p:tagLst xmlns:a="http://schemas.openxmlformats.org/drawingml/2006/main" xmlns:r="http://schemas.openxmlformats.org/officeDocument/2006/relationships" xmlns:p="http://schemas.openxmlformats.org/presentationml/2006/main">
  <p:tag name="PAGE" val="3"/>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wZKZW4y.U2s3LNRLUIEW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SurNdDD2kusp.7MqyEWk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wZKZW4y.U2s3LNRLUIEW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SurNdDD2kusp.7MqyEWk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8.xml><?xml version="1.0" encoding="utf-8"?>
<p:tagLst xmlns:a="http://schemas.openxmlformats.org/drawingml/2006/main" xmlns:r="http://schemas.openxmlformats.org/officeDocument/2006/relationships" xmlns:p="http://schemas.openxmlformats.org/presentationml/2006/main">
  <p:tag name="PAGE" val="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wZKZW4y.U2s3LNRLUIEW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SurNdDD2kusp.7MqyEWk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heme1">
  <a:themeElements>
    <a:clrScheme name="Custom 2">
      <a:dk1>
        <a:srgbClr val="000000"/>
      </a:dk1>
      <a:lt1>
        <a:srgbClr val="FFFFFF"/>
      </a:lt1>
      <a:dk2>
        <a:srgbClr val="464646"/>
      </a:dk2>
      <a:lt2>
        <a:srgbClr val="DADADA"/>
      </a:lt2>
      <a:accent1>
        <a:srgbClr val="D31217"/>
      </a:accent1>
      <a:accent2>
        <a:srgbClr val="DE5A5B"/>
      </a:accent2>
      <a:accent3>
        <a:srgbClr val="ED2D30"/>
      </a:accent3>
      <a:accent4>
        <a:srgbClr val="972021"/>
      </a:accent4>
      <a:accent5>
        <a:srgbClr val="ACACAC"/>
      </a:accent5>
      <a:accent6>
        <a:srgbClr val="808080"/>
      </a:accent6>
      <a:hlink>
        <a:srgbClr val="ED2D30"/>
      </a:hlink>
      <a:folHlink>
        <a:srgbClr val="972021"/>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solidFill>
          <a:schemeClr val="accent1"/>
        </a:solidFill>
        <a:ln w="9525">
          <a:solidFill>
            <a:schemeClr val="bg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76200" tIns="76200" rIns="76200" bIns="76200" numCol="1" anchor="t" anchorCtr="0" compatLnSpc="1">
        <a:prstTxWarp prst="textNoShape">
          <a:avLst/>
        </a:prstTxWarp>
        <a:noAutofit/>
      </a:bodyPr>
      <a:lstStyle>
        <a:defPPr>
          <a:defRPr sz="1200" dirty="0" err="1" smtClean="0">
            <a:solidFill>
              <a:schemeClr val="bg1"/>
            </a:solidFill>
          </a:defRPr>
        </a:defPPr>
      </a:lstStyle>
    </a:tx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Theme1">
  <a:themeElements>
    <a:clrScheme name="Custom 2">
      <a:dk1>
        <a:srgbClr val="000000"/>
      </a:dk1>
      <a:lt1>
        <a:srgbClr val="FFFFFF"/>
      </a:lt1>
      <a:dk2>
        <a:srgbClr val="464646"/>
      </a:dk2>
      <a:lt2>
        <a:srgbClr val="DADADA"/>
      </a:lt2>
      <a:accent1>
        <a:srgbClr val="D31217"/>
      </a:accent1>
      <a:accent2>
        <a:srgbClr val="DE5A5B"/>
      </a:accent2>
      <a:accent3>
        <a:srgbClr val="ED2D30"/>
      </a:accent3>
      <a:accent4>
        <a:srgbClr val="972021"/>
      </a:accent4>
      <a:accent5>
        <a:srgbClr val="ACACAC"/>
      </a:accent5>
      <a:accent6>
        <a:srgbClr val="808080"/>
      </a:accent6>
      <a:hlink>
        <a:srgbClr val="ED2D30"/>
      </a:hlink>
      <a:folHlink>
        <a:srgbClr val="972021"/>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solidFill>
          <a:schemeClr val="accent1"/>
        </a:solidFill>
        <a:ln w="9525">
          <a:solidFill>
            <a:schemeClr val="bg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76200" tIns="76200" rIns="76200" bIns="76200" numCol="1" anchor="t" anchorCtr="0" compatLnSpc="1">
        <a:prstTxWarp prst="textNoShape">
          <a:avLst/>
        </a:prstTxWarp>
        <a:noAutofit/>
      </a:bodyPr>
      <a:lstStyle>
        <a:defPPr>
          <a:defRPr sz="1200" dirty="0" err="1" smtClean="0">
            <a:solidFill>
              <a:schemeClr val="bg1"/>
            </a:solidFill>
          </a:defRPr>
        </a:defPPr>
      </a:lstStyle>
    </a:tx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Theme1">
  <a:themeElements>
    <a:clrScheme name="Custom 2">
      <a:dk1>
        <a:srgbClr val="000000"/>
      </a:dk1>
      <a:lt1>
        <a:srgbClr val="FFFFFF"/>
      </a:lt1>
      <a:dk2>
        <a:srgbClr val="464646"/>
      </a:dk2>
      <a:lt2>
        <a:srgbClr val="DADADA"/>
      </a:lt2>
      <a:accent1>
        <a:srgbClr val="D31217"/>
      </a:accent1>
      <a:accent2>
        <a:srgbClr val="DE5A5B"/>
      </a:accent2>
      <a:accent3>
        <a:srgbClr val="ED2D30"/>
      </a:accent3>
      <a:accent4>
        <a:srgbClr val="972021"/>
      </a:accent4>
      <a:accent5>
        <a:srgbClr val="ACACAC"/>
      </a:accent5>
      <a:accent6>
        <a:srgbClr val="808080"/>
      </a:accent6>
      <a:hlink>
        <a:srgbClr val="ED2D30"/>
      </a:hlink>
      <a:folHlink>
        <a:srgbClr val="972021"/>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solidFill>
          <a:schemeClr val="accent1"/>
        </a:solidFill>
        <a:ln w="9525">
          <a:solidFill>
            <a:schemeClr val="bg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76200" tIns="76200" rIns="76200" bIns="76200" numCol="1" anchor="t" anchorCtr="0" compatLnSpc="1">
        <a:prstTxWarp prst="textNoShape">
          <a:avLst/>
        </a:prstTxWarp>
        <a:noAutofit/>
      </a:bodyPr>
      <a:lstStyle>
        <a:defPPr>
          <a:defRPr sz="1200" dirty="0" err="1" smtClean="0">
            <a:solidFill>
              <a:schemeClr val="bg1"/>
            </a:solidFill>
          </a:defRPr>
        </a:defPPr>
      </a:lstStyle>
    </a:tx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20602</TotalTime>
  <Words>5094</Words>
  <Application>Microsoft Office PowerPoint</Application>
  <PresentationFormat>Affichage à l'écran (4:3)</PresentationFormat>
  <Paragraphs>843</Paragraphs>
  <Slides>68</Slides>
  <Notes>47</Notes>
  <HiddenSlides>0</HiddenSlides>
  <MMClips>0</MMClips>
  <ScaleCrop>false</ScaleCrop>
  <HeadingPairs>
    <vt:vector size="6" baseType="variant">
      <vt:variant>
        <vt:lpstr>Thème</vt:lpstr>
      </vt:variant>
      <vt:variant>
        <vt:i4>3</vt:i4>
      </vt:variant>
      <vt:variant>
        <vt:lpstr>Serveurs OLE incorporés</vt:lpstr>
      </vt:variant>
      <vt:variant>
        <vt:i4>3</vt:i4>
      </vt:variant>
      <vt:variant>
        <vt:lpstr>Titres des diapositives</vt:lpstr>
      </vt:variant>
      <vt:variant>
        <vt:i4>68</vt:i4>
      </vt:variant>
    </vt:vector>
  </HeadingPairs>
  <TitlesOfParts>
    <vt:vector size="74" baseType="lpstr">
      <vt:lpstr>1_Theme1</vt:lpstr>
      <vt:lpstr>2_Theme1</vt:lpstr>
      <vt:lpstr>3_Theme1</vt:lpstr>
      <vt:lpstr>think-cell Slide</vt:lpstr>
      <vt:lpstr>Feuille de calcul</vt:lpstr>
      <vt:lpstr>Équation</vt:lpstr>
      <vt:lpstr>Diapositive 1</vt:lpstr>
      <vt:lpstr>تطور الوضع الاقتصادي خلال سنة 2019</vt:lpstr>
      <vt:lpstr>Diapositive 3</vt:lpstr>
      <vt:lpstr>Diapositive 4</vt:lpstr>
      <vt:lpstr>Diapositive 5</vt:lpstr>
      <vt:lpstr>Diapositive 6</vt:lpstr>
      <vt:lpstr>Diapositive 7</vt:lpstr>
      <vt:lpstr>Diapositive 8</vt:lpstr>
      <vt:lpstr>Diapositive 9</vt:lpstr>
      <vt:lpstr>Diapositive 10</vt:lpstr>
      <vt:lpstr>Diapositive 11</vt:lpstr>
      <vt:lpstr>Diapositive 12</vt:lpstr>
      <vt:lpstr>Diapositive 13</vt:lpstr>
      <vt:lpstr>Diapositive 14</vt:lpstr>
      <vt:lpstr>Diapositive 15</vt:lpstr>
      <vt:lpstr>Diapositive 16</vt:lpstr>
      <vt:lpstr>Diapositive 17</vt:lpstr>
      <vt:lpstr>Diapositive 18</vt:lpstr>
      <vt:lpstr>Diapositive 19</vt:lpstr>
      <vt:lpstr>Diapositive 20</vt:lpstr>
      <vt:lpstr>الإصلاحات المتعلقة بمناخ الأعمال لسنة 2019 </vt:lpstr>
      <vt:lpstr>  -تقدم تونس في تقرير ممارسة أنشطة الاعمال Doing Business 2020   - اصدار القانون الافقي لتحسين مناخ الاستثمار  -الأمر الحكومي عدد 417 لسنة 2018 المتعلّق بإصدار القائمة الحصرية للأنشطة الاقتصادية الخاضعة لترخيص وقائمة التراخيص الإدارية لإنجاز مشروع وضبط الأحكام ذات الصلة وتبسيطها  </vt:lpstr>
      <vt:lpstr>Diapositive 23</vt:lpstr>
      <vt:lpstr>Diapositive 24</vt:lpstr>
      <vt:lpstr>Diapositive 25</vt:lpstr>
      <vt:lpstr>Diapositive 26</vt:lpstr>
      <vt:lpstr>Diapositive 27</vt:lpstr>
      <vt:lpstr>Diapositive 28</vt:lpstr>
      <vt:lpstr>Diapositive 29</vt:lpstr>
      <vt:lpstr>Diapositive 30</vt:lpstr>
      <vt:lpstr>Diapositive 31</vt:lpstr>
      <vt:lpstr>Diapositive 32</vt:lpstr>
      <vt:lpstr> منوال النموّ لسنة 2020</vt:lpstr>
      <vt:lpstr>Diapositive 34</vt:lpstr>
      <vt:lpstr>Diapositive 35</vt:lpstr>
      <vt:lpstr>Diapositive 36</vt:lpstr>
      <vt:lpstr>Diapositive 37</vt:lpstr>
      <vt:lpstr>Diapositive 38</vt:lpstr>
      <vt:lpstr>Diapositive 39</vt:lpstr>
      <vt:lpstr>Diapositive 40</vt:lpstr>
      <vt:lpstr>Diapositive 41</vt:lpstr>
      <vt:lpstr>Diapositive 42</vt:lpstr>
      <vt:lpstr>Diapositive 43</vt:lpstr>
      <vt:lpstr>Diapositive 44</vt:lpstr>
      <vt:lpstr>Diapositive 45</vt:lpstr>
      <vt:lpstr>Diapositive 46</vt:lpstr>
      <vt:lpstr>Diapositive 47</vt:lpstr>
      <vt:lpstr>Diapositive 48</vt:lpstr>
      <vt:lpstr>Diapositive 49</vt:lpstr>
      <vt:lpstr> شكـــرا</vt:lpstr>
      <vt:lpstr>  </vt:lpstr>
      <vt:lpstr>Diapositive 52</vt:lpstr>
      <vt:lpstr>Diapositive 53</vt:lpstr>
      <vt:lpstr>Diapositive 54</vt:lpstr>
      <vt:lpstr>أهم المشاريع المبرمجة لسنة 2020</vt:lpstr>
      <vt:lpstr>Diapositive 56</vt:lpstr>
      <vt:lpstr>Diapositive 57</vt:lpstr>
      <vt:lpstr>Diapositive 58</vt:lpstr>
      <vt:lpstr>Diapositive 59</vt:lpstr>
      <vt:lpstr>Diapositive 60</vt:lpstr>
      <vt:lpstr>Diapositive 61</vt:lpstr>
      <vt:lpstr>Diapositive 62</vt:lpstr>
      <vt:lpstr>Diapositive 63</vt:lpstr>
      <vt:lpstr>Diapositive 64</vt:lpstr>
      <vt:lpstr>Diapositive 65</vt:lpstr>
      <vt:lpstr>Diapositive 66</vt:lpstr>
      <vt:lpstr>Diapositive 67</vt:lpstr>
      <vt:lpstr>Diapositive 6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Raja Boulabiar</dc:creator>
  <cp:lastModifiedBy>Asus</cp:lastModifiedBy>
  <cp:revision>1638</cp:revision>
  <cp:lastPrinted>2019-11-20T16:28:37Z</cp:lastPrinted>
  <dcterms:created xsi:type="dcterms:W3CDTF">2011-03-20T16:32:30Z</dcterms:created>
  <dcterms:modified xsi:type="dcterms:W3CDTF">2019-05-22T14:25:39Z</dcterms:modified>
</cp:coreProperties>
</file>